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5.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6.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7.xml" ContentType="application/vnd.openxmlformats-officedocument.theme+xml"/>
  <Override PartName="/ppt/tags/tag19.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9.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1" r:id="rId2"/>
    <p:sldMasterId id="2147483692" r:id="rId3"/>
    <p:sldMasterId id="2147483881" r:id="rId4"/>
    <p:sldMasterId id="2147483892" r:id="rId5"/>
    <p:sldMasterId id="2147483899" r:id="rId6"/>
    <p:sldMasterId id="2147483926" r:id="rId7"/>
    <p:sldMasterId id="2147483930" r:id="rId8"/>
    <p:sldMasterId id="2147483952" r:id="rId9"/>
    <p:sldMasterId id="2147483968" r:id="rId10"/>
  </p:sldMasterIdLst>
  <p:notesMasterIdLst>
    <p:notesMasterId r:id="rId60"/>
  </p:notesMasterIdLst>
  <p:sldIdLst>
    <p:sldId id="2147379342" r:id="rId11"/>
    <p:sldId id="2147473661" r:id="rId12"/>
    <p:sldId id="360" r:id="rId13"/>
    <p:sldId id="359" r:id="rId14"/>
    <p:sldId id="366" r:id="rId15"/>
    <p:sldId id="367" r:id="rId16"/>
    <p:sldId id="368" r:id="rId17"/>
    <p:sldId id="369" r:id="rId18"/>
    <p:sldId id="370" r:id="rId19"/>
    <p:sldId id="371" r:id="rId20"/>
    <p:sldId id="372" r:id="rId21"/>
    <p:sldId id="373" r:id="rId22"/>
    <p:sldId id="374" r:id="rId23"/>
    <p:sldId id="375" r:id="rId24"/>
    <p:sldId id="376" r:id="rId25"/>
    <p:sldId id="377" r:id="rId26"/>
    <p:sldId id="378" r:id="rId27"/>
    <p:sldId id="379" r:id="rId28"/>
    <p:sldId id="380" r:id="rId29"/>
    <p:sldId id="381" r:id="rId30"/>
    <p:sldId id="382" r:id="rId31"/>
    <p:sldId id="383" r:id="rId32"/>
    <p:sldId id="384" r:id="rId33"/>
    <p:sldId id="385" r:id="rId34"/>
    <p:sldId id="2147483618" r:id="rId35"/>
    <p:sldId id="2147483614" r:id="rId36"/>
    <p:sldId id="2147483601" r:id="rId37"/>
    <p:sldId id="2147483600" r:id="rId38"/>
    <p:sldId id="2147483615" r:id="rId39"/>
    <p:sldId id="2147483602" r:id="rId40"/>
    <p:sldId id="2147483603" r:id="rId41"/>
    <p:sldId id="2147483589" r:id="rId42"/>
    <p:sldId id="2147483569" r:id="rId43"/>
    <p:sldId id="2147483570" r:id="rId44"/>
    <p:sldId id="2147483576" r:id="rId45"/>
    <p:sldId id="2147483580" r:id="rId46"/>
    <p:sldId id="2147483582" r:id="rId47"/>
    <p:sldId id="2147483584" r:id="rId48"/>
    <p:sldId id="2147483604" r:id="rId49"/>
    <p:sldId id="2147483599" r:id="rId50"/>
    <p:sldId id="2147483613" r:id="rId51"/>
    <p:sldId id="2147483619" r:id="rId52"/>
    <p:sldId id="2147375889" r:id="rId53"/>
    <p:sldId id="2147483620" r:id="rId54"/>
    <p:sldId id="2147375677" r:id="rId55"/>
    <p:sldId id="2147379412" r:id="rId56"/>
    <p:sldId id="2147483621" r:id="rId57"/>
    <p:sldId id="2147379414" r:id="rId58"/>
    <p:sldId id="1448943262"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B38BAD8-7635-461D-A88D-CC58EB84492F}">
          <p14:sldIdLst>
            <p14:sldId id="2147379342"/>
            <p14:sldId id="2147473661"/>
          </p14:sldIdLst>
        </p14:section>
        <p14:section name="2.2.5 X10 Diesel (2027)" id="{58D44E6A-5D99-46D2-9D8C-59C0E8F0E270}">
          <p14:sldIdLst>
            <p14:sldId id="360"/>
            <p14:sldId id="359"/>
            <p14:sldId id="366"/>
            <p14:sldId id="367"/>
            <p14:sldId id="368"/>
            <p14:sldId id="369"/>
            <p14:sldId id="370"/>
            <p14:sldId id="371"/>
            <p14:sldId id="372"/>
            <p14:sldId id="373"/>
            <p14:sldId id="374"/>
            <p14:sldId id="375"/>
            <p14:sldId id="376"/>
            <p14:sldId id="377"/>
            <p14:sldId id="378"/>
            <p14:sldId id="379"/>
            <p14:sldId id="380"/>
            <p14:sldId id="381"/>
            <p14:sldId id="382"/>
            <p14:sldId id="383"/>
            <p14:sldId id="384"/>
            <p14:sldId id="385"/>
            <p14:sldId id="2147483618"/>
            <p14:sldId id="2147483614"/>
            <p14:sldId id="2147483601"/>
            <p14:sldId id="2147483600"/>
            <p14:sldId id="2147483615"/>
            <p14:sldId id="2147483602"/>
            <p14:sldId id="2147483603"/>
            <p14:sldId id="2147483589"/>
            <p14:sldId id="2147483569"/>
            <p14:sldId id="2147483570"/>
            <p14:sldId id="2147483576"/>
            <p14:sldId id="2147483580"/>
            <p14:sldId id="2147483582"/>
            <p14:sldId id="2147483584"/>
            <p14:sldId id="2147483604"/>
            <p14:sldId id="2147483599"/>
            <p14:sldId id="2147483613"/>
            <p14:sldId id="2147483619"/>
            <p14:sldId id="2147375889"/>
            <p14:sldId id="2147483620"/>
            <p14:sldId id="2147375677"/>
            <p14:sldId id="2147379412"/>
            <p14:sldId id="2147483621"/>
            <p14:sldId id="2147379414"/>
            <p14:sldId id="144894326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0B4361-F7D9-46AF-95E5-9D8DA83BCA64}" v="60" dt="2025-12-10T15:44:39.5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8138" autoAdjust="0"/>
  </p:normalViewPr>
  <p:slideViewPr>
    <p:cSldViewPr snapToGrid="0">
      <p:cViewPr varScale="1">
        <p:scale>
          <a:sx n="49" d="100"/>
          <a:sy n="49" d="100"/>
        </p:scale>
        <p:origin x="130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notesMaster" Target="notesMasters/notesMaster1.xml"/><Relationship Id="rId65"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Craig" userId="5d16af3c-052c-4f36-b20f-920a1a57e24d" providerId="ADAL" clId="{97CF3B83-62D7-4D97-B9B0-ABF908F9F0C3}"/>
    <pc:docChg chg="custSel addSld delSld modSld modSection">
      <pc:chgData name="Robert Craig" userId="5d16af3c-052c-4f36-b20f-920a1a57e24d" providerId="ADAL" clId="{97CF3B83-62D7-4D97-B9B0-ABF908F9F0C3}" dt="2025-12-10T15:45:06.594" v="57" actId="729"/>
      <pc:docMkLst>
        <pc:docMk/>
      </pc:docMkLst>
      <pc:sldChg chg="modSp mod">
        <pc:chgData name="Robert Craig" userId="5d16af3c-052c-4f36-b20f-920a1a57e24d" providerId="ADAL" clId="{97CF3B83-62D7-4D97-B9B0-ABF908F9F0C3}" dt="2025-12-10T15:23:28.478" v="48" actId="20577"/>
        <pc:sldMkLst>
          <pc:docMk/>
          <pc:sldMk cId="2006340021" sldId="2147483613"/>
        </pc:sldMkLst>
        <pc:graphicFrameChg chg="modGraphic">
          <ac:chgData name="Robert Craig" userId="5d16af3c-052c-4f36-b20f-920a1a57e24d" providerId="ADAL" clId="{97CF3B83-62D7-4D97-B9B0-ABF908F9F0C3}" dt="2025-12-10T15:23:28.478" v="48" actId="20577"/>
          <ac:graphicFrameMkLst>
            <pc:docMk/>
            <pc:sldMk cId="2006340021" sldId="2147483613"/>
            <ac:graphicFrameMk id="3" creationId="{AEE7D9D7-8267-2CE1-C100-1E40A5D11CA4}"/>
          </ac:graphicFrameMkLst>
        </pc:graphicFrameChg>
      </pc:sldChg>
      <pc:sldChg chg="del">
        <pc:chgData name="Robert Craig" userId="5d16af3c-052c-4f36-b20f-920a1a57e24d" providerId="ADAL" clId="{97CF3B83-62D7-4D97-B9B0-ABF908F9F0C3}" dt="2025-12-08T22:33:59.656" v="0" actId="47"/>
        <pc:sldMkLst>
          <pc:docMk/>
          <pc:sldMk cId="1901457670" sldId="2147483617"/>
        </pc:sldMkLst>
      </pc:sldChg>
      <pc:sldChg chg="modSp add mod">
        <pc:chgData name="Robert Craig" userId="5d16af3c-052c-4f36-b20f-920a1a57e24d" providerId="ADAL" clId="{97CF3B83-62D7-4D97-B9B0-ABF908F9F0C3}" dt="2025-12-08T22:34:12.649" v="2" actId="207"/>
        <pc:sldMkLst>
          <pc:docMk/>
          <pc:sldMk cId="2663734763" sldId="2147483620"/>
        </pc:sldMkLst>
        <pc:spChg chg="mod">
          <ac:chgData name="Robert Craig" userId="5d16af3c-052c-4f36-b20f-920a1a57e24d" providerId="ADAL" clId="{97CF3B83-62D7-4D97-B9B0-ABF908F9F0C3}" dt="2025-12-08T22:34:12.649" v="2" actId="207"/>
          <ac:spMkLst>
            <pc:docMk/>
            <pc:sldMk cId="2663734763" sldId="2147483620"/>
            <ac:spMk id="3" creationId="{5BCC7C18-7DA1-922B-67C3-2D1AD9E2A6B4}"/>
          </ac:spMkLst>
        </pc:spChg>
      </pc:sldChg>
      <pc:sldChg chg="addSp delSp modSp add mod modShow">
        <pc:chgData name="Robert Craig" userId="5d16af3c-052c-4f36-b20f-920a1a57e24d" providerId="ADAL" clId="{97CF3B83-62D7-4D97-B9B0-ABF908F9F0C3}" dt="2025-12-10T15:45:06.594" v="57" actId="729"/>
        <pc:sldMkLst>
          <pc:docMk/>
          <pc:sldMk cId="2554315312" sldId="2147483621"/>
        </pc:sldMkLst>
        <pc:spChg chg="del">
          <ac:chgData name="Robert Craig" userId="5d16af3c-052c-4f36-b20f-920a1a57e24d" providerId="ADAL" clId="{97CF3B83-62D7-4D97-B9B0-ABF908F9F0C3}" dt="2025-12-10T15:44:24.175" v="51" actId="478"/>
          <ac:spMkLst>
            <pc:docMk/>
            <pc:sldMk cId="2554315312" sldId="2147483621"/>
            <ac:spMk id="6" creationId="{7096D4AC-54CB-B4B0-413B-8BD6EC33105C}"/>
          </ac:spMkLst>
        </pc:spChg>
        <pc:spChg chg="del">
          <ac:chgData name="Robert Craig" userId="5d16af3c-052c-4f36-b20f-920a1a57e24d" providerId="ADAL" clId="{97CF3B83-62D7-4D97-B9B0-ABF908F9F0C3}" dt="2025-12-10T15:44:24.175" v="51" actId="478"/>
          <ac:spMkLst>
            <pc:docMk/>
            <pc:sldMk cId="2554315312" sldId="2147483621"/>
            <ac:spMk id="7" creationId="{FC8E70CA-9E0D-DB30-A580-9828C2E8E951}"/>
          </ac:spMkLst>
        </pc:spChg>
        <pc:spChg chg="del">
          <ac:chgData name="Robert Craig" userId="5d16af3c-052c-4f36-b20f-920a1a57e24d" providerId="ADAL" clId="{97CF3B83-62D7-4D97-B9B0-ABF908F9F0C3}" dt="2025-12-10T15:44:24.175" v="51" actId="478"/>
          <ac:spMkLst>
            <pc:docMk/>
            <pc:sldMk cId="2554315312" sldId="2147483621"/>
            <ac:spMk id="8" creationId="{DB9B34C8-3C3E-4561-1681-FD341F5059D7}"/>
          </ac:spMkLst>
        </pc:spChg>
        <pc:spChg chg="del">
          <ac:chgData name="Robert Craig" userId="5d16af3c-052c-4f36-b20f-920a1a57e24d" providerId="ADAL" clId="{97CF3B83-62D7-4D97-B9B0-ABF908F9F0C3}" dt="2025-12-10T15:44:24.175" v="51" actId="478"/>
          <ac:spMkLst>
            <pc:docMk/>
            <pc:sldMk cId="2554315312" sldId="2147483621"/>
            <ac:spMk id="10" creationId="{4AE16E75-3908-1645-C052-609460505F2F}"/>
          </ac:spMkLst>
        </pc:spChg>
        <pc:spChg chg="del">
          <ac:chgData name="Robert Craig" userId="5d16af3c-052c-4f36-b20f-920a1a57e24d" providerId="ADAL" clId="{97CF3B83-62D7-4D97-B9B0-ABF908F9F0C3}" dt="2025-12-10T15:44:24.175" v="51" actId="478"/>
          <ac:spMkLst>
            <pc:docMk/>
            <pc:sldMk cId="2554315312" sldId="2147483621"/>
            <ac:spMk id="11" creationId="{C4CB735C-23BF-923D-BF57-E48773736571}"/>
          </ac:spMkLst>
        </pc:spChg>
        <pc:spChg chg="del">
          <ac:chgData name="Robert Craig" userId="5d16af3c-052c-4f36-b20f-920a1a57e24d" providerId="ADAL" clId="{97CF3B83-62D7-4D97-B9B0-ABF908F9F0C3}" dt="2025-12-10T15:44:24.175" v="51" actId="478"/>
          <ac:spMkLst>
            <pc:docMk/>
            <pc:sldMk cId="2554315312" sldId="2147483621"/>
            <ac:spMk id="12" creationId="{AADAADFD-C3D7-4CE5-0EBF-9A0578899493}"/>
          </ac:spMkLst>
        </pc:spChg>
        <pc:spChg chg="del">
          <ac:chgData name="Robert Craig" userId="5d16af3c-052c-4f36-b20f-920a1a57e24d" providerId="ADAL" clId="{97CF3B83-62D7-4D97-B9B0-ABF908F9F0C3}" dt="2025-12-10T15:44:24.175" v="51" actId="478"/>
          <ac:spMkLst>
            <pc:docMk/>
            <pc:sldMk cId="2554315312" sldId="2147483621"/>
            <ac:spMk id="14" creationId="{0874B41B-5B10-844E-8911-F4AE9E8638D8}"/>
          </ac:spMkLst>
        </pc:spChg>
        <pc:spChg chg="del">
          <ac:chgData name="Robert Craig" userId="5d16af3c-052c-4f36-b20f-920a1a57e24d" providerId="ADAL" clId="{97CF3B83-62D7-4D97-B9B0-ABF908F9F0C3}" dt="2025-12-10T15:44:24.175" v="51" actId="478"/>
          <ac:spMkLst>
            <pc:docMk/>
            <pc:sldMk cId="2554315312" sldId="2147483621"/>
            <ac:spMk id="15" creationId="{45F26A2B-5978-9CBD-E7CE-61C2261A0888}"/>
          </ac:spMkLst>
        </pc:spChg>
        <pc:spChg chg="del">
          <ac:chgData name="Robert Craig" userId="5d16af3c-052c-4f36-b20f-920a1a57e24d" providerId="ADAL" clId="{97CF3B83-62D7-4D97-B9B0-ABF908F9F0C3}" dt="2025-12-10T15:44:24.175" v="51" actId="478"/>
          <ac:spMkLst>
            <pc:docMk/>
            <pc:sldMk cId="2554315312" sldId="2147483621"/>
            <ac:spMk id="16" creationId="{46D7EB9F-59FD-5AB2-D8FD-97AA511C39BB}"/>
          </ac:spMkLst>
        </pc:spChg>
        <pc:spChg chg="del">
          <ac:chgData name="Robert Craig" userId="5d16af3c-052c-4f36-b20f-920a1a57e24d" providerId="ADAL" clId="{97CF3B83-62D7-4D97-B9B0-ABF908F9F0C3}" dt="2025-12-10T15:44:24.175" v="51" actId="478"/>
          <ac:spMkLst>
            <pc:docMk/>
            <pc:sldMk cId="2554315312" sldId="2147483621"/>
            <ac:spMk id="17" creationId="{C19A6ADB-72EB-28CD-9DAF-03470DCFAF57}"/>
          </ac:spMkLst>
        </pc:spChg>
        <pc:picChg chg="del">
          <ac:chgData name="Robert Craig" userId="5d16af3c-052c-4f36-b20f-920a1a57e24d" providerId="ADAL" clId="{97CF3B83-62D7-4D97-B9B0-ABF908F9F0C3}" dt="2025-12-10T15:44:27.652" v="53" actId="478"/>
          <ac:picMkLst>
            <pc:docMk/>
            <pc:sldMk cId="2554315312" sldId="2147483621"/>
            <ac:picMk id="4" creationId="{79EBB510-AFD2-86C4-BE3C-377D2B45ADDF}"/>
          </ac:picMkLst>
        </pc:picChg>
        <pc:picChg chg="del">
          <ac:chgData name="Robert Craig" userId="5d16af3c-052c-4f36-b20f-920a1a57e24d" providerId="ADAL" clId="{97CF3B83-62D7-4D97-B9B0-ABF908F9F0C3}" dt="2025-12-10T15:44:25.982" v="52" actId="478"/>
          <ac:picMkLst>
            <pc:docMk/>
            <pc:sldMk cId="2554315312" sldId="2147483621"/>
            <ac:picMk id="5" creationId="{8065C7AE-292D-1B3A-CD23-13E75F69CAFA}"/>
          </ac:picMkLst>
        </pc:picChg>
        <pc:picChg chg="del">
          <ac:chgData name="Robert Craig" userId="5d16af3c-052c-4f36-b20f-920a1a57e24d" providerId="ADAL" clId="{97CF3B83-62D7-4D97-B9B0-ABF908F9F0C3}" dt="2025-12-10T15:44:16.605" v="50" actId="478"/>
          <ac:picMkLst>
            <pc:docMk/>
            <pc:sldMk cId="2554315312" sldId="2147483621"/>
            <ac:picMk id="9" creationId="{6487FC4C-73E7-3E20-E53D-22E404861749}"/>
          </ac:picMkLst>
        </pc:picChg>
        <pc:picChg chg="add mod">
          <ac:chgData name="Robert Craig" userId="5d16af3c-052c-4f36-b20f-920a1a57e24d" providerId="ADAL" clId="{97CF3B83-62D7-4D97-B9B0-ABF908F9F0C3}" dt="2025-12-10T15:44:39.560" v="56" actId="1076"/>
          <ac:picMkLst>
            <pc:docMk/>
            <pc:sldMk cId="2554315312" sldId="2147483621"/>
            <ac:picMk id="1026" creationId="{ED36C4E9-177F-D2FB-9E64-600271ED28D2}"/>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6172670709973"/>
          <c:y val="0.15960894380104312"/>
          <c:w val="0.68951283086335358"/>
          <c:h val="0.66008843768697933"/>
        </c:manualLayout>
      </c:layout>
      <c:barChart>
        <c:barDir val="col"/>
        <c:grouping val="clustered"/>
        <c:varyColors val="0"/>
        <c:ser>
          <c:idx val="0"/>
          <c:order val="0"/>
          <c:tx>
            <c:strRef>
              <c:f>Sheet1!$B$4</c:f>
              <c:strCache>
                <c:ptCount val="1"/>
                <c:pt idx="0">
                  <c:v>FEPTO (no side load)</c:v>
                </c:pt>
              </c:strCache>
            </c:strRef>
          </c:tx>
          <c:spPr>
            <a:solidFill>
              <a:srgbClr val="DA291C"/>
            </a:solidFill>
            <a:ln>
              <a:noFill/>
            </a:ln>
            <a:effectLst>
              <a:outerShdw blurRad="57150" dist="19050" dir="5400000" algn="ctr" rotWithShape="0">
                <a:srgbClr val="000000">
                  <a:alpha val="63000"/>
                </a:srgbClr>
              </a:outerShdw>
            </a:effectLst>
          </c:spPr>
          <c:invertIfNegative val="0"/>
          <c:dPt>
            <c:idx val="0"/>
            <c:invertIfNegative val="0"/>
            <c:bubble3D val="0"/>
            <c:extLst>
              <c:ext xmlns:c16="http://schemas.microsoft.com/office/drawing/2014/chart" uri="{C3380CC4-5D6E-409C-BE32-E72D297353CC}">
                <c16:uniqueId val="{00000000-71A2-2840-A9E9-0DE12717C1FB}"/>
              </c:ext>
            </c:extLst>
          </c:dPt>
          <c:cat>
            <c:strRef>
              <c:f>Sheet1!$C$3:$H$3</c:f>
              <c:strCache>
                <c:ptCount val="3"/>
                <c:pt idx="0">
                  <c:v>L9</c:v>
                </c:pt>
                <c:pt idx="1">
                  <c:v>X12</c:v>
                </c:pt>
                <c:pt idx="2">
                  <c:v>X10</c:v>
                </c:pt>
              </c:strCache>
            </c:strRef>
          </c:cat>
          <c:val>
            <c:numRef>
              <c:f>Sheet1!$C$4:$H$4</c:f>
              <c:numCache>
                <c:formatCode>General</c:formatCode>
                <c:ptCount val="3"/>
                <c:pt idx="0">
                  <c:v>420</c:v>
                </c:pt>
                <c:pt idx="1">
                  <c:v>625</c:v>
                </c:pt>
                <c:pt idx="2">
                  <c:v>516</c:v>
                </c:pt>
              </c:numCache>
            </c:numRef>
          </c:val>
          <c:extLst>
            <c:ext xmlns:c16="http://schemas.microsoft.com/office/drawing/2014/chart" uri="{C3380CC4-5D6E-409C-BE32-E72D297353CC}">
              <c16:uniqueId val="{00000001-71A2-2840-A9E9-0DE12717C1FB}"/>
            </c:ext>
          </c:extLst>
        </c:ser>
        <c:dLbls>
          <c:showLegendKey val="0"/>
          <c:showVal val="0"/>
          <c:showCatName val="0"/>
          <c:showSerName val="0"/>
          <c:showPercent val="0"/>
          <c:showBubbleSize val="0"/>
        </c:dLbls>
        <c:gapWidth val="100"/>
        <c:overlap val="-24"/>
        <c:axId val="813639288"/>
        <c:axId val="813597344"/>
      </c:barChart>
      <c:catAx>
        <c:axId val="81363928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Aptos" panose="020B0004020202020204" pitchFamily="34" charset="0"/>
                <a:ea typeface="+mn-ea"/>
                <a:cs typeface="+mn-cs"/>
              </a:defRPr>
            </a:pPr>
            <a:endParaRPr lang="en-US"/>
          </a:p>
        </c:txPr>
        <c:crossAx val="813597344"/>
        <c:crosses val="autoZero"/>
        <c:auto val="1"/>
        <c:lblAlgn val="ctr"/>
        <c:lblOffset val="100"/>
        <c:noMultiLvlLbl val="0"/>
      </c:catAx>
      <c:valAx>
        <c:axId val="813597344"/>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050" b="1" i="0" u="none" strike="noStrike" kern="1200" cap="all" baseline="0">
                    <a:solidFill>
                      <a:schemeClr val="tx1"/>
                    </a:solidFill>
                    <a:latin typeface="Aptos" panose="020B0004020202020204" pitchFamily="34" charset="0"/>
                    <a:ea typeface="+mn-ea"/>
                    <a:cs typeface="+mn-cs"/>
                  </a:defRPr>
                </a:pPr>
                <a:r>
                  <a:rPr lang="en-US" noProof="0"/>
                  <a:t>Torque (LB-FT)</a:t>
                </a:r>
              </a:p>
            </c:rich>
          </c:tx>
          <c:layout>
            <c:manualLayout>
              <c:xMode val="edge"/>
              <c:yMode val="edge"/>
              <c:x val="0"/>
              <c:y val="0.13718121120656751"/>
            </c:manualLayout>
          </c:layout>
          <c:overlay val="0"/>
          <c:spPr>
            <a:noFill/>
            <a:ln>
              <a:noFill/>
            </a:ln>
            <a:effectLst/>
          </c:spPr>
          <c:txPr>
            <a:bodyPr rot="-5400000" spcFirstLastPara="1" vertOverflow="ellipsis" vert="horz" wrap="square" anchor="ctr" anchorCtr="1"/>
            <a:lstStyle/>
            <a:p>
              <a:pPr>
                <a:defRPr sz="1050" b="1" i="0" u="none" strike="noStrike" kern="1200" cap="all" baseline="0">
                  <a:solidFill>
                    <a:schemeClr val="tx1"/>
                  </a:solidFill>
                  <a:latin typeface="Aptos" panose="020B0004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Aptos" panose="020B0004020202020204" pitchFamily="34" charset="0"/>
                <a:ea typeface="+mn-ea"/>
                <a:cs typeface="+mn-cs"/>
              </a:defRPr>
            </a:pPr>
            <a:endParaRPr lang="en-US"/>
          </a:p>
        </c:txPr>
        <c:crossAx val="813639288"/>
        <c:crosses val="autoZero"/>
        <c:crossBetween val="between"/>
      </c:valAx>
      <c:spPr>
        <a:noFill/>
        <a:ln>
          <a:noFill/>
        </a:ln>
        <a:effectLst/>
      </c:spPr>
    </c:plotArea>
    <c:plotVisOnly val="1"/>
    <c:dispBlanksAs val="gap"/>
    <c:showDLblsOverMax val="0"/>
  </c:chart>
  <c:spPr>
    <a:solidFill>
      <a:schemeClr val="bg1"/>
    </a:solidFill>
    <a:ln>
      <a:noFill/>
    </a:ln>
    <a:effectLst/>
  </c:spPr>
  <c:txPr>
    <a:bodyPr/>
    <a:lstStyle/>
    <a:p>
      <a:pPr>
        <a:defRPr sz="1050">
          <a:solidFill>
            <a:schemeClr val="tx1"/>
          </a:solidFill>
          <a:latin typeface="Aptos" panose="020B00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22345300057831"/>
          <c:y val="0.18202275542980295"/>
          <c:w val="0.683679723650363"/>
          <c:h val="0.67249927092446793"/>
        </c:manualLayout>
      </c:layout>
      <c:barChart>
        <c:barDir val="col"/>
        <c:grouping val="clustered"/>
        <c:varyColors val="0"/>
        <c:ser>
          <c:idx val="0"/>
          <c:order val="0"/>
          <c:tx>
            <c:strRef>
              <c:f>Sheet1!$B$5</c:f>
              <c:strCache>
                <c:ptCount val="1"/>
                <c:pt idx="0">
                  <c:v>REPTO Continuous</c:v>
                </c:pt>
              </c:strCache>
            </c:strRef>
          </c:tx>
          <c:spPr>
            <a:solidFill>
              <a:srgbClr val="DA291C"/>
            </a:solidFill>
            <a:ln>
              <a:noFill/>
            </a:ln>
            <a:effectLst>
              <a:outerShdw blurRad="57150" dist="19050" dir="5400000" algn="ctr" rotWithShape="0">
                <a:srgbClr val="000000">
                  <a:alpha val="63000"/>
                </a:srgbClr>
              </a:outerShdw>
            </a:effectLst>
          </c:spPr>
          <c:invertIfNegative val="0"/>
          <c:cat>
            <c:strRef>
              <c:f>Sheet1!$C$3:$G$3</c:f>
              <c:strCache>
                <c:ptCount val="3"/>
                <c:pt idx="0">
                  <c:v>L9</c:v>
                </c:pt>
                <c:pt idx="1">
                  <c:v>X12</c:v>
                </c:pt>
                <c:pt idx="2">
                  <c:v>X10</c:v>
                </c:pt>
              </c:strCache>
            </c:strRef>
          </c:cat>
          <c:val>
            <c:numRef>
              <c:f>Sheet1!$C$5:$G$5</c:f>
              <c:numCache>
                <c:formatCode>General</c:formatCode>
                <c:ptCount val="3"/>
                <c:pt idx="0">
                  <c:v>435</c:v>
                </c:pt>
                <c:pt idx="1">
                  <c:v>516</c:v>
                </c:pt>
                <c:pt idx="2">
                  <c:v>590</c:v>
                </c:pt>
              </c:numCache>
            </c:numRef>
          </c:val>
          <c:extLst>
            <c:ext xmlns:c16="http://schemas.microsoft.com/office/drawing/2014/chart" uri="{C3380CC4-5D6E-409C-BE32-E72D297353CC}">
              <c16:uniqueId val="{00000000-19D1-3F44-96DA-3F69692D7ADF}"/>
            </c:ext>
          </c:extLst>
        </c:ser>
        <c:dLbls>
          <c:showLegendKey val="0"/>
          <c:showVal val="0"/>
          <c:showCatName val="0"/>
          <c:showSerName val="0"/>
          <c:showPercent val="0"/>
          <c:showBubbleSize val="0"/>
        </c:dLbls>
        <c:gapWidth val="100"/>
        <c:overlap val="-24"/>
        <c:axId val="813640856"/>
        <c:axId val="813641248"/>
      </c:barChart>
      <c:catAx>
        <c:axId val="8136408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ptos" panose="020B0004020202020204" pitchFamily="34" charset="0"/>
                <a:ea typeface="+mn-ea"/>
                <a:cs typeface="+mn-cs"/>
              </a:defRPr>
            </a:pPr>
            <a:endParaRPr lang="en-US"/>
          </a:p>
        </c:txPr>
        <c:crossAx val="813641248"/>
        <c:crosses val="autoZero"/>
        <c:auto val="1"/>
        <c:lblAlgn val="ctr"/>
        <c:lblOffset val="100"/>
        <c:noMultiLvlLbl val="0"/>
      </c:catAx>
      <c:valAx>
        <c:axId val="813641248"/>
        <c:scaling>
          <c:orientation val="minMax"/>
          <c:min val="0"/>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000" b="1" i="0" u="none" strike="noStrike" kern="1200" cap="all" baseline="0">
                    <a:solidFill>
                      <a:schemeClr val="tx1"/>
                    </a:solidFill>
                    <a:latin typeface="Aptos" panose="020B0004020202020204" pitchFamily="34" charset="0"/>
                    <a:ea typeface="+mn-ea"/>
                    <a:cs typeface="+mn-cs"/>
                  </a:defRPr>
                </a:pPr>
                <a:r>
                  <a:rPr lang="en-US" noProof="0"/>
                  <a:t>Torque (LB-FT)</a:t>
                </a:r>
              </a:p>
            </c:rich>
          </c:tx>
          <c:layout>
            <c:manualLayout>
              <c:xMode val="edge"/>
              <c:yMode val="edge"/>
              <c:x val="2.7665244012353513E-2"/>
              <c:y val="0.24467952700880091"/>
            </c:manualLayout>
          </c:layout>
          <c:overlay val="0"/>
          <c:spPr>
            <a:noFill/>
            <a:ln>
              <a:noFill/>
            </a:ln>
            <a:effectLst/>
          </c:spPr>
          <c:txPr>
            <a:bodyPr rot="-5400000" spcFirstLastPara="1" vertOverflow="ellipsis" vert="horz" wrap="square" anchor="ctr" anchorCtr="1"/>
            <a:lstStyle/>
            <a:p>
              <a:pPr>
                <a:defRPr sz="1000" b="1" i="0" u="none" strike="noStrike" kern="1200" cap="all" baseline="0">
                  <a:solidFill>
                    <a:schemeClr val="tx1"/>
                  </a:solidFill>
                  <a:latin typeface="Aptos" panose="020B0004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ptos" panose="020B0004020202020204" pitchFamily="34" charset="0"/>
                <a:ea typeface="+mn-ea"/>
                <a:cs typeface="+mn-cs"/>
              </a:defRPr>
            </a:pPr>
            <a:endParaRPr lang="en-US"/>
          </a:p>
        </c:txPr>
        <c:crossAx val="813640856"/>
        <c:crosses val="autoZero"/>
        <c:crossBetween val="between"/>
      </c:valAx>
      <c:spPr>
        <a:noFill/>
        <a:ln>
          <a:noFill/>
        </a:ln>
        <a:effectLst/>
      </c:spPr>
    </c:plotArea>
    <c:plotVisOnly val="1"/>
    <c:dispBlanksAs val="gap"/>
    <c:showDLblsOverMax val="0"/>
  </c:chart>
  <c:spPr>
    <a:solidFill>
      <a:schemeClr val="bg1"/>
    </a:solidFill>
    <a:ln>
      <a:noFill/>
    </a:ln>
    <a:effectLst/>
  </c:spPr>
  <c:txPr>
    <a:bodyPr/>
    <a:lstStyle/>
    <a:p>
      <a:pPr>
        <a:defRPr sz="1000">
          <a:solidFill>
            <a:schemeClr val="tx1"/>
          </a:solidFill>
          <a:latin typeface="Aptos" panose="020B00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tx1"/>
                </a:solidFill>
                <a:effectLst>
                  <a:outerShdw blurRad="50800" dist="38100" dir="5400000" algn="t" rotWithShape="0">
                    <a:prstClr val="black">
                      <a:alpha val="40000"/>
                    </a:prstClr>
                  </a:outerShdw>
                </a:effectLst>
                <a:latin typeface="+mn-lt"/>
                <a:ea typeface="+mn-ea"/>
                <a:cs typeface="+mn-cs"/>
              </a:defRPr>
            </a:pPr>
            <a:r>
              <a:rPr lang="en-US" sz="1600" noProof="0">
                <a:effectLst/>
                <a:latin typeface="Aptos" panose="020B0004020202020204" pitchFamily="34" charset="0"/>
              </a:rPr>
              <a:t>Engine Braking</a:t>
            </a:r>
            <a:r>
              <a:rPr lang="en-US" sz="1600" baseline="0" noProof="0">
                <a:effectLst/>
                <a:latin typeface="Aptos" panose="020B0004020202020204" pitchFamily="34" charset="0"/>
              </a:rPr>
              <a:t> Options</a:t>
            </a:r>
            <a:endParaRPr lang="en-US" sz="1600" noProof="0">
              <a:effectLst/>
              <a:latin typeface="Aptos" panose="020B0004020202020204" pitchFamily="34" charset="0"/>
            </a:endParaRPr>
          </a:p>
        </c:rich>
      </c:tx>
      <c:layout>
        <c:manualLayout>
          <c:xMode val="edge"/>
          <c:yMode val="edge"/>
          <c:x val="0.16669138951743021"/>
          <c:y val="3.8856192137595835E-2"/>
        </c:manualLayout>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tx1"/>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0.26322345300057831"/>
          <c:y val="0.18202275542980295"/>
          <c:w val="0.683679723650363"/>
          <c:h val="0.53740892811108576"/>
        </c:manualLayout>
      </c:layout>
      <c:barChart>
        <c:barDir val="col"/>
        <c:grouping val="clustered"/>
        <c:varyColors val="0"/>
        <c:ser>
          <c:idx val="0"/>
          <c:order val="0"/>
          <c:tx>
            <c:strRef>
              <c:f>Sheet1!$B$10</c:f>
              <c:strCache>
                <c:ptCount val="1"/>
                <c:pt idx="0">
                  <c:v>Engine Brake</c:v>
                </c:pt>
              </c:strCache>
            </c:strRef>
          </c:tx>
          <c:spPr>
            <a:solidFill>
              <a:srgbClr val="DA291C"/>
            </a:solidFill>
            <a:ln>
              <a:noFill/>
            </a:ln>
            <a:effectLst>
              <a:outerShdw blurRad="57150" dist="19050" dir="5400000" algn="ctr" rotWithShape="0">
                <a:srgbClr val="000000">
                  <a:alpha val="63000"/>
                </a:srgbClr>
              </a:outerShdw>
            </a:effectLst>
          </c:spPr>
          <c:invertIfNegative val="0"/>
          <c:cat>
            <c:strRef>
              <c:f>Sheet1!$C$9:$H$9</c:f>
              <c:strCache>
                <c:ptCount val="4"/>
                <c:pt idx="0">
                  <c:v>L9</c:v>
                </c:pt>
                <c:pt idx="1">
                  <c:v>X10 MD</c:v>
                </c:pt>
                <c:pt idx="2">
                  <c:v>X12</c:v>
                </c:pt>
                <c:pt idx="3">
                  <c:v>X10 HD</c:v>
                </c:pt>
              </c:strCache>
            </c:strRef>
          </c:cat>
          <c:val>
            <c:numRef>
              <c:f>Sheet1!$C$10:$H$10</c:f>
              <c:numCache>
                <c:formatCode>General</c:formatCode>
                <c:ptCount val="4"/>
                <c:pt idx="0">
                  <c:v>350</c:v>
                </c:pt>
                <c:pt idx="1">
                  <c:v>350</c:v>
                </c:pt>
                <c:pt idx="2">
                  <c:v>390</c:v>
                </c:pt>
                <c:pt idx="3">
                  <c:v>430</c:v>
                </c:pt>
              </c:numCache>
            </c:numRef>
          </c:val>
          <c:extLst>
            <c:ext xmlns:c16="http://schemas.microsoft.com/office/drawing/2014/chart" uri="{C3380CC4-5D6E-409C-BE32-E72D297353CC}">
              <c16:uniqueId val="{00000000-7A9F-4E9C-819D-7D99D810D604}"/>
            </c:ext>
          </c:extLst>
        </c:ser>
        <c:ser>
          <c:idx val="1"/>
          <c:order val="1"/>
          <c:tx>
            <c:strRef>
              <c:f>Sheet1!$B$11</c:f>
              <c:strCache>
                <c:ptCount val="1"/>
                <c:pt idx="0">
                  <c:v>VGT Brake</c:v>
                </c:pt>
              </c:strCache>
            </c:strRef>
          </c:tx>
          <c:spPr>
            <a:solidFill>
              <a:srgbClr val="738B1F"/>
            </a:solidFill>
            <a:ln>
              <a:noFill/>
            </a:ln>
            <a:effectLst>
              <a:outerShdw blurRad="57150" dist="19050" dir="5400000" algn="ctr" rotWithShape="0">
                <a:srgbClr val="000000">
                  <a:alpha val="63000"/>
                </a:srgbClr>
              </a:outerShdw>
            </a:effectLst>
          </c:spPr>
          <c:invertIfNegative val="0"/>
          <c:cat>
            <c:strRef>
              <c:f>Sheet1!$C$9:$H$9</c:f>
              <c:strCache>
                <c:ptCount val="4"/>
                <c:pt idx="0">
                  <c:v>L9</c:v>
                </c:pt>
                <c:pt idx="1">
                  <c:v>X10 MD</c:v>
                </c:pt>
                <c:pt idx="2">
                  <c:v>X12</c:v>
                </c:pt>
                <c:pt idx="3">
                  <c:v>X10 HD</c:v>
                </c:pt>
              </c:strCache>
            </c:strRef>
          </c:cat>
          <c:val>
            <c:numRef>
              <c:f>Sheet1!$C$11:$H$11</c:f>
              <c:numCache>
                <c:formatCode>General</c:formatCode>
                <c:ptCount val="4"/>
                <c:pt idx="0">
                  <c:v>170</c:v>
                </c:pt>
                <c:pt idx="1">
                  <c:v>170</c:v>
                </c:pt>
              </c:numCache>
            </c:numRef>
          </c:val>
          <c:extLst>
            <c:ext xmlns:c16="http://schemas.microsoft.com/office/drawing/2014/chart" uri="{C3380CC4-5D6E-409C-BE32-E72D297353CC}">
              <c16:uniqueId val="{00000001-7A9F-4E9C-819D-7D99D810D604}"/>
            </c:ext>
          </c:extLst>
        </c:ser>
        <c:dLbls>
          <c:showLegendKey val="0"/>
          <c:showVal val="0"/>
          <c:showCatName val="0"/>
          <c:showSerName val="0"/>
          <c:showPercent val="0"/>
          <c:showBubbleSize val="0"/>
        </c:dLbls>
        <c:gapWidth val="100"/>
        <c:overlap val="-24"/>
        <c:axId val="813640856"/>
        <c:axId val="813641248"/>
      </c:barChart>
      <c:catAx>
        <c:axId val="8136408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13641248"/>
        <c:crosses val="autoZero"/>
        <c:auto val="1"/>
        <c:lblAlgn val="ctr"/>
        <c:lblOffset val="100"/>
        <c:noMultiLvlLbl val="0"/>
      </c:catAx>
      <c:valAx>
        <c:axId val="813641248"/>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tx1"/>
                    </a:solidFill>
                    <a:latin typeface="+mn-lt"/>
                    <a:ea typeface="+mn-ea"/>
                    <a:cs typeface="+mn-cs"/>
                  </a:defRPr>
                </a:pPr>
                <a:r>
                  <a:rPr lang="en-US" baseline="0" noProof="0">
                    <a:latin typeface="Aptos" panose="020B0004020202020204" pitchFamily="34" charset="0"/>
                  </a:rPr>
                  <a:t>Braking Power (HP)</a:t>
                </a:r>
                <a:endParaRPr lang="en-US" noProof="0">
                  <a:latin typeface="Aptos" panose="020B0004020202020204" pitchFamily="34" charset="0"/>
                </a:endParaRPr>
              </a:p>
            </c:rich>
          </c:tx>
          <c:layout>
            <c:manualLayout>
              <c:xMode val="edge"/>
              <c:yMode val="edge"/>
              <c:x val="1.6974308296208735E-2"/>
              <c:y val="0.25720737700340651"/>
            </c:manualLayout>
          </c:layout>
          <c:overlay val="0"/>
          <c:spPr>
            <a:noFill/>
            <a:ln>
              <a:noFill/>
            </a:ln>
            <a:effectLst/>
          </c:spPr>
          <c:txPr>
            <a:bodyPr rot="-5400000" spcFirstLastPara="1" vertOverflow="ellipsis" vert="horz" wrap="square" anchor="ctr" anchorCtr="1"/>
            <a:lstStyle/>
            <a:p>
              <a:pPr>
                <a:defRPr sz="1197" b="1" i="0" u="none" strike="noStrike" kern="1200" cap="all"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13640856"/>
        <c:crosses val="autoZero"/>
        <c:crossBetween val="between"/>
      </c:valAx>
      <c:spPr>
        <a:noFill/>
        <a:ln>
          <a:noFill/>
        </a:ln>
        <a:effectLst/>
      </c:spPr>
    </c:plotArea>
    <c:legend>
      <c:legendPos val="r"/>
      <c:layout>
        <c:manualLayout>
          <c:xMode val="edge"/>
          <c:yMode val="edge"/>
          <c:x val="0.47364615034816665"/>
          <c:y val="0.84182305210651065"/>
          <c:w val="0.52635384965183341"/>
          <c:h val="0.152861866063316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10036928993321"/>
          <c:y val="8.8696061123259312E-2"/>
          <c:w val="0.66979926142013357"/>
          <c:h val="0.81096517755461583"/>
        </c:manualLayout>
      </c:layout>
      <c:pieChart>
        <c:varyColors val="1"/>
        <c:ser>
          <c:idx val="0"/>
          <c:order val="0"/>
          <c:explosion val="1"/>
          <c:dPt>
            <c:idx val="0"/>
            <c:bubble3D val="0"/>
            <c:spPr>
              <a:solidFill>
                <a:srgbClr val="DA291C"/>
              </a:solidFill>
              <a:ln w="19050">
                <a:solidFill>
                  <a:schemeClr val="lt1"/>
                </a:solidFill>
              </a:ln>
              <a:effectLst/>
            </c:spPr>
            <c:extLst>
              <c:ext xmlns:c16="http://schemas.microsoft.com/office/drawing/2014/chart" uri="{C3380CC4-5D6E-409C-BE32-E72D297353CC}">
                <c16:uniqueId val="{00000001-9912-4B92-834C-D2039512F68D}"/>
              </c:ext>
            </c:extLst>
          </c:dPt>
          <c:dPt>
            <c:idx val="1"/>
            <c:bubble3D val="0"/>
            <c:spPr>
              <a:solidFill>
                <a:srgbClr val="252B4D"/>
              </a:solidFill>
              <a:ln w="19050">
                <a:solidFill>
                  <a:schemeClr val="lt1"/>
                </a:solidFill>
              </a:ln>
              <a:effectLst/>
            </c:spPr>
            <c:extLst>
              <c:ext xmlns:c16="http://schemas.microsoft.com/office/drawing/2014/chart" uri="{C3380CC4-5D6E-409C-BE32-E72D297353CC}">
                <c16:uniqueId val="{00000003-9912-4B92-834C-D2039512F68D}"/>
              </c:ext>
            </c:extLst>
          </c:dPt>
          <c:dPt>
            <c:idx val="2"/>
            <c:bubble3D val="0"/>
            <c:spPr>
              <a:solidFill>
                <a:srgbClr val="023B3F"/>
              </a:solidFill>
              <a:ln w="19050">
                <a:solidFill>
                  <a:schemeClr val="lt1"/>
                </a:solidFill>
              </a:ln>
              <a:effectLst/>
            </c:spPr>
            <c:extLst>
              <c:ext xmlns:c16="http://schemas.microsoft.com/office/drawing/2014/chart" uri="{C3380CC4-5D6E-409C-BE32-E72D297353CC}">
                <c16:uniqueId val="{00000005-9912-4B92-834C-D2039512F68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912-4B92-834C-D2039512F68D}"/>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912-4B92-834C-D2039512F68D}"/>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912-4B92-834C-D2039512F68D}"/>
              </c:ext>
            </c:extLst>
          </c:dPt>
          <c:dPt>
            <c:idx val="6"/>
            <c:bubble3D val="0"/>
            <c:spPr>
              <a:solidFill>
                <a:srgbClr val="E2EF86"/>
              </a:solidFill>
              <a:ln w="19050">
                <a:solidFill>
                  <a:schemeClr val="lt1"/>
                </a:solidFill>
              </a:ln>
              <a:effectLst/>
            </c:spPr>
            <c:extLst>
              <c:ext xmlns:c16="http://schemas.microsoft.com/office/drawing/2014/chart" uri="{C3380CC4-5D6E-409C-BE32-E72D297353CC}">
                <c16:uniqueId val="{0000000D-9912-4B92-834C-D2039512F68D}"/>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9912-4B92-834C-D2039512F68D}"/>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9912-4B92-834C-D2039512F68D}"/>
              </c:ext>
            </c:extLst>
          </c:dPt>
          <c:dLbls>
            <c:dLbl>
              <c:idx val="0"/>
              <c:layout>
                <c:manualLayout>
                  <c:x val="-0.1586646276123018"/>
                  <c:y val="0.23285400397731146"/>
                </c:manualLayout>
              </c:layout>
              <c:tx>
                <c:rich>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fld id="{9FD50B00-7394-4250-9C24-E02A4EED57BF}" type="CATEGORYNAME">
                      <a:rPr lang="en-US" sz="1100" smtClean="0">
                        <a:solidFill>
                          <a:schemeClr val="bg1"/>
                        </a:solidFill>
                        <a:latin typeface="Aptos" panose="020B0004020202020204" pitchFamily="34" charset="0"/>
                      </a:rPr>
                      <a:pPr>
                        <a:defRPr sz="1100" b="1">
                          <a:solidFill>
                            <a:schemeClr val="bg1"/>
                          </a:solidFill>
                          <a:latin typeface="Aptos" panose="020B0004020202020204" pitchFamily="34" charset="0"/>
                        </a:defRPr>
                      </a:pPr>
                      <a:t>[CATEGORY NAME]</a:t>
                    </a:fld>
                    <a:r>
                      <a:rPr lang="en-US" sz="1100" baseline="0">
                        <a:solidFill>
                          <a:schemeClr val="bg1"/>
                        </a:solidFill>
                        <a:latin typeface="Aptos" panose="020B0004020202020204" pitchFamily="34" charset="0"/>
                      </a:rPr>
                      <a:t> </a:t>
                    </a:r>
                    <a:fld id="{1A52C818-35C9-4C96-9189-31BC72CAEFD0}" type="PERCENTAGE">
                      <a:rPr lang="en-US" sz="1100" baseline="0" smtClean="0">
                        <a:solidFill>
                          <a:schemeClr val="bg1"/>
                        </a:solidFill>
                        <a:latin typeface="Aptos" panose="020B0004020202020204" pitchFamily="34" charset="0"/>
                      </a:rPr>
                      <a:pPr>
                        <a:defRPr sz="1100" b="1">
                          <a:solidFill>
                            <a:schemeClr val="bg1"/>
                          </a:solidFill>
                          <a:latin typeface="Aptos" panose="020B0004020202020204" pitchFamily="34" charset="0"/>
                        </a:defRPr>
                      </a:pPr>
                      <a:t>[PERCENTAGE]</a:t>
                    </a:fld>
                    <a:endParaRPr lang="en-US" sz="1100" baseline="0">
                      <a:solidFill>
                        <a:schemeClr val="bg1"/>
                      </a:solidFill>
                      <a:latin typeface="Aptos" panose="020B0004020202020204" pitchFamily="34" charset="0"/>
                    </a:endParaRPr>
                  </a:p>
                </c:rich>
              </c:tx>
              <c:spPr>
                <a:noFill/>
                <a:ln>
                  <a:no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1-9912-4B92-834C-D2039512F68D}"/>
                </c:ext>
              </c:extLst>
            </c:dLbl>
            <c:dLbl>
              <c:idx val="1"/>
              <c:layout>
                <c:manualLayout>
                  <c:x val="-0.18991675123290669"/>
                  <c:y val="3.2017425546880321E-2"/>
                </c:manualLayout>
              </c:layout>
              <c:tx>
                <c:rich>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fld id="{491694D7-5EE9-4E89-9A92-148E2BB43C08}" type="CATEGORYNAME">
                      <a:rPr lang="en-US" sz="1100" smtClean="0">
                        <a:solidFill>
                          <a:schemeClr val="bg1"/>
                        </a:solidFill>
                        <a:latin typeface="Aptos" panose="020B0004020202020204" pitchFamily="34" charset="0"/>
                      </a:rPr>
                      <a:pPr>
                        <a:defRPr sz="1100" b="1">
                          <a:solidFill>
                            <a:schemeClr val="bg1"/>
                          </a:solidFill>
                          <a:latin typeface="Aptos" panose="020B0004020202020204" pitchFamily="34" charset="0"/>
                        </a:defRPr>
                      </a:pPr>
                      <a:t>[CATEGORY NAME]</a:t>
                    </a:fld>
                    <a:r>
                      <a:rPr lang="en-US" sz="1100" baseline="0">
                        <a:solidFill>
                          <a:schemeClr val="bg1"/>
                        </a:solidFill>
                        <a:latin typeface="Aptos" panose="020B0004020202020204" pitchFamily="34" charset="0"/>
                      </a:rPr>
                      <a:t> </a:t>
                    </a:r>
                    <a:fld id="{F6D80279-37FC-4563-A5CD-43EC499473FE}" type="PERCENTAGE">
                      <a:rPr lang="en-US" sz="1100" baseline="0" smtClean="0">
                        <a:solidFill>
                          <a:schemeClr val="bg1"/>
                        </a:solidFill>
                        <a:latin typeface="Aptos" panose="020B0004020202020204" pitchFamily="34" charset="0"/>
                      </a:rPr>
                      <a:pPr>
                        <a:defRPr sz="1100" b="1">
                          <a:solidFill>
                            <a:schemeClr val="bg1"/>
                          </a:solidFill>
                          <a:latin typeface="Aptos" panose="020B0004020202020204" pitchFamily="34" charset="0"/>
                        </a:defRPr>
                      </a:pPr>
                      <a:t>[PERCENTAGE]</a:t>
                    </a:fld>
                    <a:endParaRPr lang="en-US" sz="1100" baseline="0">
                      <a:solidFill>
                        <a:schemeClr val="bg1"/>
                      </a:solidFill>
                      <a:latin typeface="Aptos" panose="020B0004020202020204" pitchFamily="34" charset="0"/>
                    </a:endParaRPr>
                  </a:p>
                </c:rich>
              </c:tx>
              <c:spPr>
                <a:noFill/>
                <a:ln>
                  <a:no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3-9912-4B92-834C-D2039512F68D}"/>
                </c:ext>
              </c:extLst>
            </c:dLbl>
            <c:dLbl>
              <c:idx val="2"/>
              <c:layout>
                <c:manualLayout>
                  <c:x val="-0.1155747447254234"/>
                  <c:y val="-0.15294749394316023"/>
                </c:manualLayout>
              </c:layout>
              <c:tx>
                <c:rich>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fld id="{FE177CD4-DE66-4A99-B3C7-BBD6451EFDEE}" type="CATEGORYNAME">
                      <a:rPr lang="en-US" sz="1100" smtClean="0">
                        <a:solidFill>
                          <a:schemeClr val="bg1"/>
                        </a:solidFill>
                        <a:latin typeface="Aptos" panose="020B0004020202020204" pitchFamily="34" charset="0"/>
                      </a:rPr>
                      <a:pPr>
                        <a:defRPr sz="1100" b="1">
                          <a:solidFill>
                            <a:schemeClr val="bg1"/>
                          </a:solidFill>
                          <a:latin typeface="Aptos" panose="020B0004020202020204" pitchFamily="34" charset="0"/>
                        </a:defRPr>
                      </a:pPr>
                      <a:t>[CATEGORY NAME]</a:t>
                    </a:fld>
                    <a:r>
                      <a:rPr lang="en-US" sz="1100" baseline="0">
                        <a:solidFill>
                          <a:schemeClr val="bg1"/>
                        </a:solidFill>
                        <a:latin typeface="Aptos" panose="020B0004020202020204" pitchFamily="34" charset="0"/>
                      </a:rPr>
                      <a:t> </a:t>
                    </a:r>
                    <a:fld id="{DC786EEF-9FC3-4C62-AC7F-43CDCA83980F}" type="PERCENTAGE">
                      <a:rPr lang="en-US" sz="1100" baseline="0" smtClean="0">
                        <a:solidFill>
                          <a:schemeClr val="bg1"/>
                        </a:solidFill>
                        <a:latin typeface="Aptos" panose="020B0004020202020204" pitchFamily="34" charset="0"/>
                      </a:rPr>
                      <a:pPr>
                        <a:defRPr sz="1100" b="1">
                          <a:solidFill>
                            <a:schemeClr val="bg1"/>
                          </a:solidFill>
                          <a:latin typeface="Aptos" panose="020B0004020202020204" pitchFamily="34" charset="0"/>
                        </a:defRPr>
                      </a:pPr>
                      <a:t>[PERCENTAGE]</a:t>
                    </a:fld>
                    <a:endParaRPr lang="en-US" sz="1100" baseline="0">
                      <a:solidFill>
                        <a:schemeClr val="bg1"/>
                      </a:solidFill>
                      <a:latin typeface="Aptos" panose="020B0004020202020204" pitchFamily="34" charset="0"/>
                    </a:endParaRPr>
                  </a:p>
                </c:rich>
              </c:tx>
              <c:spPr>
                <a:noFill/>
                <a:ln>
                  <a:no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5-9912-4B92-834C-D2039512F68D}"/>
                </c:ext>
              </c:extLst>
            </c:dLbl>
            <c:dLbl>
              <c:idx val="3"/>
              <c:layout>
                <c:manualLayout>
                  <c:x val="-3.6799114409254138E-2"/>
                  <c:y val="1.7628736688469648E-2"/>
                </c:manualLayout>
              </c:layout>
              <c:tx>
                <c:rich>
                  <a:bodyPr rot="0" spcFirstLastPara="1" vertOverflow="clip" horzOverflow="clip" vert="horz" wrap="square" lIns="38100" tIns="19050" rIns="38100" bIns="19050" anchor="ctr" anchorCtr="1">
                    <a:spAutoFit/>
                  </a:bodyPr>
                  <a:lstStyle/>
                  <a:p>
                    <a:pPr>
                      <a:defRPr sz="1100" b="1" i="0" u="none" strike="noStrike" kern="1200" baseline="0">
                        <a:solidFill>
                          <a:schemeClr val="dk1">
                            <a:lumMod val="65000"/>
                            <a:lumOff val="35000"/>
                          </a:schemeClr>
                        </a:solidFill>
                        <a:latin typeface="Aptos" panose="020B0004020202020204" pitchFamily="34" charset="0"/>
                        <a:ea typeface="+mn-ea"/>
                        <a:cs typeface="+mn-cs"/>
                      </a:defRPr>
                    </a:pPr>
                    <a:fld id="{8BFA4721-4060-4EAC-894F-8B9D60E0D821}" type="CATEGORYNAME">
                      <a:rPr lang="en-US" sz="1100" smtClean="0">
                        <a:latin typeface="Aptos" panose="020B0004020202020204" pitchFamily="34" charset="0"/>
                      </a:rPr>
                      <a:pPr>
                        <a:defRPr sz="1100" b="1">
                          <a:latin typeface="Aptos" panose="020B0004020202020204" pitchFamily="34" charset="0"/>
                        </a:defRPr>
                      </a:pPr>
                      <a:t>[CATEGORY NAME]</a:t>
                    </a:fld>
                    <a:r>
                      <a:rPr lang="en-US" sz="1100" baseline="0">
                        <a:latin typeface="Aptos" panose="020B0004020202020204" pitchFamily="34" charset="0"/>
                      </a:rPr>
                      <a:t> </a:t>
                    </a:r>
                    <a:fld id="{2C4A6748-2237-415A-B4C0-6DA5D88C1AE9}" type="PERCENTAGE">
                      <a:rPr lang="en-US" sz="1100" baseline="0" smtClean="0">
                        <a:latin typeface="Aptos" panose="020B0004020202020204" pitchFamily="34" charset="0"/>
                      </a:rPr>
                      <a:pPr>
                        <a:defRPr sz="1100" b="1">
                          <a:latin typeface="Aptos" panose="020B0004020202020204" pitchFamily="34" charset="0"/>
                        </a:defRPr>
                      </a:pPr>
                      <a:t>[PERCENTAGE]</a:t>
                    </a:fld>
                    <a:endParaRPr lang="en-US" sz="1100" baseline="0">
                      <a:latin typeface="Aptos" panose="020B0004020202020204" pitchFamily="34" charset="0"/>
                    </a:endParaRPr>
                  </a:p>
                </c:rich>
              </c:tx>
              <c:spPr>
                <a:noFill/>
                <a:ln>
                  <a:no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dk1">
                          <a:lumMod val="65000"/>
                          <a:lumOff val="35000"/>
                        </a:schemeClr>
                      </a:solidFill>
                      <a:latin typeface="Aptos" panose="020B0004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21344033140837229"/>
                      <c:h val="8.776143648918501E-2"/>
                    </c:manualLayout>
                  </c15:layout>
                  <c15:dlblFieldTable/>
                  <c15:showDataLabelsRange val="0"/>
                </c:ext>
                <c:ext xmlns:c16="http://schemas.microsoft.com/office/drawing/2014/chart" uri="{C3380CC4-5D6E-409C-BE32-E72D297353CC}">
                  <c16:uniqueId val="{00000007-9912-4B92-834C-D2039512F68D}"/>
                </c:ext>
              </c:extLst>
            </c:dLbl>
            <c:dLbl>
              <c:idx val="4"/>
              <c:layout>
                <c:manualLayout>
                  <c:x val="0.1557438507045735"/>
                  <c:y val="-5.5977094133293791E-2"/>
                </c:manualLayout>
              </c:layout>
              <c:tx>
                <c:rich>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fld id="{63084CBD-B227-4C4B-A06D-8E6E26A57C25}" type="CATEGORYNAME">
                      <a:rPr lang="en-US" sz="1100" smtClean="0">
                        <a:solidFill>
                          <a:schemeClr val="bg1"/>
                        </a:solidFill>
                        <a:latin typeface="Aptos" panose="020B0004020202020204" pitchFamily="34" charset="0"/>
                      </a:rPr>
                      <a:pPr>
                        <a:defRPr sz="1100" b="1">
                          <a:solidFill>
                            <a:schemeClr val="bg1"/>
                          </a:solidFill>
                          <a:latin typeface="Aptos" panose="020B0004020202020204" pitchFamily="34" charset="0"/>
                        </a:defRPr>
                      </a:pPr>
                      <a:t>[CATEGORY NAME]</a:t>
                    </a:fld>
                    <a:r>
                      <a:rPr lang="en-US" sz="1100" baseline="0">
                        <a:solidFill>
                          <a:schemeClr val="bg1"/>
                        </a:solidFill>
                        <a:latin typeface="Aptos" panose="020B0004020202020204" pitchFamily="34" charset="0"/>
                      </a:rPr>
                      <a:t> </a:t>
                    </a:r>
                    <a:fld id="{A9369CD7-9AE5-4A7A-A966-EEBDE1DEC960}" type="PERCENTAGE">
                      <a:rPr lang="en-US" sz="1100" baseline="0" smtClean="0">
                        <a:solidFill>
                          <a:schemeClr val="bg1"/>
                        </a:solidFill>
                        <a:latin typeface="Aptos" panose="020B0004020202020204" pitchFamily="34" charset="0"/>
                      </a:rPr>
                      <a:pPr>
                        <a:defRPr sz="1100" b="1">
                          <a:solidFill>
                            <a:schemeClr val="bg1"/>
                          </a:solidFill>
                          <a:latin typeface="Aptos" panose="020B0004020202020204" pitchFamily="34" charset="0"/>
                        </a:defRPr>
                      </a:pPr>
                      <a:t>[PERCENTAGE]</a:t>
                    </a:fld>
                    <a:endParaRPr lang="en-US" sz="1100" baseline="0">
                      <a:solidFill>
                        <a:schemeClr val="bg1"/>
                      </a:solidFill>
                      <a:latin typeface="Aptos" panose="020B0004020202020204" pitchFamily="34" charset="0"/>
                    </a:endParaRPr>
                  </a:p>
                </c:rich>
              </c:tx>
              <c:spPr>
                <a:noFill/>
                <a:ln>
                  <a:no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9-9912-4B92-834C-D2039512F68D}"/>
                </c:ext>
              </c:extLst>
            </c:dLbl>
            <c:dLbl>
              <c:idx val="5"/>
              <c:layout>
                <c:manualLayout>
                  <c:x val="0.22265016139064175"/>
                  <c:y val="-3.7897330425364799E-2"/>
                </c:manualLayout>
              </c:layout>
              <c:tx>
                <c:rich>
                  <a:bodyPr rot="0" spcFirstLastPara="1" vertOverflow="clip" horzOverflow="clip" vert="horz" wrap="square" lIns="38100" tIns="19050" rIns="38100" bIns="19050" anchor="ctr" anchorCtr="1">
                    <a:spAutoFit/>
                  </a:bodyPr>
                  <a:lstStyle/>
                  <a:p>
                    <a:pPr>
                      <a:defRPr sz="1050" b="1" i="0" u="none" strike="noStrike" kern="1200" baseline="0">
                        <a:solidFill>
                          <a:schemeClr val="bg1"/>
                        </a:solidFill>
                        <a:latin typeface="Aptos" panose="020B0004020202020204" pitchFamily="34" charset="0"/>
                        <a:ea typeface="+mn-ea"/>
                        <a:cs typeface="+mn-cs"/>
                      </a:defRPr>
                    </a:pPr>
                    <a:fld id="{10557918-3485-4397-A056-46D8F628CA76}" type="CATEGORYNAME">
                      <a:rPr lang="en-US" sz="1050" smtClean="0">
                        <a:solidFill>
                          <a:schemeClr val="bg1"/>
                        </a:solidFill>
                        <a:latin typeface="Aptos" panose="020B0004020202020204" pitchFamily="34" charset="0"/>
                      </a:rPr>
                      <a:pPr>
                        <a:defRPr sz="1050" b="1">
                          <a:solidFill>
                            <a:schemeClr val="bg1"/>
                          </a:solidFill>
                          <a:latin typeface="Aptos" panose="020B0004020202020204" pitchFamily="34" charset="0"/>
                        </a:defRPr>
                      </a:pPr>
                      <a:t>[CATEGORY NAME]</a:t>
                    </a:fld>
                    <a:endParaRPr lang="en-US" sz="1050" baseline="0">
                      <a:solidFill>
                        <a:schemeClr val="bg1"/>
                      </a:solidFill>
                      <a:latin typeface="Aptos" panose="020B0004020202020204" pitchFamily="34" charset="0"/>
                    </a:endParaRPr>
                  </a:p>
                  <a:p>
                    <a:pPr>
                      <a:defRPr sz="1050" b="1">
                        <a:solidFill>
                          <a:schemeClr val="bg1"/>
                        </a:solidFill>
                        <a:latin typeface="Aptos" panose="020B0004020202020204" pitchFamily="34" charset="0"/>
                      </a:defRPr>
                    </a:pPr>
                    <a:fld id="{B5C750C5-4BCE-4C84-A527-21D51AC06A48}" type="PERCENTAGE">
                      <a:rPr lang="en-US" sz="1050" baseline="0" smtClean="0">
                        <a:solidFill>
                          <a:schemeClr val="bg1"/>
                        </a:solidFill>
                        <a:latin typeface="Aptos" panose="020B0004020202020204" pitchFamily="34" charset="0"/>
                      </a:rPr>
                      <a:pPr>
                        <a:defRPr sz="1050" b="1">
                          <a:solidFill>
                            <a:schemeClr val="bg1"/>
                          </a:solidFill>
                          <a:latin typeface="Aptos" panose="020B0004020202020204" pitchFamily="34" charset="0"/>
                        </a:defRPr>
                      </a:pPr>
                      <a:t>[PERCENTAGE]</a:t>
                    </a:fld>
                    <a:endParaRPr lang="en-US"/>
                  </a:p>
                </c:rich>
              </c:tx>
              <c:spPr>
                <a:noFill/>
                <a:ln>
                  <a:noFill/>
                </a:ln>
                <a:effectLst/>
              </c:spPr>
              <c:txPr>
                <a:bodyPr rot="0" spcFirstLastPara="1" vertOverflow="clip" horzOverflow="clip" vert="horz" wrap="square" lIns="38100" tIns="19050" rIns="38100" bIns="19050" anchor="ctr" anchorCtr="1">
                  <a:spAutoFit/>
                </a:bodyPr>
                <a:lstStyle/>
                <a:p>
                  <a:pPr>
                    <a:defRPr sz="1050" b="1" i="0" u="none" strike="noStrike" kern="1200" baseline="0">
                      <a:solidFill>
                        <a:schemeClr val="bg1"/>
                      </a:solidFill>
                      <a:latin typeface="Aptos" panose="020B0004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16964069403533694"/>
                      <c:h val="8.776143648918501E-2"/>
                    </c:manualLayout>
                  </c15:layout>
                  <c15:dlblFieldTable/>
                  <c15:showDataLabelsRange val="0"/>
                </c:ext>
                <c:ext xmlns:c16="http://schemas.microsoft.com/office/drawing/2014/chart" uri="{C3380CC4-5D6E-409C-BE32-E72D297353CC}">
                  <c16:uniqueId val="{0000000B-9912-4B92-834C-D2039512F68D}"/>
                </c:ext>
              </c:extLst>
            </c:dLbl>
            <c:dLbl>
              <c:idx val="6"/>
              <c:spPr>
                <a:noFill/>
                <a:ln>
                  <a:no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dk1">
                          <a:lumMod val="65000"/>
                          <a:lumOff val="35000"/>
                        </a:schemeClr>
                      </a:solidFill>
                      <a:latin typeface="Aptos" panose="020B0004020202020204" pitchFamily="34" charset="0"/>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D-9912-4B92-834C-D2039512F68D}"/>
                </c:ext>
              </c:extLst>
            </c:dLbl>
            <c:dLbl>
              <c:idx val="7"/>
              <c:layout>
                <c:manualLayout>
                  <c:x val="0.17549266384408052"/>
                  <c:y val="0.17380069786462446"/>
                </c:manualLayout>
              </c:layout>
              <c:tx>
                <c:rich>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fld id="{B9357A18-AA41-4C59-9A67-2A97A9CCE4B7}" type="CATEGORYNAME">
                      <a:rPr lang="en-US" sz="1100" smtClean="0">
                        <a:solidFill>
                          <a:schemeClr val="bg1"/>
                        </a:solidFill>
                        <a:latin typeface="Aptos" panose="020B0004020202020204" pitchFamily="34" charset="0"/>
                      </a:rPr>
                      <a:pPr>
                        <a:defRPr sz="1100" b="1">
                          <a:solidFill>
                            <a:schemeClr val="bg1"/>
                          </a:solidFill>
                          <a:latin typeface="Aptos" panose="020B0004020202020204" pitchFamily="34" charset="0"/>
                        </a:defRPr>
                      </a:pPr>
                      <a:t>[CATEGORY NAME]</a:t>
                    </a:fld>
                    <a:r>
                      <a:rPr lang="en-US" sz="1100" baseline="0">
                        <a:solidFill>
                          <a:schemeClr val="bg1"/>
                        </a:solidFill>
                        <a:latin typeface="Aptos" panose="020B0004020202020204" pitchFamily="34" charset="0"/>
                      </a:rPr>
                      <a:t> </a:t>
                    </a:r>
                    <a:fld id="{6ACAF18A-9BFA-487C-96E0-02ACD1548F69}" type="PERCENTAGE">
                      <a:rPr lang="en-US" sz="1100" baseline="0" smtClean="0">
                        <a:solidFill>
                          <a:schemeClr val="bg1"/>
                        </a:solidFill>
                        <a:latin typeface="Aptos" panose="020B0004020202020204" pitchFamily="34" charset="0"/>
                      </a:rPr>
                      <a:pPr>
                        <a:defRPr sz="1100" b="1">
                          <a:solidFill>
                            <a:schemeClr val="bg1"/>
                          </a:solidFill>
                          <a:latin typeface="Aptos" panose="020B0004020202020204" pitchFamily="34" charset="0"/>
                        </a:defRPr>
                      </a:pPr>
                      <a:t>[PERCENTAGE]</a:t>
                    </a:fld>
                    <a:endParaRPr lang="en-US" sz="1100" baseline="0">
                      <a:solidFill>
                        <a:schemeClr val="bg1"/>
                      </a:solidFill>
                      <a:latin typeface="Aptos" panose="020B0004020202020204" pitchFamily="34" charset="0"/>
                    </a:endParaRPr>
                  </a:p>
                </c:rich>
              </c:tx>
              <c:spPr>
                <a:noFill/>
                <a:ln>
                  <a:no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bg1"/>
                      </a:solidFill>
                      <a:latin typeface="Aptos" panose="020B0004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29660347528914838"/>
                      <c:h val="8.776143648918501E-2"/>
                    </c:manualLayout>
                  </c15:layout>
                  <c15:dlblFieldTable/>
                  <c15:showDataLabelsRange val="0"/>
                </c:ext>
                <c:ext xmlns:c16="http://schemas.microsoft.com/office/drawing/2014/chart" uri="{C3380CC4-5D6E-409C-BE32-E72D297353CC}">
                  <c16:uniqueId val="{0000000F-9912-4B92-834C-D2039512F68D}"/>
                </c:ext>
              </c:extLst>
            </c:dLbl>
            <c:dLbl>
              <c:idx val="8"/>
              <c:layout>
                <c:manualLayout>
                  <c:x val="6.490835139653077E-2"/>
                  <c:y val="2.9106750497163926E-3"/>
                </c:manualLayout>
              </c:layout>
              <c:tx>
                <c:rich>
                  <a:bodyPr rot="0" spcFirstLastPara="1" vertOverflow="clip" horzOverflow="clip" vert="horz" wrap="square" lIns="38100" tIns="19050" rIns="38100" bIns="19050" anchor="ctr" anchorCtr="1">
                    <a:spAutoFit/>
                  </a:bodyPr>
                  <a:lstStyle/>
                  <a:p>
                    <a:pPr>
                      <a:defRPr sz="1100" b="1" i="0" u="none" strike="noStrike" kern="1200" baseline="0">
                        <a:solidFill>
                          <a:schemeClr val="dk1">
                            <a:lumMod val="65000"/>
                            <a:lumOff val="35000"/>
                          </a:schemeClr>
                        </a:solidFill>
                        <a:latin typeface="Aptos" panose="020B0004020202020204" pitchFamily="34" charset="0"/>
                        <a:ea typeface="+mn-ea"/>
                        <a:cs typeface="+mn-cs"/>
                      </a:defRPr>
                    </a:pPr>
                    <a:fld id="{ADB332B9-1E3E-43A0-BB5F-1F0BDB7DCE0B}" type="CATEGORYNAME">
                      <a:rPr lang="en-US" sz="1100" smtClean="0">
                        <a:latin typeface="Aptos" panose="020B0004020202020204" pitchFamily="34" charset="0"/>
                      </a:rPr>
                      <a:pPr>
                        <a:defRPr sz="1100" b="1">
                          <a:latin typeface="Aptos" panose="020B0004020202020204" pitchFamily="34" charset="0"/>
                        </a:defRPr>
                      </a:pPr>
                      <a:t>[CATEGORY NAME]</a:t>
                    </a:fld>
                    <a:r>
                      <a:rPr lang="en-US" sz="1100">
                        <a:latin typeface="Aptos" panose="020B0004020202020204" pitchFamily="34" charset="0"/>
                      </a:rPr>
                      <a:t> </a:t>
                    </a:r>
                    <a:fld id="{99993D61-18D0-4111-9CD9-32663F87F4E6}" type="PERCENTAGE">
                      <a:rPr lang="en-US" sz="1100" baseline="0" smtClean="0">
                        <a:latin typeface="Aptos" panose="020B0004020202020204" pitchFamily="34" charset="0"/>
                      </a:rPr>
                      <a:pPr>
                        <a:defRPr sz="1100" b="1">
                          <a:latin typeface="Aptos" panose="020B0004020202020204" pitchFamily="34" charset="0"/>
                        </a:defRPr>
                      </a:pPr>
                      <a:t>[PERCENTAGE]</a:t>
                    </a:fld>
                    <a:endParaRPr lang="en-US" sz="1100">
                      <a:latin typeface="Aptos" panose="020B0004020202020204" pitchFamily="34" charset="0"/>
                    </a:endParaRPr>
                  </a:p>
                </c:rich>
              </c:tx>
              <c:spPr>
                <a:noFill/>
                <a:ln>
                  <a:no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dk1">
                          <a:lumMod val="65000"/>
                          <a:lumOff val="35000"/>
                        </a:schemeClr>
                      </a:solidFill>
                      <a:latin typeface="Aptos" panose="020B000402020202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34877975695274566"/>
                      <c:h val="8.776143648918501E-2"/>
                    </c:manualLayout>
                  </c15:layout>
                  <c15:dlblFieldTable/>
                  <c15:showDataLabelsRange val="0"/>
                </c:ext>
                <c:ext xmlns:c16="http://schemas.microsoft.com/office/drawing/2014/chart" uri="{C3380CC4-5D6E-409C-BE32-E72D297353CC}">
                  <c16:uniqueId val="{00000011-9912-4B92-834C-D2039512F68D}"/>
                </c:ext>
              </c:extLst>
            </c:dLbl>
            <c:spPr>
              <a:solidFill>
                <a:srgbClr val="FFFFFF"/>
              </a:solidFill>
              <a:ln>
                <a:noFill/>
              </a:ln>
              <a:effectLst/>
            </c:spPr>
            <c:txPr>
              <a:bodyPr rot="0" spcFirstLastPara="1" vertOverflow="clip" horzOverflow="clip" vert="horz" wrap="square" lIns="38100" tIns="19050" rIns="38100" bIns="19050" anchor="ctr" anchorCtr="1">
                <a:spAutoFit/>
              </a:bodyPr>
              <a:lstStyle/>
              <a:p>
                <a:pPr>
                  <a:defRPr sz="1100" b="1" i="0" u="none" strike="noStrike" kern="1200" baseline="0">
                    <a:solidFill>
                      <a:schemeClr val="dk1">
                        <a:lumMod val="65000"/>
                        <a:lumOff val="35000"/>
                      </a:schemeClr>
                    </a:solidFill>
                    <a:latin typeface="Aptos" panose="020B0004020202020204" pitchFamily="34" charset="0"/>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G$1:$G$9</c:f>
              <c:strCache>
                <c:ptCount val="9"/>
                <c:pt idx="0">
                  <c:v>Concrete Mixer</c:v>
                </c:pt>
                <c:pt idx="1">
                  <c:v>Refuse</c:v>
                </c:pt>
                <c:pt idx="2">
                  <c:v>Transit</c:v>
                </c:pt>
                <c:pt idx="3">
                  <c:v>Line Haul</c:v>
                </c:pt>
                <c:pt idx="4">
                  <c:v>P&amp;D</c:v>
                </c:pt>
                <c:pt idx="5">
                  <c:v>Dump Truck</c:v>
                </c:pt>
                <c:pt idx="6">
                  <c:v>Bulk Haul</c:v>
                </c:pt>
                <c:pt idx="7">
                  <c:v>Regional Haul</c:v>
                </c:pt>
                <c:pt idx="8">
                  <c:v>Motor Coach</c:v>
                </c:pt>
              </c:strCache>
            </c:strRef>
          </c:cat>
          <c:val>
            <c:numRef>
              <c:f>Sheet1!$H$1:$H$9</c:f>
              <c:numCache>
                <c:formatCode>General</c:formatCode>
                <c:ptCount val="9"/>
                <c:pt idx="0">
                  <c:v>4</c:v>
                </c:pt>
                <c:pt idx="1">
                  <c:v>3</c:v>
                </c:pt>
                <c:pt idx="2">
                  <c:v>4</c:v>
                </c:pt>
                <c:pt idx="3">
                  <c:v>1</c:v>
                </c:pt>
                <c:pt idx="4">
                  <c:v>2</c:v>
                </c:pt>
                <c:pt idx="5">
                  <c:v>1</c:v>
                </c:pt>
                <c:pt idx="6">
                  <c:v>1</c:v>
                </c:pt>
                <c:pt idx="7">
                  <c:v>3</c:v>
                </c:pt>
                <c:pt idx="8">
                  <c:v>1</c:v>
                </c:pt>
              </c:numCache>
            </c:numRef>
          </c:val>
          <c:extLst>
            <c:ext xmlns:c16="http://schemas.microsoft.com/office/drawing/2014/chart" uri="{C3380CC4-5D6E-409C-BE32-E72D297353CC}">
              <c16:uniqueId val="{00000012-9912-4B92-834C-D2039512F68D}"/>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Torque</c:v>
                </c:pt>
              </c:strCache>
            </c:strRef>
          </c:tx>
          <c:spPr>
            <a:ln w="34925" cap="rnd">
              <a:solidFill>
                <a:srgbClr val="C00000"/>
              </a:solidFill>
              <a:round/>
            </a:ln>
            <a:effectLst/>
          </c:spPr>
          <c:marker>
            <c:symbol val="none"/>
          </c:marker>
          <c:cat>
            <c:numRef>
              <c:f>Sheet1!$A$2:$A$17</c:f>
              <c:numCache>
                <c:formatCode>General</c:formatCode>
                <c:ptCount val="16"/>
                <c:pt idx="0">
                  <c:v>600</c:v>
                </c:pt>
                <c:pt idx="1">
                  <c:v>700</c:v>
                </c:pt>
                <c:pt idx="2">
                  <c:v>800</c:v>
                </c:pt>
                <c:pt idx="3">
                  <c:v>900</c:v>
                </c:pt>
                <c:pt idx="4">
                  <c:v>920</c:v>
                </c:pt>
                <c:pt idx="5">
                  <c:v>1000</c:v>
                </c:pt>
                <c:pt idx="6">
                  <c:v>1100</c:v>
                </c:pt>
                <c:pt idx="7">
                  <c:v>1200</c:v>
                </c:pt>
                <c:pt idx="8">
                  <c:v>1300</c:v>
                </c:pt>
                <c:pt idx="9">
                  <c:v>1400</c:v>
                </c:pt>
                <c:pt idx="10">
                  <c:v>1500</c:v>
                </c:pt>
                <c:pt idx="11">
                  <c:v>1600</c:v>
                </c:pt>
                <c:pt idx="12">
                  <c:v>1700</c:v>
                </c:pt>
                <c:pt idx="13">
                  <c:v>1800</c:v>
                </c:pt>
                <c:pt idx="14">
                  <c:v>1900</c:v>
                </c:pt>
                <c:pt idx="15">
                  <c:v>2000</c:v>
                </c:pt>
              </c:numCache>
            </c:numRef>
          </c:cat>
          <c:val>
            <c:numRef>
              <c:f>Sheet1!$B$2:$B$17</c:f>
              <c:numCache>
                <c:formatCode>General</c:formatCode>
                <c:ptCount val="16"/>
                <c:pt idx="1">
                  <c:v>850</c:v>
                </c:pt>
                <c:pt idx="2">
                  <c:v>950</c:v>
                </c:pt>
                <c:pt idx="3">
                  <c:v>1288</c:v>
                </c:pt>
                <c:pt idx="4">
                  <c:v>1356</c:v>
                </c:pt>
                <c:pt idx="5">
                  <c:v>1700</c:v>
                </c:pt>
                <c:pt idx="6">
                  <c:v>1700</c:v>
                </c:pt>
                <c:pt idx="7">
                  <c:v>1700</c:v>
                </c:pt>
                <c:pt idx="8">
                  <c:v>1700</c:v>
                </c:pt>
                <c:pt idx="9">
                  <c:v>1700</c:v>
                </c:pt>
                <c:pt idx="10">
                  <c:v>1700</c:v>
                </c:pt>
                <c:pt idx="11">
                  <c:v>1612</c:v>
                </c:pt>
                <c:pt idx="12">
                  <c:v>1544</c:v>
                </c:pt>
                <c:pt idx="13">
                  <c:v>1459</c:v>
                </c:pt>
                <c:pt idx="14">
                  <c:v>1313</c:v>
                </c:pt>
                <c:pt idx="15">
                  <c:v>1150</c:v>
                </c:pt>
              </c:numCache>
            </c:numRef>
          </c:val>
          <c:smooth val="0"/>
          <c:extLst>
            <c:ext xmlns:c16="http://schemas.microsoft.com/office/drawing/2014/chart" uri="{C3380CC4-5D6E-409C-BE32-E72D297353CC}">
              <c16:uniqueId val="{00000000-47DA-E747-BD2C-14F0B8A5B0BD}"/>
            </c:ext>
          </c:extLst>
        </c:ser>
        <c:ser>
          <c:idx val="2"/>
          <c:order val="2"/>
          <c:tx>
            <c:strRef>
              <c:f>Sheet1!$D$1</c:f>
              <c:strCache>
                <c:ptCount val="1"/>
                <c:pt idx="0">
                  <c:v>X10 Torque</c:v>
                </c:pt>
              </c:strCache>
            </c:strRef>
          </c:tx>
          <c:spPr>
            <a:ln w="28575" cap="rnd">
              <a:solidFill>
                <a:schemeClr val="accent3"/>
              </a:solidFill>
              <a:round/>
            </a:ln>
            <a:effectLst/>
          </c:spPr>
          <c:marker>
            <c:symbol val="none"/>
          </c:marker>
          <c:cat>
            <c:numRef>
              <c:f>Sheet1!$A$2:$A$17</c:f>
              <c:numCache>
                <c:formatCode>General</c:formatCode>
                <c:ptCount val="16"/>
                <c:pt idx="0">
                  <c:v>600</c:v>
                </c:pt>
                <c:pt idx="1">
                  <c:v>700</c:v>
                </c:pt>
                <c:pt idx="2">
                  <c:v>800</c:v>
                </c:pt>
                <c:pt idx="3">
                  <c:v>900</c:v>
                </c:pt>
                <c:pt idx="4">
                  <c:v>920</c:v>
                </c:pt>
                <c:pt idx="5">
                  <c:v>1000</c:v>
                </c:pt>
                <c:pt idx="6">
                  <c:v>1100</c:v>
                </c:pt>
                <c:pt idx="7">
                  <c:v>1200</c:v>
                </c:pt>
                <c:pt idx="8">
                  <c:v>1300</c:v>
                </c:pt>
                <c:pt idx="9">
                  <c:v>1400</c:v>
                </c:pt>
                <c:pt idx="10">
                  <c:v>1500</c:v>
                </c:pt>
                <c:pt idx="11">
                  <c:v>1600</c:v>
                </c:pt>
                <c:pt idx="12">
                  <c:v>1700</c:v>
                </c:pt>
                <c:pt idx="13">
                  <c:v>1800</c:v>
                </c:pt>
                <c:pt idx="14">
                  <c:v>1900</c:v>
                </c:pt>
                <c:pt idx="15">
                  <c:v>2000</c:v>
                </c:pt>
              </c:numCache>
            </c:numRef>
          </c:cat>
          <c:val>
            <c:numRef>
              <c:f>Sheet1!$D$2:$D$17</c:f>
              <c:numCache>
                <c:formatCode>0</c:formatCode>
                <c:ptCount val="16"/>
                <c:pt idx="1">
                  <c:v>850</c:v>
                </c:pt>
                <c:pt idx="2">
                  <c:v>950</c:v>
                </c:pt>
                <c:pt idx="3">
                  <c:v>1354</c:v>
                </c:pt>
                <c:pt idx="4">
                  <c:v>1485</c:v>
                </c:pt>
                <c:pt idx="5">
                  <c:v>1650</c:v>
                </c:pt>
                <c:pt idx="6">
                  <c:v>1650</c:v>
                </c:pt>
                <c:pt idx="7">
                  <c:v>1650</c:v>
                </c:pt>
                <c:pt idx="8">
                  <c:v>1650</c:v>
                </c:pt>
                <c:pt idx="9">
                  <c:v>1650</c:v>
                </c:pt>
                <c:pt idx="10">
                  <c:v>1575.633</c:v>
                </c:pt>
                <c:pt idx="11">
                  <c:v>1510</c:v>
                </c:pt>
                <c:pt idx="12">
                  <c:v>1390.2639999999999</c:v>
                </c:pt>
                <c:pt idx="13">
                  <c:v>1313.028</c:v>
                </c:pt>
                <c:pt idx="14">
                  <c:v>1133.3478947368421</c:v>
                </c:pt>
              </c:numCache>
            </c:numRef>
          </c:val>
          <c:smooth val="0"/>
          <c:extLst>
            <c:ext xmlns:c16="http://schemas.microsoft.com/office/drawing/2014/chart" uri="{C3380CC4-5D6E-409C-BE32-E72D297353CC}">
              <c16:uniqueId val="{00000001-47DA-E747-BD2C-14F0B8A5B0BD}"/>
            </c:ext>
          </c:extLst>
        </c:ser>
        <c:dLbls>
          <c:showLegendKey val="0"/>
          <c:showVal val="0"/>
          <c:showCatName val="0"/>
          <c:showSerName val="0"/>
          <c:showPercent val="0"/>
          <c:showBubbleSize val="0"/>
        </c:dLbls>
        <c:marker val="1"/>
        <c:smooth val="0"/>
        <c:axId val="1292343328"/>
        <c:axId val="1292337088"/>
      </c:lineChart>
      <c:lineChart>
        <c:grouping val="standard"/>
        <c:varyColors val="0"/>
        <c:ser>
          <c:idx val="1"/>
          <c:order val="1"/>
          <c:tx>
            <c:strRef>
              <c:f>Sheet1!$C$1</c:f>
              <c:strCache>
                <c:ptCount val="1"/>
                <c:pt idx="0">
                  <c:v>X12 Power</c:v>
                </c:pt>
              </c:strCache>
            </c:strRef>
          </c:tx>
          <c:spPr>
            <a:ln w="34925" cap="rnd">
              <a:solidFill>
                <a:schemeClr val="tx1">
                  <a:lumMod val="50000"/>
                  <a:lumOff val="50000"/>
                </a:schemeClr>
              </a:solidFill>
              <a:round/>
            </a:ln>
            <a:effectLst/>
          </c:spPr>
          <c:marker>
            <c:symbol val="none"/>
          </c:marker>
          <c:cat>
            <c:numRef>
              <c:f>Sheet1!$A$2:$A$17</c:f>
              <c:numCache>
                <c:formatCode>General</c:formatCode>
                <c:ptCount val="16"/>
                <c:pt idx="0">
                  <c:v>600</c:v>
                </c:pt>
                <c:pt idx="1">
                  <c:v>700</c:v>
                </c:pt>
                <c:pt idx="2">
                  <c:v>800</c:v>
                </c:pt>
                <c:pt idx="3">
                  <c:v>900</c:v>
                </c:pt>
                <c:pt idx="4">
                  <c:v>920</c:v>
                </c:pt>
                <c:pt idx="5">
                  <c:v>1000</c:v>
                </c:pt>
                <c:pt idx="6">
                  <c:v>1100</c:v>
                </c:pt>
                <c:pt idx="7">
                  <c:v>1200</c:v>
                </c:pt>
                <c:pt idx="8">
                  <c:v>1300</c:v>
                </c:pt>
                <c:pt idx="9">
                  <c:v>1400</c:v>
                </c:pt>
                <c:pt idx="10">
                  <c:v>1500</c:v>
                </c:pt>
                <c:pt idx="11">
                  <c:v>1600</c:v>
                </c:pt>
                <c:pt idx="12">
                  <c:v>1700</c:v>
                </c:pt>
                <c:pt idx="13">
                  <c:v>1800</c:v>
                </c:pt>
                <c:pt idx="14">
                  <c:v>1900</c:v>
                </c:pt>
                <c:pt idx="15">
                  <c:v>2000</c:v>
                </c:pt>
              </c:numCache>
            </c:numRef>
          </c:cat>
          <c:val>
            <c:numRef>
              <c:f>Sheet1!$C$2:$C$17</c:f>
              <c:numCache>
                <c:formatCode>General</c:formatCode>
                <c:ptCount val="16"/>
                <c:pt idx="1">
                  <c:v>113</c:v>
                </c:pt>
                <c:pt idx="2">
                  <c:v>145</c:v>
                </c:pt>
                <c:pt idx="3">
                  <c:v>221</c:v>
                </c:pt>
                <c:pt idx="4">
                  <c:v>237</c:v>
                </c:pt>
                <c:pt idx="5">
                  <c:v>323</c:v>
                </c:pt>
                <c:pt idx="6">
                  <c:v>355</c:v>
                </c:pt>
                <c:pt idx="7">
                  <c:v>389</c:v>
                </c:pt>
                <c:pt idx="8">
                  <c:v>421</c:v>
                </c:pt>
                <c:pt idx="9">
                  <c:v>453</c:v>
                </c:pt>
                <c:pt idx="10">
                  <c:v>485</c:v>
                </c:pt>
                <c:pt idx="11">
                  <c:v>491</c:v>
                </c:pt>
                <c:pt idx="12">
                  <c:v>500</c:v>
                </c:pt>
                <c:pt idx="13">
                  <c:v>500</c:v>
                </c:pt>
                <c:pt idx="14">
                  <c:v>475</c:v>
                </c:pt>
                <c:pt idx="15">
                  <c:v>439</c:v>
                </c:pt>
              </c:numCache>
            </c:numRef>
          </c:val>
          <c:smooth val="0"/>
          <c:extLst>
            <c:ext xmlns:c16="http://schemas.microsoft.com/office/drawing/2014/chart" uri="{C3380CC4-5D6E-409C-BE32-E72D297353CC}">
              <c16:uniqueId val="{00000002-47DA-E747-BD2C-14F0B8A5B0BD}"/>
            </c:ext>
          </c:extLst>
        </c:ser>
        <c:ser>
          <c:idx val="3"/>
          <c:order val="3"/>
          <c:tx>
            <c:strRef>
              <c:f>Sheet1!$E$1</c:f>
              <c:strCache>
                <c:ptCount val="1"/>
                <c:pt idx="0">
                  <c:v>X10 Power</c:v>
                </c:pt>
              </c:strCache>
            </c:strRef>
          </c:tx>
          <c:spPr>
            <a:ln w="28575" cap="rnd">
              <a:solidFill>
                <a:schemeClr val="accent4"/>
              </a:solidFill>
              <a:round/>
            </a:ln>
            <a:effectLst/>
          </c:spPr>
          <c:marker>
            <c:symbol val="none"/>
          </c:marker>
          <c:cat>
            <c:numRef>
              <c:f>Sheet1!$A$2:$A$17</c:f>
              <c:numCache>
                <c:formatCode>General</c:formatCode>
                <c:ptCount val="16"/>
                <c:pt idx="0">
                  <c:v>600</c:v>
                </c:pt>
                <c:pt idx="1">
                  <c:v>700</c:v>
                </c:pt>
                <c:pt idx="2">
                  <c:v>800</c:v>
                </c:pt>
                <c:pt idx="3">
                  <c:v>900</c:v>
                </c:pt>
                <c:pt idx="4">
                  <c:v>920</c:v>
                </c:pt>
                <c:pt idx="5">
                  <c:v>1000</c:v>
                </c:pt>
                <c:pt idx="6">
                  <c:v>1100</c:v>
                </c:pt>
                <c:pt idx="7">
                  <c:v>1200</c:v>
                </c:pt>
                <c:pt idx="8">
                  <c:v>1300</c:v>
                </c:pt>
                <c:pt idx="9">
                  <c:v>1400</c:v>
                </c:pt>
                <c:pt idx="10">
                  <c:v>1500</c:v>
                </c:pt>
                <c:pt idx="11">
                  <c:v>1600</c:v>
                </c:pt>
                <c:pt idx="12">
                  <c:v>1700</c:v>
                </c:pt>
                <c:pt idx="13">
                  <c:v>1800</c:v>
                </c:pt>
                <c:pt idx="14">
                  <c:v>1900</c:v>
                </c:pt>
                <c:pt idx="15">
                  <c:v>2000</c:v>
                </c:pt>
              </c:numCache>
            </c:numRef>
          </c:cat>
          <c:val>
            <c:numRef>
              <c:f>Sheet1!$E$2:$E$17</c:f>
              <c:numCache>
                <c:formatCode>0</c:formatCode>
                <c:ptCount val="16"/>
                <c:pt idx="1">
                  <c:v>113.29017517136329</c:v>
                </c:pt>
                <c:pt idx="2">
                  <c:v>144.70677837014472</c:v>
                </c:pt>
                <c:pt idx="3">
                  <c:v>225.06511805026656</c:v>
                </c:pt>
                <c:pt idx="4">
                  <c:v>254.47448591012949</c:v>
                </c:pt>
                <c:pt idx="5">
                  <c:v>314.16603198781416</c:v>
                </c:pt>
                <c:pt idx="6">
                  <c:v>345.58263518659561</c:v>
                </c:pt>
                <c:pt idx="7">
                  <c:v>376.999238385377</c:v>
                </c:pt>
                <c:pt idx="8">
                  <c:v>408.41584158415844</c:v>
                </c:pt>
                <c:pt idx="9">
                  <c:v>449.88575780654986</c:v>
                </c:pt>
                <c:pt idx="10">
                  <c:v>450.00942498095964</c:v>
                </c:pt>
                <c:pt idx="11">
                  <c:v>460.01523229246004</c:v>
                </c:pt>
                <c:pt idx="12">
                  <c:v>450.00929169840055</c:v>
                </c:pt>
                <c:pt idx="13">
                  <c:v>450.00959634424981</c:v>
                </c:pt>
                <c:pt idx="14">
                  <c:v>410</c:v>
                </c:pt>
              </c:numCache>
            </c:numRef>
          </c:val>
          <c:smooth val="0"/>
          <c:extLst>
            <c:ext xmlns:c16="http://schemas.microsoft.com/office/drawing/2014/chart" uri="{C3380CC4-5D6E-409C-BE32-E72D297353CC}">
              <c16:uniqueId val="{00000003-47DA-E747-BD2C-14F0B8A5B0BD}"/>
            </c:ext>
          </c:extLst>
        </c:ser>
        <c:dLbls>
          <c:showLegendKey val="0"/>
          <c:showVal val="0"/>
          <c:showCatName val="0"/>
          <c:showSerName val="0"/>
          <c:showPercent val="0"/>
          <c:showBubbleSize val="0"/>
        </c:dLbls>
        <c:marker val="1"/>
        <c:smooth val="0"/>
        <c:axId val="1473461023"/>
        <c:axId val="1473446143"/>
      </c:lineChart>
      <c:catAx>
        <c:axId val="129234332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Aptos" panose="020B0004020202020204" pitchFamily="34" charset="0"/>
                    <a:ea typeface="+mn-ea"/>
                    <a:cs typeface="+mn-cs"/>
                  </a:defRPr>
                </a:pPr>
                <a:r>
                  <a:rPr lang="en-US" sz="1200" b="1" noProof="0">
                    <a:latin typeface="Aptos" panose="020B0004020202020204" pitchFamily="34" charset="0"/>
                  </a:rPr>
                  <a:t>RPM</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292337088"/>
        <c:crosses val="autoZero"/>
        <c:auto val="1"/>
        <c:lblAlgn val="ctr"/>
        <c:lblOffset val="100"/>
        <c:noMultiLvlLbl val="0"/>
      </c:catAx>
      <c:valAx>
        <c:axId val="1292337088"/>
        <c:scaling>
          <c:orientation val="minMax"/>
          <c:min val="1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ptos" panose="020B0004020202020204" pitchFamily="34" charset="0"/>
                    <a:ea typeface="+mn-ea"/>
                    <a:cs typeface="+mn-cs"/>
                  </a:defRPr>
                </a:pPr>
                <a:r>
                  <a:rPr lang="en-US" sz="1200" b="1" noProof="0">
                    <a:latin typeface="Aptos" panose="020B0004020202020204" pitchFamily="34" charset="0"/>
                  </a:rPr>
                  <a:t>Torque (lb-ft)</a:t>
                </a:r>
              </a:p>
            </c:rich>
          </c:tx>
          <c:layout>
            <c:manualLayout>
              <c:xMode val="edge"/>
              <c:yMode val="edge"/>
              <c:x val="1.3350001224700163E-2"/>
              <c:y val="0.27780313670246376"/>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292343328"/>
        <c:crosses val="autoZero"/>
        <c:crossBetween val="between"/>
      </c:valAx>
      <c:valAx>
        <c:axId val="1473446143"/>
        <c:scaling>
          <c:orientation val="minMax"/>
          <c:min val="100"/>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ptos" panose="020B0004020202020204" pitchFamily="34" charset="0"/>
                    <a:ea typeface="+mn-ea"/>
                    <a:cs typeface="+mn-cs"/>
                  </a:defRPr>
                </a:pPr>
                <a:r>
                  <a:rPr lang="en-US" sz="1200" b="1" noProof="0">
                    <a:latin typeface="Aptos" panose="020B0004020202020204" pitchFamily="34" charset="0"/>
                  </a:rPr>
                  <a:t>Horsepower (HP)</a:t>
                </a:r>
              </a:p>
            </c:rich>
          </c:tx>
          <c:layout>
            <c:manualLayout>
              <c:xMode val="edge"/>
              <c:yMode val="edge"/>
              <c:x val="0.95455156453070766"/>
              <c:y val="0.2030134306309702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473461023"/>
        <c:crosses val="max"/>
        <c:crossBetween val="between"/>
        <c:majorUnit val="100"/>
      </c:valAx>
      <c:catAx>
        <c:axId val="1473461023"/>
        <c:scaling>
          <c:orientation val="minMax"/>
        </c:scaling>
        <c:delete val="1"/>
        <c:axPos val="b"/>
        <c:numFmt formatCode="General" sourceLinked="1"/>
        <c:majorTickMark val="out"/>
        <c:minorTickMark val="none"/>
        <c:tickLblPos val="nextTo"/>
        <c:crossAx val="1473446143"/>
        <c:crosses val="autoZero"/>
        <c:auto val="1"/>
        <c:lblAlgn val="ctr"/>
        <c:lblOffset val="100"/>
        <c:noMultiLvlLbl val="0"/>
      </c:catAx>
      <c:spPr>
        <a:noFill/>
        <a:ln>
          <a:noFill/>
        </a:ln>
        <a:effectLst/>
      </c:spPr>
    </c:plotArea>
    <c:legend>
      <c:legendPos val="b"/>
      <c:layout>
        <c:manualLayout>
          <c:xMode val="edge"/>
          <c:yMode val="edge"/>
          <c:x val="0.2392653748281412"/>
          <c:y val="0.88334416708100916"/>
          <c:w val="0.54264168722901907"/>
          <c:h val="6.634045625123276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69F2C3-BE72-4BBB-8225-AA16B541EF0E}"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61FDBADA-A1E8-4887-AACD-E9BD842BB9D6}">
      <dgm:prSet custT="1"/>
      <dgm:spPr>
        <a:xfrm>
          <a:off x="0" y="533350"/>
          <a:ext cx="6419314" cy="470889"/>
        </a:xfrm>
        <a:prstGeom prst="roundRect">
          <a:avLst/>
        </a:prstGeom>
        <a:solidFill>
          <a:srgbClr val="DA281C">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000" dirty="0">
              <a:solidFill>
                <a:srgbClr val="FFFFFF"/>
              </a:solidFill>
              <a:latin typeface="Arial" panose="020B0604020202020204"/>
              <a:ea typeface="+mn-ea"/>
              <a:cs typeface="+mn-cs"/>
            </a:rPr>
            <a:t>Cleaning EGR differential sensor and ports:</a:t>
          </a:r>
        </a:p>
      </dgm:t>
    </dgm:pt>
    <dgm:pt modelId="{DFA38815-83EB-4C7A-8201-113C7371C59F}" type="parTrans" cxnId="{AF036A81-EBC7-434A-86F5-A0C866B736B3}">
      <dgm:prSet/>
      <dgm:spPr/>
      <dgm:t>
        <a:bodyPr/>
        <a:lstStyle/>
        <a:p>
          <a:endParaRPr lang="en-US" sz="1600"/>
        </a:p>
      </dgm:t>
    </dgm:pt>
    <dgm:pt modelId="{A60A73BB-DF01-497E-9A8B-B96F1A09AE0E}" type="sibTrans" cxnId="{AF036A81-EBC7-434A-86F5-A0C866B736B3}">
      <dgm:prSet/>
      <dgm:spPr/>
      <dgm:t>
        <a:bodyPr/>
        <a:lstStyle/>
        <a:p>
          <a:endParaRPr lang="en-US" sz="1600"/>
        </a:p>
      </dgm:t>
    </dgm:pt>
    <dgm:pt modelId="{80949F49-42CA-49AA-B2F4-BD9FCDF85662}">
      <dgm:prSet custT="1"/>
      <dgm:spPr>
        <a:xfrm>
          <a:off x="0" y="1029208"/>
          <a:ext cx="6419314" cy="2691000"/>
        </a:xfrm>
        <a:prstGeom prst="rect">
          <a:avLst/>
        </a:prstGeom>
        <a:noFill/>
        <a:ln>
          <a:noFill/>
        </a:ln>
        <a:effectLst/>
      </dgm:spPr>
      <dgm:t>
        <a:bodyPr/>
        <a:lstStyle/>
        <a:p>
          <a:pPr>
            <a:buChar char="•"/>
          </a:pPr>
          <a:r>
            <a:rPr lang="en-US" sz="1400" dirty="0">
              <a:solidFill>
                <a:srgbClr val="000000">
                  <a:hueOff val="0"/>
                  <a:satOff val="0"/>
                  <a:lumOff val="0"/>
                  <a:alphaOff val="0"/>
                </a:srgbClr>
              </a:solidFill>
              <a:latin typeface="Arial" panose="020B0604020202020204"/>
              <a:ea typeface="+mn-ea"/>
              <a:cs typeface="+mn-cs"/>
            </a:rPr>
            <a:t>EGR Valve cleaning procedure can be found in procedure </a:t>
          </a:r>
          <a:r>
            <a:rPr lang="en-US" sz="1400" b="1" dirty="0">
              <a:solidFill>
                <a:srgbClr val="000000">
                  <a:hueOff val="0"/>
                  <a:satOff val="0"/>
                  <a:lumOff val="0"/>
                  <a:alphaOff val="0"/>
                </a:srgbClr>
              </a:solidFill>
              <a:latin typeface="Arial" panose="020B0604020202020204"/>
              <a:ea typeface="+mn-ea"/>
              <a:cs typeface="+mn-cs"/>
            </a:rPr>
            <a:t>011-022 EGR Valve</a:t>
          </a:r>
        </a:p>
      </dgm:t>
    </dgm:pt>
    <dgm:pt modelId="{29DE0A88-1171-4C1B-A6B6-7569721FDF4A}" type="parTrans" cxnId="{5E762C76-E5CD-43B7-8A8F-A6E7C0EDE8BB}">
      <dgm:prSet/>
      <dgm:spPr/>
      <dgm:t>
        <a:bodyPr/>
        <a:lstStyle/>
        <a:p>
          <a:endParaRPr lang="en-US" sz="1600"/>
        </a:p>
      </dgm:t>
    </dgm:pt>
    <dgm:pt modelId="{8CAA7B14-CB72-48D2-8DD1-BC0D98D44B53}" type="sibTrans" cxnId="{5E762C76-E5CD-43B7-8A8F-A6E7C0EDE8BB}">
      <dgm:prSet/>
      <dgm:spPr/>
      <dgm:t>
        <a:bodyPr/>
        <a:lstStyle/>
        <a:p>
          <a:endParaRPr lang="en-US" sz="1600"/>
        </a:p>
      </dgm:t>
    </dgm:pt>
    <dgm:pt modelId="{9319073F-CC5A-4E75-9FB2-15A6EF660D07}">
      <dgm:prSet custT="1"/>
      <dgm:spPr>
        <a:xfrm>
          <a:off x="0" y="1029208"/>
          <a:ext cx="6419314" cy="2691000"/>
        </a:xfrm>
        <a:prstGeom prst="rect">
          <a:avLst/>
        </a:prstGeom>
        <a:noFill/>
        <a:ln>
          <a:noFill/>
        </a:ln>
        <a:effectLst/>
      </dgm:spPr>
      <dgm:t>
        <a:bodyPr/>
        <a:lstStyle/>
        <a:p>
          <a:pPr>
            <a:buChar char="•"/>
          </a:pPr>
          <a:r>
            <a:rPr lang="en-US" sz="1400" dirty="0">
              <a:solidFill>
                <a:srgbClr val="000000">
                  <a:hueOff val="0"/>
                  <a:satOff val="0"/>
                  <a:lumOff val="0"/>
                  <a:alphaOff val="0"/>
                </a:srgbClr>
              </a:solidFill>
              <a:latin typeface="Arial" panose="020B0604020202020204"/>
              <a:ea typeface="+mn-ea"/>
              <a:cs typeface="+mn-cs"/>
            </a:rPr>
            <a:t>Look at intake air connection for EGR diff port cleaning</a:t>
          </a:r>
        </a:p>
      </dgm:t>
    </dgm:pt>
    <dgm:pt modelId="{BB4555E7-EFAA-4550-AD74-BC28DCD1AAE9}" type="parTrans" cxnId="{CCFE923E-DE3E-43C4-95E1-B9C8127BD4DD}">
      <dgm:prSet/>
      <dgm:spPr/>
      <dgm:t>
        <a:bodyPr/>
        <a:lstStyle/>
        <a:p>
          <a:endParaRPr lang="en-US"/>
        </a:p>
      </dgm:t>
    </dgm:pt>
    <dgm:pt modelId="{4D930498-678B-46F9-AA8F-E169069B68AD}" type="sibTrans" cxnId="{CCFE923E-DE3E-43C4-95E1-B9C8127BD4DD}">
      <dgm:prSet/>
      <dgm:spPr/>
      <dgm:t>
        <a:bodyPr/>
        <a:lstStyle/>
        <a:p>
          <a:endParaRPr lang="en-US"/>
        </a:p>
      </dgm:t>
    </dgm:pt>
    <dgm:pt modelId="{07262AEC-1984-4FE1-BE7E-0444A87A87DA}">
      <dgm:prSet custT="1"/>
      <dgm:spPr>
        <a:xfrm>
          <a:off x="0" y="1029208"/>
          <a:ext cx="6419314" cy="2691000"/>
        </a:xfrm>
        <a:prstGeom prst="rect">
          <a:avLst/>
        </a:prstGeom>
        <a:noFill/>
        <a:ln>
          <a:noFill/>
        </a:ln>
        <a:effectLst/>
      </dgm:spPr>
      <dgm:t>
        <a:bodyPr/>
        <a:lstStyle/>
        <a:p>
          <a:pPr>
            <a:buChar char="•"/>
          </a:pPr>
          <a:r>
            <a:rPr lang="en-US" sz="1400" dirty="0">
              <a:solidFill>
                <a:srgbClr val="000000">
                  <a:hueOff val="0"/>
                  <a:satOff val="0"/>
                  <a:lumOff val="0"/>
                  <a:alphaOff val="0"/>
                </a:srgbClr>
              </a:solidFill>
              <a:latin typeface="Arial" panose="020B0604020202020204"/>
              <a:ea typeface="+mn-ea"/>
              <a:cs typeface="+mn-cs"/>
            </a:rPr>
            <a:t>Packed or dirty EGR diff sensor and ports can create downstream issues in aftertreatments</a:t>
          </a:r>
        </a:p>
      </dgm:t>
    </dgm:pt>
    <dgm:pt modelId="{8D91A62C-BE69-4E34-987F-9BDCBAFB5471}" type="parTrans" cxnId="{836C3818-EB11-43B2-97E0-264819EEB911}">
      <dgm:prSet/>
      <dgm:spPr/>
      <dgm:t>
        <a:bodyPr/>
        <a:lstStyle/>
        <a:p>
          <a:endParaRPr lang="en-US"/>
        </a:p>
      </dgm:t>
    </dgm:pt>
    <dgm:pt modelId="{131CF709-4B35-4F53-8877-CD24FFDFB27A}" type="sibTrans" cxnId="{836C3818-EB11-43B2-97E0-264819EEB911}">
      <dgm:prSet/>
      <dgm:spPr/>
      <dgm:t>
        <a:bodyPr/>
        <a:lstStyle/>
        <a:p>
          <a:endParaRPr lang="en-US"/>
        </a:p>
      </dgm:t>
    </dgm:pt>
    <dgm:pt modelId="{77F0194A-79CD-47C8-898F-1D5DB71EC276}">
      <dgm:prSet custT="1"/>
      <dgm:spPr>
        <a:xfrm>
          <a:off x="0" y="1029208"/>
          <a:ext cx="6419314" cy="2691000"/>
        </a:xfrm>
        <a:prstGeom prst="rect">
          <a:avLst/>
        </a:prstGeom>
        <a:noFill/>
        <a:ln>
          <a:noFill/>
        </a:ln>
        <a:effectLst/>
      </dgm:spPr>
      <dgm:t>
        <a:bodyPr/>
        <a:lstStyle/>
        <a:p>
          <a:pPr>
            <a:buChar char="•"/>
          </a:pPr>
          <a:r>
            <a:rPr lang="en-US" sz="1400" b="1" dirty="0">
              <a:solidFill>
                <a:srgbClr val="000000">
                  <a:hueOff val="0"/>
                  <a:satOff val="0"/>
                  <a:lumOff val="0"/>
                  <a:alphaOff val="0"/>
                </a:srgbClr>
              </a:solidFill>
              <a:latin typeface="Arial" panose="020B0604020202020204"/>
              <a:ea typeface="+mn-ea"/>
              <a:cs typeface="+mn-cs"/>
            </a:rPr>
            <a:t>Mid Range - Cleaning every 4500 hours</a:t>
          </a:r>
        </a:p>
      </dgm:t>
    </dgm:pt>
    <dgm:pt modelId="{1D707507-3628-47A1-8000-A8A41C2FA278}" type="parTrans" cxnId="{FA4E3DDD-12F9-4EB8-BE75-82FD391F804E}">
      <dgm:prSet/>
      <dgm:spPr/>
      <dgm:t>
        <a:bodyPr/>
        <a:lstStyle/>
        <a:p>
          <a:endParaRPr lang="en-US"/>
        </a:p>
      </dgm:t>
    </dgm:pt>
    <dgm:pt modelId="{F9689CC0-5EBA-4D13-B207-039C2637AC21}" type="sibTrans" cxnId="{FA4E3DDD-12F9-4EB8-BE75-82FD391F804E}">
      <dgm:prSet/>
      <dgm:spPr/>
      <dgm:t>
        <a:bodyPr/>
        <a:lstStyle/>
        <a:p>
          <a:endParaRPr lang="en-US"/>
        </a:p>
      </dgm:t>
    </dgm:pt>
    <dgm:pt modelId="{3972B1BA-20D8-4719-A60E-CA3D3A37E22F}">
      <dgm:prSet custT="1"/>
      <dgm:spPr>
        <a:xfrm>
          <a:off x="0" y="1029208"/>
          <a:ext cx="6419314" cy="2691000"/>
        </a:xfrm>
        <a:prstGeom prst="rect">
          <a:avLst/>
        </a:prstGeom>
        <a:noFill/>
        <a:ln>
          <a:noFill/>
        </a:ln>
        <a:effectLst/>
      </dgm:spPr>
      <dgm:t>
        <a:bodyPr/>
        <a:lstStyle/>
        <a:p>
          <a:pPr>
            <a:buChar char="•"/>
          </a:pPr>
          <a:r>
            <a:rPr lang="en-US" sz="1400" b="1" dirty="0">
              <a:solidFill>
                <a:srgbClr val="000000">
                  <a:hueOff val="0"/>
                  <a:satOff val="0"/>
                  <a:lumOff val="0"/>
                  <a:alphaOff val="0"/>
                </a:srgbClr>
              </a:solidFill>
              <a:latin typeface="Arial" panose="020B0604020202020204"/>
              <a:ea typeface="+mn-ea"/>
              <a:cs typeface="+mn-cs"/>
            </a:rPr>
            <a:t>Mid Range </a:t>
          </a:r>
          <a:r>
            <a:rPr lang="en-US" sz="1400" b="0" dirty="0">
              <a:solidFill>
                <a:srgbClr val="000000">
                  <a:hueOff val="0"/>
                  <a:satOff val="0"/>
                  <a:lumOff val="0"/>
                  <a:alphaOff val="0"/>
                </a:srgbClr>
              </a:solidFill>
              <a:latin typeface="Arial" panose="020B0604020202020204"/>
              <a:ea typeface="+mn-ea"/>
              <a:cs typeface="+mn-cs"/>
            </a:rPr>
            <a:t>- Differential Port (DP) cleaning procedures can be found in procedure </a:t>
          </a:r>
          <a:r>
            <a:rPr lang="en-US" sz="1400" b="1" dirty="0">
              <a:solidFill>
                <a:srgbClr val="000000">
                  <a:hueOff val="0"/>
                  <a:satOff val="0"/>
                  <a:lumOff val="0"/>
                  <a:alphaOff val="0"/>
                </a:srgbClr>
              </a:solidFill>
              <a:latin typeface="Arial" panose="020B0604020202020204"/>
              <a:ea typeface="+mn-ea"/>
              <a:cs typeface="+mn-cs"/>
            </a:rPr>
            <a:t>10-080 Air Intake Connection – Also 5579934 service bulletin</a:t>
          </a:r>
        </a:p>
      </dgm:t>
    </dgm:pt>
    <dgm:pt modelId="{ECC3C98E-DAE0-4367-B325-51360D668817}" type="parTrans" cxnId="{C51830BB-EAEF-4398-A14F-20F719CCB74E}">
      <dgm:prSet/>
      <dgm:spPr/>
      <dgm:t>
        <a:bodyPr/>
        <a:lstStyle/>
        <a:p>
          <a:endParaRPr lang="en-US"/>
        </a:p>
      </dgm:t>
    </dgm:pt>
    <dgm:pt modelId="{0199124F-0FDB-4426-874E-2C76E8096916}" type="sibTrans" cxnId="{C51830BB-EAEF-4398-A14F-20F719CCB74E}">
      <dgm:prSet/>
      <dgm:spPr/>
      <dgm:t>
        <a:bodyPr/>
        <a:lstStyle/>
        <a:p>
          <a:endParaRPr lang="en-US"/>
        </a:p>
      </dgm:t>
    </dgm:pt>
    <dgm:pt modelId="{4CECD158-AD85-453E-88A5-7A69D641E614}" type="pres">
      <dgm:prSet presAssocID="{6A69F2C3-BE72-4BBB-8225-AA16B541EF0E}" presName="linear" presStyleCnt="0">
        <dgm:presLayoutVars>
          <dgm:animLvl val="lvl"/>
          <dgm:resizeHandles val="exact"/>
        </dgm:presLayoutVars>
      </dgm:prSet>
      <dgm:spPr/>
    </dgm:pt>
    <dgm:pt modelId="{DAE7C53E-6351-472A-BF7A-A471437AD478}" type="pres">
      <dgm:prSet presAssocID="{61FDBADA-A1E8-4887-AACD-E9BD842BB9D6}" presName="parentText" presStyleLbl="node1" presStyleIdx="0" presStyleCnt="1" custScaleY="38699" custLinFactNeighborY="-35965">
        <dgm:presLayoutVars>
          <dgm:chMax val="0"/>
          <dgm:bulletEnabled val="1"/>
        </dgm:presLayoutVars>
      </dgm:prSet>
      <dgm:spPr/>
    </dgm:pt>
    <dgm:pt modelId="{24123F57-2EE1-43B8-8CED-C8E72E15438B}" type="pres">
      <dgm:prSet presAssocID="{61FDBADA-A1E8-4887-AACD-E9BD842BB9D6}" presName="childText" presStyleLbl="revTx" presStyleIdx="0" presStyleCnt="1" custLinFactNeighborY="-52498">
        <dgm:presLayoutVars>
          <dgm:bulletEnabled val="1"/>
        </dgm:presLayoutVars>
      </dgm:prSet>
      <dgm:spPr/>
    </dgm:pt>
  </dgm:ptLst>
  <dgm:cxnLst>
    <dgm:cxn modelId="{6A2F3406-4B6A-4349-91E8-7B8F85CE25B9}" type="presOf" srcId="{9319073F-CC5A-4E75-9FB2-15A6EF660D07}" destId="{24123F57-2EE1-43B8-8CED-C8E72E15438B}" srcOrd="0" destOrd="3" presId="urn:microsoft.com/office/officeart/2005/8/layout/vList2"/>
    <dgm:cxn modelId="{2CE37908-C465-4902-AD15-B4F2891D9DE9}" type="presOf" srcId="{6A69F2C3-BE72-4BBB-8225-AA16B541EF0E}" destId="{4CECD158-AD85-453E-88A5-7A69D641E614}" srcOrd="0" destOrd="0" presId="urn:microsoft.com/office/officeart/2005/8/layout/vList2"/>
    <dgm:cxn modelId="{836C3818-EB11-43B2-97E0-264819EEB911}" srcId="{61FDBADA-A1E8-4887-AACD-E9BD842BB9D6}" destId="{07262AEC-1984-4FE1-BE7E-0444A87A87DA}" srcOrd="0" destOrd="0" parTransId="{8D91A62C-BE69-4E34-987F-9BDCBAFB5471}" sibTransId="{131CF709-4B35-4F53-8877-CD24FFDFB27A}"/>
    <dgm:cxn modelId="{CCFE923E-DE3E-43C4-95E1-B9C8127BD4DD}" srcId="{61FDBADA-A1E8-4887-AACD-E9BD842BB9D6}" destId="{9319073F-CC5A-4E75-9FB2-15A6EF660D07}" srcOrd="3" destOrd="0" parTransId="{BB4555E7-EFAA-4550-AD74-BC28DCD1AAE9}" sibTransId="{4D930498-678B-46F9-AA8F-E169069B68AD}"/>
    <dgm:cxn modelId="{B2CB1440-1512-4458-AD4C-A723D8D4AAE3}" type="presOf" srcId="{07262AEC-1984-4FE1-BE7E-0444A87A87DA}" destId="{24123F57-2EE1-43B8-8CED-C8E72E15438B}" srcOrd="0" destOrd="0" presId="urn:microsoft.com/office/officeart/2005/8/layout/vList2"/>
    <dgm:cxn modelId="{5E762C76-E5CD-43B7-8A8F-A6E7C0EDE8BB}" srcId="{61FDBADA-A1E8-4887-AACD-E9BD842BB9D6}" destId="{80949F49-42CA-49AA-B2F4-BD9FCDF85662}" srcOrd="4" destOrd="0" parTransId="{29DE0A88-1171-4C1B-A6B6-7569721FDF4A}" sibTransId="{8CAA7B14-CB72-48D2-8DD1-BC0D98D44B53}"/>
    <dgm:cxn modelId="{AF036A81-EBC7-434A-86F5-A0C866B736B3}" srcId="{6A69F2C3-BE72-4BBB-8225-AA16B541EF0E}" destId="{61FDBADA-A1E8-4887-AACD-E9BD842BB9D6}" srcOrd="0" destOrd="0" parTransId="{DFA38815-83EB-4C7A-8201-113C7371C59F}" sibTransId="{A60A73BB-DF01-497E-9A8B-B96F1A09AE0E}"/>
    <dgm:cxn modelId="{6210FCAB-CA3A-440C-9861-9DD82426DDBA}" type="presOf" srcId="{77F0194A-79CD-47C8-898F-1D5DB71EC276}" destId="{24123F57-2EE1-43B8-8CED-C8E72E15438B}" srcOrd="0" destOrd="1" presId="urn:microsoft.com/office/officeart/2005/8/layout/vList2"/>
    <dgm:cxn modelId="{C51830BB-EAEF-4398-A14F-20F719CCB74E}" srcId="{61FDBADA-A1E8-4887-AACD-E9BD842BB9D6}" destId="{3972B1BA-20D8-4719-A60E-CA3D3A37E22F}" srcOrd="2" destOrd="0" parTransId="{ECC3C98E-DAE0-4367-B325-51360D668817}" sibTransId="{0199124F-0FDB-4426-874E-2C76E8096916}"/>
    <dgm:cxn modelId="{A2EB5AC4-58B6-4598-8A44-59DE370252D4}" type="presOf" srcId="{3972B1BA-20D8-4719-A60E-CA3D3A37E22F}" destId="{24123F57-2EE1-43B8-8CED-C8E72E15438B}" srcOrd="0" destOrd="2" presId="urn:microsoft.com/office/officeart/2005/8/layout/vList2"/>
    <dgm:cxn modelId="{F2B29FCA-854F-486D-964E-EB931A2D7DFA}" type="presOf" srcId="{80949F49-42CA-49AA-B2F4-BD9FCDF85662}" destId="{24123F57-2EE1-43B8-8CED-C8E72E15438B}" srcOrd="0" destOrd="4" presId="urn:microsoft.com/office/officeart/2005/8/layout/vList2"/>
    <dgm:cxn modelId="{FA4E3DDD-12F9-4EB8-BE75-82FD391F804E}" srcId="{61FDBADA-A1E8-4887-AACD-E9BD842BB9D6}" destId="{77F0194A-79CD-47C8-898F-1D5DB71EC276}" srcOrd="1" destOrd="0" parTransId="{1D707507-3628-47A1-8000-A8A41C2FA278}" sibTransId="{F9689CC0-5EBA-4D13-B207-039C2637AC21}"/>
    <dgm:cxn modelId="{BBC19EE0-A1C8-4173-85A2-327BB6155457}" type="presOf" srcId="{61FDBADA-A1E8-4887-AACD-E9BD842BB9D6}" destId="{DAE7C53E-6351-472A-BF7A-A471437AD478}" srcOrd="0" destOrd="0" presId="urn:microsoft.com/office/officeart/2005/8/layout/vList2"/>
    <dgm:cxn modelId="{F5CF64F1-1E6A-4E11-B9AD-DE0D2F72CFF3}" type="presParOf" srcId="{4CECD158-AD85-453E-88A5-7A69D641E614}" destId="{DAE7C53E-6351-472A-BF7A-A471437AD478}" srcOrd="0" destOrd="0" presId="urn:microsoft.com/office/officeart/2005/8/layout/vList2"/>
    <dgm:cxn modelId="{FE9ADF06-AE56-4101-A04E-E314001D1597}" type="presParOf" srcId="{4CECD158-AD85-453E-88A5-7A69D641E614}" destId="{24123F57-2EE1-43B8-8CED-C8E72E15438B}"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E7C53E-6351-472A-BF7A-A471437AD478}">
      <dsp:nvSpPr>
        <dsp:cNvPr id="0" name=""/>
        <dsp:cNvSpPr/>
      </dsp:nvSpPr>
      <dsp:spPr>
        <a:xfrm>
          <a:off x="0" y="1227345"/>
          <a:ext cx="5249788" cy="470889"/>
        </a:xfrm>
        <a:prstGeom prst="roundRect">
          <a:avLst/>
        </a:prstGeom>
        <a:solidFill>
          <a:srgbClr val="DA281C">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solidFill>
                <a:srgbClr val="FFFFFF"/>
              </a:solidFill>
              <a:latin typeface="Arial" panose="020B0604020202020204"/>
              <a:ea typeface="+mn-ea"/>
              <a:cs typeface="+mn-cs"/>
            </a:rPr>
            <a:t>Cleaning EGR differential sensor and ports:</a:t>
          </a:r>
        </a:p>
      </dsp:txBody>
      <dsp:txXfrm>
        <a:off x="22987" y="1250332"/>
        <a:ext cx="5203814" cy="424915"/>
      </dsp:txXfrm>
    </dsp:sp>
    <dsp:sp modelId="{24123F57-2EE1-43B8-8CED-C8E72E15438B}">
      <dsp:nvSpPr>
        <dsp:cNvPr id="0" name=""/>
        <dsp:cNvSpPr/>
      </dsp:nvSpPr>
      <dsp:spPr>
        <a:xfrm>
          <a:off x="0" y="1736912"/>
          <a:ext cx="5249788" cy="1883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6681"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solidFill>
                <a:srgbClr val="000000">
                  <a:hueOff val="0"/>
                  <a:satOff val="0"/>
                  <a:lumOff val="0"/>
                  <a:alphaOff val="0"/>
                </a:srgbClr>
              </a:solidFill>
              <a:latin typeface="Arial" panose="020B0604020202020204"/>
              <a:ea typeface="+mn-ea"/>
              <a:cs typeface="+mn-cs"/>
            </a:rPr>
            <a:t>Packed or dirty EGR diff sensor and ports can create downstream issues in aftertreatments</a:t>
          </a:r>
        </a:p>
        <a:p>
          <a:pPr marL="114300" lvl="1" indent="-114300" algn="l" defTabSz="622300">
            <a:lnSpc>
              <a:spcPct val="90000"/>
            </a:lnSpc>
            <a:spcBef>
              <a:spcPct val="0"/>
            </a:spcBef>
            <a:spcAft>
              <a:spcPct val="20000"/>
            </a:spcAft>
            <a:buChar char="•"/>
          </a:pPr>
          <a:r>
            <a:rPr lang="en-US" sz="1400" b="1" kern="1200" dirty="0">
              <a:solidFill>
                <a:srgbClr val="000000">
                  <a:hueOff val="0"/>
                  <a:satOff val="0"/>
                  <a:lumOff val="0"/>
                  <a:alphaOff val="0"/>
                </a:srgbClr>
              </a:solidFill>
              <a:latin typeface="Arial" panose="020B0604020202020204"/>
              <a:ea typeface="+mn-ea"/>
              <a:cs typeface="+mn-cs"/>
            </a:rPr>
            <a:t>Mid Range - Cleaning every 4500 hours</a:t>
          </a:r>
        </a:p>
        <a:p>
          <a:pPr marL="114300" lvl="1" indent="-114300" algn="l" defTabSz="622300">
            <a:lnSpc>
              <a:spcPct val="90000"/>
            </a:lnSpc>
            <a:spcBef>
              <a:spcPct val="0"/>
            </a:spcBef>
            <a:spcAft>
              <a:spcPct val="20000"/>
            </a:spcAft>
            <a:buChar char="•"/>
          </a:pPr>
          <a:r>
            <a:rPr lang="en-US" sz="1400" b="1" kern="1200" dirty="0">
              <a:solidFill>
                <a:srgbClr val="000000">
                  <a:hueOff val="0"/>
                  <a:satOff val="0"/>
                  <a:lumOff val="0"/>
                  <a:alphaOff val="0"/>
                </a:srgbClr>
              </a:solidFill>
              <a:latin typeface="Arial" panose="020B0604020202020204"/>
              <a:ea typeface="+mn-ea"/>
              <a:cs typeface="+mn-cs"/>
            </a:rPr>
            <a:t>Mid Range </a:t>
          </a:r>
          <a:r>
            <a:rPr lang="en-US" sz="1400" b="0" kern="1200" dirty="0">
              <a:solidFill>
                <a:srgbClr val="000000">
                  <a:hueOff val="0"/>
                  <a:satOff val="0"/>
                  <a:lumOff val="0"/>
                  <a:alphaOff val="0"/>
                </a:srgbClr>
              </a:solidFill>
              <a:latin typeface="Arial" panose="020B0604020202020204"/>
              <a:ea typeface="+mn-ea"/>
              <a:cs typeface="+mn-cs"/>
            </a:rPr>
            <a:t>- Differential Port (DP) cleaning procedures can be found in procedure </a:t>
          </a:r>
          <a:r>
            <a:rPr lang="en-US" sz="1400" b="1" kern="1200" dirty="0">
              <a:solidFill>
                <a:srgbClr val="000000">
                  <a:hueOff val="0"/>
                  <a:satOff val="0"/>
                  <a:lumOff val="0"/>
                  <a:alphaOff val="0"/>
                </a:srgbClr>
              </a:solidFill>
              <a:latin typeface="Arial" panose="020B0604020202020204"/>
              <a:ea typeface="+mn-ea"/>
              <a:cs typeface="+mn-cs"/>
            </a:rPr>
            <a:t>10-080 Air Intake Connection – Also 5579934 service bulletin</a:t>
          </a:r>
        </a:p>
        <a:p>
          <a:pPr marL="114300" lvl="1" indent="-114300" algn="l" defTabSz="622300">
            <a:lnSpc>
              <a:spcPct val="90000"/>
            </a:lnSpc>
            <a:spcBef>
              <a:spcPct val="0"/>
            </a:spcBef>
            <a:spcAft>
              <a:spcPct val="20000"/>
            </a:spcAft>
            <a:buChar char="•"/>
          </a:pPr>
          <a:r>
            <a:rPr lang="en-US" sz="1400" kern="1200" dirty="0">
              <a:solidFill>
                <a:srgbClr val="000000">
                  <a:hueOff val="0"/>
                  <a:satOff val="0"/>
                  <a:lumOff val="0"/>
                  <a:alphaOff val="0"/>
                </a:srgbClr>
              </a:solidFill>
              <a:latin typeface="Arial" panose="020B0604020202020204"/>
              <a:ea typeface="+mn-ea"/>
              <a:cs typeface="+mn-cs"/>
            </a:rPr>
            <a:t>Look at intake air connection for EGR diff port cleaning</a:t>
          </a:r>
        </a:p>
        <a:p>
          <a:pPr marL="114300" lvl="1" indent="-114300" algn="l" defTabSz="622300">
            <a:lnSpc>
              <a:spcPct val="90000"/>
            </a:lnSpc>
            <a:spcBef>
              <a:spcPct val="0"/>
            </a:spcBef>
            <a:spcAft>
              <a:spcPct val="20000"/>
            </a:spcAft>
            <a:buChar char="•"/>
          </a:pPr>
          <a:r>
            <a:rPr lang="en-US" sz="1400" kern="1200" dirty="0">
              <a:solidFill>
                <a:srgbClr val="000000">
                  <a:hueOff val="0"/>
                  <a:satOff val="0"/>
                  <a:lumOff val="0"/>
                  <a:alphaOff val="0"/>
                </a:srgbClr>
              </a:solidFill>
              <a:latin typeface="Arial" panose="020B0604020202020204"/>
              <a:ea typeface="+mn-ea"/>
              <a:cs typeface="+mn-cs"/>
            </a:rPr>
            <a:t>EGR Valve cleaning procedure can be found in procedure </a:t>
          </a:r>
          <a:r>
            <a:rPr lang="en-US" sz="1400" b="1" kern="1200" dirty="0">
              <a:solidFill>
                <a:srgbClr val="000000">
                  <a:hueOff val="0"/>
                  <a:satOff val="0"/>
                  <a:lumOff val="0"/>
                  <a:alphaOff val="0"/>
                </a:srgbClr>
              </a:solidFill>
              <a:latin typeface="Arial" panose="020B0604020202020204"/>
              <a:ea typeface="+mn-ea"/>
              <a:cs typeface="+mn-cs"/>
            </a:rPr>
            <a:t>011-022 EGR Valve</a:t>
          </a:r>
        </a:p>
      </dsp:txBody>
      <dsp:txXfrm>
        <a:off x="0" y="1736912"/>
        <a:ext cx="5249788" cy="18837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D20248-A5C7-4365-A0A1-A52E1BF77579}" type="datetimeFigureOut">
              <a:rPr lang="en-US" smtClean="0"/>
              <a:t>12/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34B9C9-6D87-4811-A7AF-B9EF8E37FA06}" type="slidenum">
              <a:rPr lang="en-US" smtClean="0"/>
              <a:t>‹#›</a:t>
            </a:fld>
            <a:endParaRPr lang="en-US"/>
          </a:p>
        </p:txBody>
      </p:sp>
    </p:spTree>
    <p:extLst>
      <p:ext uri="{BB962C8B-B14F-4D97-AF65-F5344CB8AC3E}">
        <p14:creationId xmlns:p14="http://schemas.microsoft.com/office/powerpoint/2010/main" val="1038190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34B9C9-6D87-4811-A7AF-B9EF8E37FA06}" type="slidenum">
              <a:rPr lang="en-US" smtClean="0"/>
              <a:t>1</a:t>
            </a:fld>
            <a:endParaRPr lang="en-US"/>
          </a:p>
        </p:txBody>
      </p:sp>
    </p:spTree>
    <p:extLst>
      <p:ext uri="{BB962C8B-B14F-4D97-AF65-F5344CB8AC3E}">
        <p14:creationId xmlns:p14="http://schemas.microsoft.com/office/powerpoint/2010/main" val="18277179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Aft>
                <a:spcPts val="750"/>
              </a:spcAft>
              <a:buNone/>
            </a:pPr>
            <a:r>
              <a:rPr lang="en-US" b="0" i="0" dirty="0">
                <a:solidFill>
                  <a:srgbClr val="333333"/>
                </a:solidFill>
                <a:effectLst/>
                <a:latin typeface="Roboto" panose="02000000000000000000" pitchFamily="2" charset="0"/>
              </a:rPr>
              <a:t>Fuel filter change interval may be reduced to various factors such as fuel cleanliness or use of biodiesel blends above B5.</a:t>
            </a:r>
          </a:p>
          <a:p>
            <a:pPr algn="l">
              <a:spcAft>
                <a:spcPts val="750"/>
              </a:spcAft>
              <a:buNone/>
            </a:pPr>
            <a:r>
              <a:rPr lang="en-US" b="0" i="0" dirty="0">
                <a:solidFill>
                  <a:srgbClr val="333333"/>
                </a:solidFill>
                <a:effectLst/>
                <a:latin typeface="Roboto" panose="02000000000000000000" pitchFamily="2" charset="0"/>
              </a:rPr>
              <a:t>Fuel filter intervals for engines running biodiesel blends greater than B5 </a:t>
            </a:r>
            <a:r>
              <a:rPr lang="en-US" b="1" i="0" dirty="0">
                <a:solidFill>
                  <a:srgbClr val="333333"/>
                </a:solidFill>
                <a:effectLst/>
                <a:latin typeface="Roboto" panose="02000000000000000000" pitchFamily="2" charset="0"/>
              </a:rPr>
              <a:t>must</a:t>
            </a:r>
            <a:r>
              <a:rPr lang="en-US" b="0" i="0" dirty="0">
                <a:solidFill>
                  <a:srgbClr val="333333"/>
                </a:solidFill>
                <a:effectLst/>
                <a:latin typeface="Roboto" panose="02000000000000000000" pitchFamily="2" charset="0"/>
              </a:rPr>
              <a:t> be reduced to half of the value shown in the table.</a:t>
            </a:r>
          </a:p>
          <a:p>
            <a:endParaRPr lang="en-US" dirty="0"/>
          </a:p>
        </p:txBody>
      </p:sp>
      <p:sp>
        <p:nvSpPr>
          <p:cNvPr id="4" name="Slide Number Placeholder 3"/>
          <p:cNvSpPr>
            <a:spLocks noGrp="1"/>
          </p:cNvSpPr>
          <p:nvPr>
            <p:ph type="sldNum" sz="quarter" idx="5"/>
          </p:nvPr>
        </p:nvSpPr>
        <p:spPr/>
        <p:txBody>
          <a:bodyPr/>
          <a:lstStyle/>
          <a:p>
            <a:fld id="{1334B9C9-6D87-4811-A7AF-B9EF8E37FA06}" type="slidenum">
              <a:rPr lang="en-US" smtClean="0"/>
              <a:t>30</a:t>
            </a:fld>
            <a:endParaRPr lang="en-US"/>
          </a:p>
        </p:txBody>
      </p:sp>
    </p:spTree>
    <p:extLst>
      <p:ext uri="{BB962C8B-B14F-4D97-AF65-F5344CB8AC3E}">
        <p14:creationId xmlns:p14="http://schemas.microsoft.com/office/powerpoint/2010/main" val="1183502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C4CE6-CAC1-F129-0B3E-70957B9525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B8C3A5-671E-640E-ECF4-E591038F26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82276B-E3E1-C735-D44E-FB9616C6D2A9}"/>
              </a:ext>
            </a:extLst>
          </p:cNvPr>
          <p:cNvSpPr>
            <a:spLocks noGrp="1"/>
          </p:cNvSpPr>
          <p:nvPr>
            <p:ph type="body" idx="1"/>
          </p:nvPr>
        </p:nvSpPr>
        <p:spPr/>
        <p:txBody>
          <a:bodyPr/>
          <a:lstStyle/>
          <a:p>
            <a:pPr algn="l">
              <a:spcAft>
                <a:spcPts val="750"/>
              </a:spcAft>
              <a:buNone/>
            </a:pPr>
            <a:r>
              <a:rPr lang="en-US" b="0" i="0" dirty="0">
                <a:solidFill>
                  <a:srgbClr val="333333"/>
                </a:solidFill>
                <a:effectLst/>
                <a:latin typeface="Roboto" panose="02000000000000000000" pitchFamily="2" charset="0"/>
              </a:rPr>
              <a:t>Fuel filter change interval may be reduced to various factors such as fuel cleanliness or use of biodiesel blends above B5.</a:t>
            </a:r>
          </a:p>
          <a:p>
            <a:pPr algn="l">
              <a:spcAft>
                <a:spcPts val="750"/>
              </a:spcAft>
              <a:buNone/>
            </a:pPr>
            <a:r>
              <a:rPr lang="en-US" b="0" i="0" dirty="0">
                <a:solidFill>
                  <a:srgbClr val="333333"/>
                </a:solidFill>
                <a:effectLst/>
                <a:latin typeface="Roboto" panose="02000000000000000000" pitchFamily="2" charset="0"/>
              </a:rPr>
              <a:t>Fuel filter intervals for engines running biodiesel blends greater than B5 </a:t>
            </a:r>
            <a:r>
              <a:rPr lang="en-US" b="1" i="0" dirty="0">
                <a:solidFill>
                  <a:srgbClr val="333333"/>
                </a:solidFill>
                <a:effectLst/>
                <a:latin typeface="Roboto" panose="02000000000000000000" pitchFamily="2" charset="0"/>
              </a:rPr>
              <a:t>must</a:t>
            </a:r>
            <a:r>
              <a:rPr lang="en-US" b="0" i="0" dirty="0">
                <a:solidFill>
                  <a:srgbClr val="333333"/>
                </a:solidFill>
                <a:effectLst/>
                <a:latin typeface="Roboto" panose="02000000000000000000" pitchFamily="2" charset="0"/>
              </a:rPr>
              <a:t> be reduced to half of the value shown in the table.</a:t>
            </a:r>
          </a:p>
          <a:p>
            <a:endParaRPr lang="en-US" dirty="0"/>
          </a:p>
        </p:txBody>
      </p:sp>
      <p:sp>
        <p:nvSpPr>
          <p:cNvPr id="4" name="Slide Number Placeholder 3">
            <a:extLst>
              <a:ext uri="{FF2B5EF4-FFF2-40B4-BE49-F238E27FC236}">
                <a16:creationId xmlns:a16="http://schemas.microsoft.com/office/drawing/2014/main" id="{F3EB7A17-D669-927D-F668-93193438D7BB}"/>
              </a:ext>
            </a:extLst>
          </p:cNvPr>
          <p:cNvSpPr>
            <a:spLocks noGrp="1"/>
          </p:cNvSpPr>
          <p:nvPr>
            <p:ph type="sldNum" sz="quarter" idx="5"/>
          </p:nvPr>
        </p:nvSpPr>
        <p:spPr/>
        <p:txBody>
          <a:bodyPr/>
          <a:lstStyle/>
          <a:p>
            <a:fld id="{1334B9C9-6D87-4811-A7AF-B9EF8E37FA06}" type="slidenum">
              <a:rPr lang="en-US" smtClean="0"/>
              <a:t>31</a:t>
            </a:fld>
            <a:endParaRPr lang="en-US"/>
          </a:p>
        </p:txBody>
      </p:sp>
    </p:spTree>
    <p:extLst>
      <p:ext uri="{BB962C8B-B14F-4D97-AF65-F5344CB8AC3E}">
        <p14:creationId xmlns:p14="http://schemas.microsoft.com/office/powerpoint/2010/main" val="3214010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often should you be testing your coolant.   Really goes back to Total Cost of Ownership and what you want to mess with. If you are using a conventional product really should be testing every oil drain or annually if you are not hitting mileage or hour interval.   Hybrid coolant the number is pretty significantly different.    Using Organic Acid Technology coolant.  </a:t>
            </a:r>
          </a:p>
          <a:p>
            <a:endParaRPr lang="en-US" dirty="0"/>
          </a:p>
          <a:p>
            <a:r>
              <a:rPr lang="en-US" dirty="0"/>
              <a:t>Our recommendation is the shortest of recommended hours, miles, or 1 year should be used as the test interval.  Really a precautionary measure intended to prevent maintenance and engine problem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6661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Don’t be tricked by determining the type of coolant by color.  Coolant color is not standardized across the industry.  Not a good best practice if an engine comes in with orange coolant to just add an orange colored coolant.  You really need to be sure it meets the right specifications for the engin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023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ome things you can look for that will help you determine what type of products you should be using.  Really if you break down coolants, coolants can be classified in two different ways by performance and by type.  When we talk about performance we are referring to industry specifications or more strict OEM specifications.  The other way is by type, to group coolants based on their chemistry.  Conventional, Hybrid or extended life coolants, or OAT/NOAT coolants organic coolants.  Cummins, engine OEMS often have their own specification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92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we go back to Performance specifications, there are a few numbers to keep in mind, the first is the ASTM (American Society Testing Materials) industry standard organizations, governing bodies that manage things like heavy duty engine coolant standards. The D3306 is really for light duty engines or automotive grade applications. </a:t>
            </a:r>
          </a:p>
          <a:p>
            <a:endParaRPr lang="en-US" dirty="0"/>
          </a:p>
          <a:p>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The middle number ASTM D6210 is an industry specification and means this coolant meets requirements for heavy duty diesel engines. You need to ensure the coolant your using is a product that meets ASTM D6210.  If it’s a heavy duty diesel engine you need to see ASTM D6210 industry specification. </a:t>
            </a:r>
          </a:p>
          <a:p>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a:p>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On top of the industry specification you will also see OEM specs.  Cummins spec CES14603 builds on top of the industry spec.  It also meets things that Cummins calls attention too such as compatibility with silicone hoses, seals, etc.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86436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go to </a:t>
            </a:r>
            <a:r>
              <a:rPr lang="en-US" dirty="0" err="1"/>
              <a:t>Quickserve</a:t>
            </a:r>
            <a:r>
              <a:rPr lang="en-US" dirty="0"/>
              <a:t> Online to locate which </a:t>
            </a:r>
            <a:r>
              <a:rPr lang="en-US" dirty="0" err="1"/>
              <a:t>Fleetguard</a:t>
            </a:r>
            <a:r>
              <a:rPr lang="en-US" dirty="0"/>
              <a:t> coolants and other coolants in the industry are approved to meet Cummins CES14603 spe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3230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Conventional Coolants are generally what is seen in the marketplace today, they do require more maintenance and watch the products more closely and are generally green in </a:t>
            </a: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color.Still</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offered in marketplace today but most OEMS have left this in the dust and moved away from it.   Most customers are not watching their coolant maintenance close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Hybrid coolants do provide extended life.   They blend conventional with some other additives that provide better protection.   </a:t>
            </a: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Fleetguard</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ES </a:t>
            </a: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Compleat</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is a Cummins Hybrid product and is blue in color</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2757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Then we really start moving into where the industry has gone last 10 years.  These are organic acid technology type coolants.  Nitric organic acid technology coolants-NOAT.  The main difference if the type of inhibitors used to prevent corrosion. NOAT uses Nitrate and is generally used in cooling systems that contain copper and bra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Then you have your organic acid technology coolant -OAT.  They offer better service life, testing, and service requirements.  Get more benefit for protection, less hassle in terms of testing and maintena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ES complete OAT and ES Complete NOAT is offered by Cummins.  Why OEMs are using them is they provide best protection and longest life.  One thing to point out on NOAT, EC-1 is for CAT engines that wants to use our coolan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7309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4314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92D38-6465-E845-978B-B0F7DF1B54D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176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he Insite subscription expires you revert to basic and is a “read only”. You will get expiration notifications 30 days prior </a:t>
            </a:r>
          </a:p>
          <a:p>
            <a:r>
              <a:rPr lang="en-US" dirty="0"/>
              <a:t>In “read only” it will allow you to connect and make work orders/image but will not allow any changes, fault code clearing</a:t>
            </a:r>
          </a:p>
          <a:p>
            <a:endParaRPr lang="en-US" dirty="0"/>
          </a:p>
          <a:p>
            <a:r>
              <a:rPr lang="en-US" dirty="0"/>
              <a:t>With Insite Pro you will be able to update calibration revisions but not be allowed to a change base calibrations to a different calibration unless directed by a repair event (TSB, ECM rom booted etc.. ) This does require a fleet count at an extra charge</a:t>
            </a:r>
          </a:p>
          <a:p>
            <a:r>
              <a:rPr lang="en-US" dirty="0"/>
              <a:t>You will not be allowed to change a base horsepower or torque – Changing HP &amp; Torque can only be done when approved by a certified Cummins dealer or distributor </a:t>
            </a:r>
          </a:p>
          <a:p>
            <a:endParaRPr lang="en-US" dirty="0"/>
          </a:p>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D6179-7C92-4F73-8BB8-12FDFF794E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22943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00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92D38-6465-E845-978B-B0F7DF1B54D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52277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92D38-6465-E845-978B-B0F7DF1B54D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80149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a:t>Include </a:t>
            </a:r>
            <a:r>
              <a:rPr lang="pt-BR" err="1"/>
              <a:t>rv</a:t>
            </a:r>
            <a:r>
              <a:rPr lang="pt-BR"/>
              <a:t> </a:t>
            </a:r>
            <a:r>
              <a:rPr lang="pt-BR" err="1"/>
              <a:t>and</a:t>
            </a:r>
            <a:r>
              <a:rPr lang="pt-BR"/>
              <a:t> </a:t>
            </a:r>
            <a:r>
              <a:rPr lang="pt-BR" err="1"/>
              <a:t>fire</a:t>
            </a:r>
            <a:r>
              <a:rPr lang="pt-BR"/>
              <a:t> </a:t>
            </a:r>
            <a:r>
              <a:rPr lang="pt-BR" err="1"/>
              <a:t>truck</a:t>
            </a:r>
            <a:r>
              <a:rPr lang="pt-BR"/>
              <a:t> as </a:t>
            </a:r>
            <a:r>
              <a:rPr lang="pt-BR" err="1"/>
              <a:t>application</a:t>
            </a:r>
            <a:endParaRPr lang="pt-BR"/>
          </a:p>
          <a:p>
            <a:r>
              <a:rPr lang="pt-BR" err="1"/>
              <a:t>Create</a:t>
            </a:r>
            <a:r>
              <a:rPr lang="pt-BR"/>
              <a:t> </a:t>
            </a:r>
            <a:r>
              <a:rPr lang="pt-BR" err="1"/>
              <a:t>differetiated</a:t>
            </a:r>
            <a:r>
              <a:rPr lang="pt-BR"/>
              <a:t> </a:t>
            </a:r>
            <a:r>
              <a:rPr lang="pt-BR" err="1"/>
              <a:t>fourth</a:t>
            </a:r>
            <a:r>
              <a:rPr lang="pt-BR"/>
              <a:t> </a:t>
            </a:r>
            <a:r>
              <a:rPr lang="pt-BR" err="1"/>
              <a:t>bullet</a:t>
            </a:r>
            <a:r>
              <a:rPr lang="pt-BR"/>
              <a:t> point, </a:t>
            </a:r>
            <a:r>
              <a:rPr lang="pt-BR" err="1"/>
              <a:t>specific</a:t>
            </a:r>
            <a:r>
              <a:rPr lang="pt-BR"/>
              <a:t> </a:t>
            </a:r>
            <a:r>
              <a:rPr lang="pt-BR" err="1"/>
              <a:t>to</a:t>
            </a:r>
            <a:r>
              <a:rPr lang="pt-BR"/>
              <a:t> </a:t>
            </a:r>
            <a:r>
              <a:rPr lang="pt-BR" err="1"/>
              <a:t>fire</a:t>
            </a:r>
            <a:r>
              <a:rPr lang="pt-BR"/>
              <a:t>, </a:t>
            </a:r>
            <a:r>
              <a:rPr lang="pt-BR" err="1"/>
              <a:t>focusing</a:t>
            </a:r>
            <a:r>
              <a:rPr lang="pt-BR"/>
              <a:t> </a:t>
            </a:r>
            <a:r>
              <a:rPr lang="pt-BR" err="1"/>
              <a:t>on</a:t>
            </a:r>
            <a:r>
              <a:rPr lang="pt-BR"/>
              <a:t> PTO</a:t>
            </a:r>
          </a:p>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92D38-6465-E845-978B-B0F7DF1B54D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72221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a:t>Tested throughout</a:t>
            </a:r>
            <a:r>
              <a:rPr lang="en-US" baseline="0"/>
              <a:t> US&amp; Canada we’re focusing on getting all of the environments:</a:t>
            </a:r>
          </a:p>
          <a:p>
            <a:pPr marL="171450" indent="-171450">
              <a:buFont typeface="Arial" panose="020B0604020202020204" pitchFamily="34" charset="0"/>
              <a:buChar char="•"/>
            </a:pPr>
            <a:r>
              <a:rPr lang="en-US" baseline="0"/>
              <a:t>A variety of applications in the humid deep south</a:t>
            </a:r>
          </a:p>
          <a:p>
            <a:pPr marL="171450" indent="-171450">
              <a:buFont typeface="Arial" panose="020B0604020202020204" pitchFamily="34" charset="0"/>
              <a:buChar char="•"/>
            </a:pPr>
            <a:r>
              <a:rPr lang="en-US" baseline="0"/>
              <a:t>Dump trucks in dry, dusty Southwest</a:t>
            </a:r>
          </a:p>
          <a:p>
            <a:pPr marL="171450" indent="-171450">
              <a:buFont typeface="Arial" panose="020B0604020202020204" pitchFamily="34" charset="0"/>
              <a:buChar char="•"/>
            </a:pPr>
            <a:r>
              <a:rPr lang="en-US" baseline="0"/>
              <a:t>Canadian heavy hauler</a:t>
            </a:r>
          </a:p>
          <a:p>
            <a:pPr marL="171450" indent="-171450">
              <a:buFont typeface="Arial" panose="020B0604020202020204" pitchFamily="34" charset="0"/>
              <a:buChar char="•"/>
            </a:pPr>
            <a:r>
              <a:rPr lang="en-US" baseline="0"/>
              <a:t>Bulk hauler running up the Rockies</a:t>
            </a:r>
          </a:p>
          <a:p>
            <a:pPr marL="171450" indent="-171450">
              <a:buFont typeface="Arial" panose="020B0604020202020204" pitchFamily="34" charset="0"/>
              <a:buChar char="•"/>
            </a:pPr>
            <a:r>
              <a:rPr lang="en-US" baseline="0"/>
              <a:t>Snow plow near the great lakes</a:t>
            </a:r>
          </a:p>
          <a:p>
            <a:pPr marL="171450" indent="-171450">
              <a:buFont typeface="Arial" panose="020B0604020202020204" pitchFamily="34" charset="0"/>
              <a:buChar char="•"/>
            </a:pPr>
            <a:r>
              <a:rPr lang="en-US" baseline="0"/>
              <a:t>Alaskan residential refuse with a lot of stop &amp; go</a:t>
            </a:r>
          </a:p>
          <a:p>
            <a:pPr marL="0" indent="0">
              <a:buFont typeface="Arial" panose="020B0604020202020204" pitchFamily="34" charset="0"/>
              <a:buNone/>
            </a:pPr>
            <a:endParaRPr lang="en-US" baseline="0"/>
          </a:p>
          <a:p>
            <a:pPr marL="0" indent="0">
              <a:buFont typeface="Arial" panose="020B0604020202020204" pitchFamily="34" charset="0"/>
              <a:buNone/>
            </a:pPr>
            <a:r>
              <a:rPr lang="en-US" baseline="0"/>
              <a:t>So we’re not only testing diversity of application, but also extremes in environment and temperatures.</a:t>
            </a:r>
            <a:endParaRPr lang="en-US"/>
          </a:p>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92D38-6465-E845-978B-B0F7DF1B54D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4469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34B9C9-6D87-4811-A7AF-B9EF8E37FA06}" type="slidenum">
              <a:rPr lang="en-US" smtClean="0"/>
              <a:t>26</a:t>
            </a:fld>
            <a:endParaRPr lang="en-US"/>
          </a:p>
        </p:txBody>
      </p:sp>
    </p:spTree>
    <p:extLst>
      <p:ext uri="{BB962C8B-B14F-4D97-AF65-F5344CB8AC3E}">
        <p14:creationId xmlns:p14="http://schemas.microsoft.com/office/powerpoint/2010/main" val="3435232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34B9C9-6D87-4811-A7AF-B9EF8E37FA06}" type="slidenum">
              <a:rPr lang="en-US" smtClean="0"/>
              <a:t>27</a:t>
            </a:fld>
            <a:endParaRPr lang="en-US"/>
          </a:p>
        </p:txBody>
      </p:sp>
    </p:spTree>
    <p:extLst>
      <p:ext uri="{BB962C8B-B14F-4D97-AF65-F5344CB8AC3E}">
        <p14:creationId xmlns:p14="http://schemas.microsoft.com/office/powerpoint/2010/main" val="2616115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mmins bases it’s oil drain specifications on duty cycle and rate of oil degradation.    As fuel consumption rate increases, the rate of oil degradation increases.</a:t>
            </a:r>
          </a:p>
        </p:txBody>
      </p:sp>
      <p:sp>
        <p:nvSpPr>
          <p:cNvPr id="4" name="Slide Number Placeholder 3"/>
          <p:cNvSpPr>
            <a:spLocks noGrp="1"/>
          </p:cNvSpPr>
          <p:nvPr>
            <p:ph type="sldNum" sz="quarter" idx="5"/>
          </p:nvPr>
        </p:nvSpPr>
        <p:spPr/>
        <p:txBody>
          <a:bodyPr/>
          <a:lstStyle/>
          <a:p>
            <a:fld id="{1334B9C9-6D87-4811-A7AF-B9EF8E37FA06}" type="slidenum">
              <a:rPr lang="en-US" smtClean="0"/>
              <a:t>28</a:t>
            </a:fld>
            <a:endParaRPr lang="en-US"/>
          </a:p>
        </p:txBody>
      </p:sp>
    </p:spTree>
    <p:extLst>
      <p:ext uri="{BB962C8B-B14F-4D97-AF65-F5344CB8AC3E}">
        <p14:creationId xmlns:p14="http://schemas.microsoft.com/office/powerpoint/2010/main" val="3959330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3.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4.emf"/></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3.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3.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image" Target="../media/image14.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image" Target="../media/image13.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19.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hyperlink" Target="https://cummins365.sharepoint.com/sites/C94/Wiki/2018%20PowerPoint%20Templates.aspx" TargetMode="External"/><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27.pn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slide" Target="../slides/slide3.xml"/><Relationship Id="rId1" Type="http://schemas.openxmlformats.org/officeDocument/2006/relationships/slideMaster" Target="../slideMasters/slideMaster10.xml"/><Relationship Id="rId6" Type="http://schemas.openxmlformats.org/officeDocument/2006/relationships/image" Target="../media/image31.svg"/><Relationship Id="rId11" Type="http://schemas.openxmlformats.org/officeDocument/2006/relationships/slide" Target="../slides/slide5.xml"/><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7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7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sv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6.pn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8.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sv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6.pn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9.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77.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sv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6.pn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40.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78.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6.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42.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41.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 Id="rId14" Type="http://schemas.openxmlformats.org/officeDocument/2006/relationships/image" Target="../media/image37.svg"/></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6.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44.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43.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 Id="rId14" Type="http://schemas.openxmlformats.org/officeDocument/2006/relationships/image" Target="../media/image37.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6.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44.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43.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 Id="rId14" Type="http://schemas.openxmlformats.org/officeDocument/2006/relationships/image" Target="../media/image37.svg"/></Relationships>
</file>

<file path=ppt/slideLayouts/_rels/slideLayout281.xml.rels><?xml version="1.0" encoding="UTF-8" standalone="yes"?>
<Relationships xmlns="http://schemas.openxmlformats.org/package/2006/relationships"><Relationship Id="rId8" Type="http://schemas.openxmlformats.org/officeDocument/2006/relationships/slide" Target="../slides/slide5.xml"/><Relationship Id="rId3" Type="http://schemas.openxmlformats.org/officeDocument/2006/relationships/image" Target="../media/image31.svg"/><Relationship Id="rId7" Type="http://schemas.openxmlformats.org/officeDocument/2006/relationships/image" Target="../media/image35.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34.png"/><Relationship Id="rId5" Type="http://schemas.openxmlformats.org/officeDocument/2006/relationships/image" Target="../media/image33.svg"/><Relationship Id="rId10" Type="http://schemas.openxmlformats.org/officeDocument/2006/relationships/image" Target="../media/image29.svg"/><Relationship Id="rId4" Type="http://schemas.openxmlformats.org/officeDocument/2006/relationships/image" Target="../media/image32.png"/><Relationship Id="rId9" Type="http://schemas.openxmlformats.org/officeDocument/2006/relationships/image" Target="../media/image28.png"/></Relationships>
</file>

<file path=ppt/slideLayouts/_rels/slideLayout28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8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84.xml.rels><?xml version="1.0" encoding="UTF-8" standalone="yes"?>
<Relationships xmlns="http://schemas.openxmlformats.org/package/2006/relationships"><Relationship Id="rId8" Type="http://schemas.openxmlformats.org/officeDocument/2006/relationships/slide" Target="../slides/slide5.xml"/><Relationship Id="rId3" Type="http://schemas.openxmlformats.org/officeDocument/2006/relationships/image" Target="../media/image31.svg"/><Relationship Id="rId7" Type="http://schemas.openxmlformats.org/officeDocument/2006/relationships/image" Target="../media/image35.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34.png"/><Relationship Id="rId5" Type="http://schemas.openxmlformats.org/officeDocument/2006/relationships/image" Target="../media/image33.svg"/><Relationship Id="rId10" Type="http://schemas.openxmlformats.org/officeDocument/2006/relationships/image" Target="../media/image37.svg"/><Relationship Id="rId4" Type="http://schemas.openxmlformats.org/officeDocument/2006/relationships/image" Target="../media/image32.png"/><Relationship Id="rId9" Type="http://schemas.openxmlformats.org/officeDocument/2006/relationships/image" Target="../media/image36.png"/></Relationships>
</file>

<file path=ppt/slideLayouts/_rels/slideLayout28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8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5.jpe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9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6.png"/><Relationship Id="rId5" Type="http://schemas.openxmlformats.org/officeDocument/2006/relationships/image" Target="../media/image33.svg"/><Relationship Id="rId10" Type="http://schemas.openxmlformats.org/officeDocument/2006/relationships/slide" Target="../slides/slide5.xml"/><Relationship Id="rId4" Type="http://schemas.openxmlformats.org/officeDocument/2006/relationships/image" Target="../media/image32.png"/><Relationship Id="rId9" Type="http://schemas.openxmlformats.org/officeDocument/2006/relationships/image" Target="../media/image35.svg"/></Relationships>
</file>

<file path=ppt/slideLayouts/_rels/slideLayout29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slide" Target="../slides/slide5.xml"/><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5.svg"/><Relationship Id="rId5" Type="http://schemas.openxmlformats.org/officeDocument/2006/relationships/image" Target="../media/image33.svg"/><Relationship Id="rId10" Type="http://schemas.openxmlformats.org/officeDocument/2006/relationships/image" Target="../media/image34.png"/><Relationship Id="rId4" Type="http://schemas.openxmlformats.org/officeDocument/2006/relationships/image" Target="../media/image32.png"/><Relationship Id="rId9" Type="http://schemas.openxmlformats.org/officeDocument/2006/relationships/image" Target="../media/image37.svg"/></Relationships>
</file>

<file path=ppt/slideLayouts/_rels/slideLayout29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slide" Target="../slides/slide5.xml"/><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5.svg"/><Relationship Id="rId5" Type="http://schemas.openxmlformats.org/officeDocument/2006/relationships/image" Target="../media/image33.svg"/><Relationship Id="rId10" Type="http://schemas.openxmlformats.org/officeDocument/2006/relationships/image" Target="../media/image34.png"/><Relationship Id="rId4" Type="http://schemas.openxmlformats.org/officeDocument/2006/relationships/image" Target="../media/image32.png"/><Relationship Id="rId9" Type="http://schemas.openxmlformats.org/officeDocument/2006/relationships/image" Target="../media/image37.svg"/></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svg"/><Relationship Id="rId7" Type="http://schemas.openxmlformats.org/officeDocument/2006/relationships/image" Target="../media/image29.svg"/><Relationship Id="rId12" Type="http://schemas.openxmlformats.org/officeDocument/2006/relationships/slide" Target="../slides/slide5.xml"/><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28.png"/><Relationship Id="rId11" Type="http://schemas.openxmlformats.org/officeDocument/2006/relationships/image" Target="../media/image35.svg"/><Relationship Id="rId5" Type="http://schemas.openxmlformats.org/officeDocument/2006/relationships/image" Target="../media/image33.svg"/><Relationship Id="rId10" Type="http://schemas.openxmlformats.org/officeDocument/2006/relationships/image" Target="../media/image34.png"/><Relationship Id="rId4" Type="http://schemas.openxmlformats.org/officeDocument/2006/relationships/image" Target="../media/image32.png"/><Relationship Id="rId9" Type="http://schemas.openxmlformats.org/officeDocument/2006/relationships/image" Target="../media/image37.sv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 Target="../slides/slide5.xml"/><Relationship Id="rId1" Type="http://schemas.openxmlformats.org/officeDocument/2006/relationships/slideMaster" Target="../slideMasters/slideMaster10.xml"/><Relationship Id="rId4" Type="http://schemas.openxmlformats.org/officeDocument/2006/relationships/image" Target="../media/image35.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A160438-11CA-412F-9DBC-18EF595B8454}"/>
              </a:ext>
            </a:extLst>
          </p:cNvPr>
          <p:cNvGraphicFramePr>
            <a:graphicFrameLocks noChangeAspect="1"/>
          </p:cNvGraphicFramePr>
          <p:nvPr userDrawn="1">
            <p:custDataLst>
              <p:tags r:id="rId1"/>
            </p:custDataLst>
            <p:extLst>
              <p:ext uri="{D42A27DB-BD31-4B8C-83A1-F6EECF244321}">
                <p14:modId xmlns:p14="http://schemas.microsoft.com/office/powerpoint/2010/main" val="969178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3A160438-11CA-412F-9DBC-18EF595B84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9F6515-AEEF-400B-A290-3E4849EA11A3}"/>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lnSpc>
                <a:spcPct val="100000"/>
              </a:lnSpc>
              <a:defRPr/>
            </a:lvl1pPr>
          </a:lstStyle>
          <a:p>
            <a:r>
              <a:rPr lang="en-US"/>
              <a:t>Click to edit Master title style</a:t>
            </a:r>
          </a:p>
        </p:txBody>
      </p:sp>
    </p:spTree>
    <p:extLst>
      <p:ext uri="{BB962C8B-B14F-4D97-AF65-F5344CB8AC3E}">
        <p14:creationId xmlns:p14="http://schemas.microsoft.com/office/powerpoint/2010/main" val="15304000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1" y="365125"/>
            <a:ext cx="10888135"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6"/>
            <a:ext cx="5282671" cy="4425951"/>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6"/>
          <p:cNvSpPr>
            <a:spLocks noGrp="1"/>
          </p:cNvSpPr>
          <p:nvPr>
            <p:ph sz="quarter" idx="12"/>
          </p:nvPr>
        </p:nvSpPr>
        <p:spPr>
          <a:xfrm>
            <a:off x="609601" y="1901826"/>
            <a:ext cx="5282671" cy="4425951"/>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8703227"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4407582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Nine image grid">
    <p:spTree>
      <p:nvGrpSpPr>
        <p:cNvPr id="1" name=""/>
        <p:cNvGrpSpPr/>
        <p:nvPr/>
      </p:nvGrpSpPr>
      <p:grpSpPr>
        <a:xfrm>
          <a:off x="0" y="0"/>
          <a:ext cx="0" cy="0"/>
          <a:chOff x="0" y="0"/>
          <a:chExt cx="0" cy="0"/>
        </a:xfrm>
      </p:grpSpPr>
      <p:sp>
        <p:nvSpPr>
          <p:cNvPr id="34" name="Picture Placeholder 17"/>
          <p:cNvSpPr>
            <a:spLocks noGrp="1"/>
          </p:cNvSpPr>
          <p:nvPr>
            <p:ph type="pic" sz="quarter" idx="18"/>
          </p:nvPr>
        </p:nvSpPr>
        <p:spPr>
          <a:xfrm>
            <a:off x="1189687" y="1112989"/>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5" name="Picture Placeholder 17"/>
          <p:cNvSpPr>
            <a:spLocks noGrp="1"/>
          </p:cNvSpPr>
          <p:nvPr>
            <p:ph type="pic" sz="quarter" idx="19"/>
          </p:nvPr>
        </p:nvSpPr>
        <p:spPr>
          <a:xfrm>
            <a:off x="2895187" y="1112989"/>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6" name="Picture Placeholder 17"/>
          <p:cNvSpPr>
            <a:spLocks noGrp="1"/>
          </p:cNvSpPr>
          <p:nvPr>
            <p:ph type="pic" sz="quarter" idx="20"/>
          </p:nvPr>
        </p:nvSpPr>
        <p:spPr>
          <a:xfrm>
            <a:off x="4600687" y="1113555"/>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7" name="Picture Placeholder 17"/>
          <p:cNvSpPr>
            <a:spLocks noGrp="1"/>
          </p:cNvSpPr>
          <p:nvPr>
            <p:ph type="pic" sz="quarter" idx="21"/>
          </p:nvPr>
        </p:nvSpPr>
        <p:spPr>
          <a:xfrm>
            <a:off x="1189687" y="2799822"/>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8" name="Picture Placeholder 17"/>
          <p:cNvSpPr>
            <a:spLocks noGrp="1"/>
          </p:cNvSpPr>
          <p:nvPr>
            <p:ph type="pic" sz="quarter" idx="22"/>
          </p:nvPr>
        </p:nvSpPr>
        <p:spPr>
          <a:xfrm>
            <a:off x="2895187" y="2799822"/>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9" name="Picture Placeholder 17"/>
          <p:cNvSpPr>
            <a:spLocks noGrp="1"/>
          </p:cNvSpPr>
          <p:nvPr>
            <p:ph type="pic" sz="quarter" idx="23"/>
          </p:nvPr>
        </p:nvSpPr>
        <p:spPr>
          <a:xfrm>
            <a:off x="4600687" y="2800390"/>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40" name="Picture Placeholder 17"/>
          <p:cNvSpPr>
            <a:spLocks noGrp="1"/>
          </p:cNvSpPr>
          <p:nvPr>
            <p:ph type="pic" sz="quarter" idx="24"/>
          </p:nvPr>
        </p:nvSpPr>
        <p:spPr>
          <a:xfrm>
            <a:off x="1189687" y="4508630"/>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41" name="Picture Placeholder 17"/>
          <p:cNvSpPr>
            <a:spLocks noGrp="1"/>
          </p:cNvSpPr>
          <p:nvPr>
            <p:ph type="pic" sz="quarter" idx="25"/>
          </p:nvPr>
        </p:nvSpPr>
        <p:spPr>
          <a:xfrm>
            <a:off x="2895187" y="4508630"/>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42" name="Picture Placeholder 17"/>
          <p:cNvSpPr>
            <a:spLocks noGrp="1"/>
          </p:cNvSpPr>
          <p:nvPr>
            <p:ph type="pic" sz="quarter" idx="26"/>
          </p:nvPr>
        </p:nvSpPr>
        <p:spPr>
          <a:xfrm>
            <a:off x="4600687" y="4509197"/>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Tree>
    <p:extLst>
      <p:ext uri="{BB962C8B-B14F-4D97-AF65-F5344CB8AC3E}">
        <p14:creationId xmlns:p14="http://schemas.microsoft.com/office/powerpoint/2010/main" val="4334711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en images, four for text">
    <p:spTree>
      <p:nvGrpSpPr>
        <p:cNvPr id="1" name=""/>
        <p:cNvGrpSpPr/>
        <p:nvPr/>
      </p:nvGrpSpPr>
      <p:grpSpPr>
        <a:xfrm>
          <a:off x="0" y="0"/>
          <a:ext cx="0" cy="0"/>
          <a:chOff x="0" y="0"/>
          <a:chExt cx="0" cy="0"/>
        </a:xfrm>
      </p:grpSpPr>
      <p:sp>
        <p:nvSpPr>
          <p:cNvPr id="46" name="Picture Placeholder 13"/>
          <p:cNvSpPr>
            <a:spLocks noGrp="1"/>
          </p:cNvSpPr>
          <p:nvPr>
            <p:ph type="pic" sz="quarter" idx="13"/>
          </p:nvPr>
        </p:nvSpPr>
        <p:spPr>
          <a:xfrm>
            <a:off x="0" y="338340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47" name="Picture Placeholder 13"/>
          <p:cNvSpPr>
            <a:spLocks noGrp="1"/>
          </p:cNvSpPr>
          <p:nvPr>
            <p:ph type="pic" sz="quarter" idx="14"/>
          </p:nvPr>
        </p:nvSpPr>
        <p:spPr>
          <a:xfrm>
            <a:off x="1741409" y="338340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49" name="Picture Placeholder 13"/>
          <p:cNvSpPr>
            <a:spLocks noGrp="1"/>
          </p:cNvSpPr>
          <p:nvPr>
            <p:ph type="pic" sz="quarter" idx="16"/>
          </p:nvPr>
        </p:nvSpPr>
        <p:spPr>
          <a:xfrm>
            <a:off x="5232031" y="338340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0" name="Picture Placeholder 13"/>
          <p:cNvSpPr>
            <a:spLocks noGrp="1"/>
          </p:cNvSpPr>
          <p:nvPr>
            <p:ph type="pic" sz="quarter" idx="17"/>
          </p:nvPr>
        </p:nvSpPr>
        <p:spPr>
          <a:xfrm>
            <a:off x="6980972" y="338340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1" name="Picture Placeholder 13"/>
          <p:cNvSpPr>
            <a:spLocks noGrp="1"/>
          </p:cNvSpPr>
          <p:nvPr>
            <p:ph type="pic" sz="quarter" idx="18"/>
          </p:nvPr>
        </p:nvSpPr>
        <p:spPr>
          <a:xfrm>
            <a:off x="8743295" y="338340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3" name="Picture Placeholder 13"/>
          <p:cNvSpPr>
            <a:spLocks noGrp="1"/>
          </p:cNvSpPr>
          <p:nvPr>
            <p:ph type="pic" sz="quarter" idx="20"/>
          </p:nvPr>
        </p:nvSpPr>
        <p:spPr>
          <a:xfrm>
            <a:off x="0"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5" name="Picture Placeholder 13"/>
          <p:cNvSpPr>
            <a:spLocks noGrp="1"/>
          </p:cNvSpPr>
          <p:nvPr>
            <p:ph type="pic" sz="quarter" idx="22"/>
          </p:nvPr>
        </p:nvSpPr>
        <p:spPr>
          <a:xfrm>
            <a:off x="3490621"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6" name="Picture Placeholder 13"/>
          <p:cNvSpPr>
            <a:spLocks noGrp="1"/>
          </p:cNvSpPr>
          <p:nvPr>
            <p:ph type="pic" sz="quarter" idx="23"/>
          </p:nvPr>
        </p:nvSpPr>
        <p:spPr>
          <a:xfrm>
            <a:off x="5232031"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8" name="Picture Placeholder 13"/>
          <p:cNvSpPr>
            <a:spLocks noGrp="1"/>
          </p:cNvSpPr>
          <p:nvPr>
            <p:ph type="pic" sz="quarter" idx="25"/>
          </p:nvPr>
        </p:nvSpPr>
        <p:spPr>
          <a:xfrm>
            <a:off x="8743295"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9" name="Picture Placeholder 13"/>
          <p:cNvSpPr>
            <a:spLocks noGrp="1"/>
          </p:cNvSpPr>
          <p:nvPr>
            <p:ph type="pic" sz="quarter" idx="26"/>
          </p:nvPr>
        </p:nvSpPr>
        <p:spPr>
          <a:xfrm>
            <a:off x="10484703"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25" name="Rectangle 5"/>
          <p:cNvSpPr/>
          <p:nvPr userDrawn="1"/>
        </p:nvSpPr>
        <p:spPr>
          <a:xfrm rot="10800000">
            <a:off x="10150548" y="6471458"/>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26" name="Slide Number Placeholder 4"/>
          <p:cNvSpPr txBox="1">
            <a:spLocks/>
          </p:cNvSpPr>
          <p:nvPr userDrawn="1"/>
        </p:nvSpPr>
        <p:spPr>
          <a:xfrm>
            <a:off x="11574065" y="6494607"/>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27" name="Picture 26"/>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1561"/>
            <a:ext cx="765552" cy="206703"/>
          </a:xfrm>
          <a:prstGeom prst="rect">
            <a:avLst/>
          </a:prstGeom>
        </p:spPr>
      </p:pic>
      <p:cxnSp>
        <p:nvCxnSpPr>
          <p:cNvPr id="28" name="Straight Connector 27"/>
          <p:cNvCxnSpPr/>
          <p:nvPr userDrawn="1"/>
        </p:nvCxnSpPr>
        <p:spPr>
          <a:xfrm>
            <a:off x="11518607" y="6587054"/>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0638144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Phone mockup">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3912391" y="3682997"/>
            <a:ext cx="4253068" cy="3175003"/>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8297380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Multiple phone screenshots">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5109358" y="2168488"/>
            <a:ext cx="1931921" cy="3486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9" name="Picture Placeholder 8"/>
          <p:cNvSpPr>
            <a:spLocks noGrp="1"/>
          </p:cNvSpPr>
          <p:nvPr>
            <p:ph type="pic" sz="quarter" idx="13"/>
          </p:nvPr>
        </p:nvSpPr>
        <p:spPr>
          <a:xfrm>
            <a:off x="7570268" y="2168488"/>
            <a:ext cx="1959939" cy="3486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Picture Placeholder 8"/>
          <p:cNvSpPr>
            <a:spLocks noGrp="1"/>
          </p:cNvSpPr>
          <p:nvPr>
            <p:ph type="pic" sz="quarter" idx="14"/>
          </p:nvPr>
        </p:nvSpPr>
        <p:spPr>
          <a:xfrm>
            <a:off x="2657940" y="2168488"/>
            <a:ext cx="1959939" cy="3486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5"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lvl1pPr algn="l">
              <a:defRPr/>
            </a:lvl1pPr>
          </a:lstStyle>
          <a:p>
            <a:r>
              <a:rPr lang="en-US"/>
              <a:t>Click to edit Master title style</a:t>
            </a:r>
          </a:p>
        </p:txBody>
      </p:sp>
    </p:spTree>
    <p:extLst>
      <p:ext uri="{BB962C8B-B14F-4D97-AF65-F5344CB8AC3E}">
        <p14:creationId xmlns:p14="http://schemas.microsoft.com/office/powerpoint/2010/main" val="20821951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ablet mockup, right side">
    <p:spTree>
      <p:nvGrpSpPr>
        <p:cNvPr id="1" name=""/>
        <p:cNvGrpSpPr/>
        <p:nvPr/>
      </p:nvGrpSpPr>
      <p:grpSpPr>
        <a:xfrm>
          <a:off x="0" y="0"/>
          <a:ext cx="0" cy="0"/>
          <a:chOff x="0" y="0"/>
          <a:chExt cx="0" cy="0"/>
        </a:xfrm>
      </p:grpSpPr>
      <p:sp>
        <p:nvSpPr>
          <p:cNvPr id="4" name="Picture Placeholder 8"/>
          <p:cNvSpPr>
            <a:spLocks noGrp="1"/>
          </p:cNvSpPr>
          <p:nvPr>
            <p:ph type="pic" sz="quarter" idx="14"/>
          </p:nvPr>
        </p:nvSpPr>
        <p:spPr>
          <a:xfrm>
            <a:off x="7040900" y="1014457"/>
            <a:ext cx="3567089" cy="4768596"/>
          </a:xfrm>
          <a:prstGeom prst="rect">
            <a:avLst/>
          </a:prstGeom>
          <a:solidFill>
            <a:schemeClr val="bg1">
              <a:lumMod val="95000"/>
            </a:schemeClr>
          </a:solidFill>
        </p:spPr>
        <p:txBody>
          <a:bodyPr>
            <a:normAutofit/>
          </a:bodyPr>
          <a:lstStyle>
            <a:lvl1pPr marL="0" indent="0">
              <a:buNone/>
              <a:defRPr sz="1400"/>
            </a:lvl1pPr>
          </a:lstStyle>
          <a:p>
            <a:r>
              <a:rPr lang="en-US"/>
              <a:t>Click icon to add picture</a:t>
            </a:r>
          </a:p>
        </p:txBody>
      </p:sp>
    </p:spTree>
    <p:extLst>
      <p:ext uri="{BB962C8B-B14F-4D97-AF65-F5344CB8AC3E}">
        <p14:creationId xmlns:p14="http://schemas.microsoft.com/office/powerpoint/2010/main" val="93373614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ablet mockup, left sid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1224633" y="1014457"/>
            <a:ext cx="3567089" cy="4768596"/>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287334949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Laptop mockup, at lef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944457" y="2825401"/>
            <a:ext cx="4655763" cy="2878137"/>
          </a:xfrm>
          <a:prstGeom prst="rect">
            <a:avLst/>
          </a:prstGeom>
          <a:solidFill>
            <a:schemeClr val="bg1">
              <a:lumMod val="95000"/>
            </a:schemeClr>
          </a:solidFill>
        </p:spPr>
        <p:txBody>
          <a:bodyPr>
            <a:normAutofit/>
          </a:bodyPr>
          <a:lstStyle>
            <a:lvl1pPr>
              <a:defRPr sz="1000"/>
            </a:lvl1pPr>
          </a:lstStyle>
          <a:p>
            <a:r>
              <a:rPr lang="en-US"/>
              <a:t>Click icon to add picture</a:t>
            </a:r>
          </a:p>
        </p:txBody>
      </p:sp>
      <p:sp>
        <p:nvSpPr>
          <p:cNvPr id="3"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5756711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Angled image, right">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5635724" y="0"/>
            <a:ext cx="4732259" cy="6858000"/>
          </a:xfrm>
          <a:prstGeom prst="parallelogram">
            <a:avLst>
              <a:gd name="adj" fmla="val 54870"/>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14802868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Angled image, left">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462331" y="0"/>
            <a:ext cx="4732259" cy="6858000"/>
          </a:xfrm>
          <a:prstGeom prst="parallelogram">
            <a:avLst>
              <a:gd name="adj" fmla="val 54870"/>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99156824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Four images, full screen">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3" name="Picture Placeholder 2"/>
          <p:cNvSpPr>
            <a:spLocks noGrp="1"/>
          </p:cNvSpPr>
          <p:nvPr>
            <p:ph type="pic" sz="quarter" idx="28"/>
          </p:nvPr>
        </p:nvSpPr>
        <p:spPr>
          <a:xfrm>
            <a:off x="6096000" y="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4" name="Picture Placeholder 2"/>
          <p:cNvSpPr>
            <a:spLocks noGrp="1"/>
          </p:cNvSpPr>
          <p:nvPr>
            <p:ph type="pic" sz="quarter" idx="29"/>
          </p:nvPr>
        </p:nvSpPr>
        <p:spPr>
          <a:xfrm>
            <a:off x="0" y="342900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4"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5"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7" name="Straight Connector 16"/>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1391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ull screen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r>
              <a:rPr lang="en-US" dirty="0"/>
              <a:t>Click icon to add picture</a:t>
            </a:r>
          </a:p>
        </p:txBody>
      </p:sp>
      <p:sp>
        <p:nvSpPr>
          <p:cNvPr id="12"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9"/>
            <a:endParaRPr lang="en-US" sz="2400" dirty="0">
              <a:solidFill>
                <a:srgbClr val="FFFFFF"/>
              </a:solidFill>
            </a:endParaRPr>
          </a:p>
        </p:txBody>
      </p:sp>
      <p:sp>
        <p:nvSpPr>
          <p:cNvPr id="13"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dirty="0">
              <a:solidFill>
                <a:srgbClr val="FFFFFF"/>
              </a:solidFill>
            </a:endParaRPr>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50000"/>
          <a:stretch/>
        </p:blipFill>
        <p:spPr>
          <a:xfrm>
            <a:off x="10565109" y="6622967"/>
            <a:ext cx="765552" cy="206703"/>
          </a:xfrm>
          <a:prstGeom prst="rect">
            <a:avLst/>
          </a:prstGeom>
        </p:spPr>
      </p:pic>
      <p:cxnSp>
        <p:nvCxnSpPr>
          <p:cNvPr id="15" name="Straight Connector 14"/>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703227"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4177702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Map / Infographic">
    <p:spTree>
      <p:nvGrpSpPr>
        <p:cNvPr id="1" name=""/>
        <p:cNvGrpSpPr/>
        <p:nvPr/>
      </p:nvGrpSpPr>
      <p:grpSpPr>
        <a:xfrm>
          <a:off x="0" y="0"/>
          <a:ext cx="0" cy="0"/>
          <a:chOff x="0" y="0"/>
          <a:chExt cx="0" cy="0"/>
        </a:xfrm>
      </p:grpSpPr>
      <p:sp>
        <p:nvSpPr>
          <p:cNvPr id="2" name="Title 1"/>
          <p:cNvSpPr>
            <a:spLocks noGrp="1"/>
          </p:cNvSpPr>
          <p:nvPr>
            <p:ph type="title"/>
          </p:nvPr>
        </p:nvSpPr>
        <p:spPr>
          <a:xfrm>
            <a:off x="609600" y="375612"/>
            <a:ext cx="10964464" cy="1325033"/>
          </a:xfrm>
          <a:prstGeom prst="rect">
            <a:avLst/>
          </a:prstGeom>
        </p:spPr>
        <p:txBody>
          <a:bodyPr anchor="t">
            <a:normAutofit/>
          </a:bodyPr>
          <a:lstStyle>
            <a:lvl1pPr>
              <a:lnSpc>
                <a:spcPct val="100000"/>
              </a:lnSpc>
              <a:defRPr sz="4400"/>
            </a:lvl1pPr>
          </a:lstStyle>
          <a:p>
            <a:r>
              <a:rPr lang="en-US"/>
              <a:t>Click to edit Master title style</a:t>
            </a:r>
          </a:p>
        </p:txBody>
      </p:sp>
    </p:spTree>
    <p:extLst>
      <p:ext uri="{BB962C8B-B14F-4D97-AF65-F5344CB8AC3E}">
        <p14:creationId xmlns:p14="http://schemas.microsoft.com/office/powerpoint/2010/main" val="33246777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Four images">
    <p:spTree>
      <p:nvGrpSpPr>
        <p:cNvPr id="1" name=""/>
        <p:cNvGrpSpPr/>
        <p:nvPr/>
      </p:nvGrpSpPr>
      <p:grpSpPr>
        <a:xfrm>
          <a:off x="0" y="0"/>
          <a:ext cx="0" cy="0"/>
          <a:chOff x="0" y="0"/>
          <a:chExt cx="0" cy="0"/>
        </a:xfrm>
      </p:grpSpPr>
      <p:sp>
        <p:nvSpPr>
          <p:cNvPr id="10" name="Picture Placeholder 2"/>
          <p:cNvSpPr>
            <a:spLocks noGrp="1"/>
          </p:cNvSpPr>
          <p:nvPr>
            <p:ph type="pic" sz="quarter" idx="11"/>
          </p:nvPr>
        </p:nvSpPr>
        <p:spPr>
          <a:xfrm>
            <a:off x="722500" y="1691218"/>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15" name="Picture Placeholder 2"/>
          <p:cNvSpPr>
            <a:spLocks noGrp="1"/>
          </p:cNvSpPr>
          <p:nvPr>
            <p:ph type="pic" sz="quarter" idx="12"/>
          </p:nvPr>
        </p:nvSpPr>
        <p:spPr>
          <a:xfrm>
            <a:off x="3604586" y="1691218"/>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16" name="Picture Placeholder 2"/>
          <p:cNvSpPr>
            <a:spLocks noGrp="1"/>
          </p:cNvSpPr>
          <p:nvPr>
            <p:ph type="pic" sz="quarter" idx="13"/>
          </p:nvPr>
        </p:nvSpPr>
        <p:spPr>
          <a:xfrm>
            <a:off x="722500" y="4026379"/>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17" name="Picture Placeholder 2"/>
          <p:cNvSpPr>
            <a:spLocks noGrp="1"/>
          </p:cNvSpPr>
          <p:nvPr>
            <p:ph type="pic" sz="quarter" idx="14"/>
          </p:nvPr>
        </p:nvSpPr>
        <p:spPr>
          <a:xfrm>
            <a:off x="3604586" y="4026378"/>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6"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2018974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wo thirds image right">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3960256" y="0"/>
            <a:ext cx="8231744"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12"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4" name="Straight Connector 13"/>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392111999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1231012" y="377077"/>
            <a:ext cx="9308651" cy="890587"/>
          </a:xfrm>
        </p:spPr>
        <p:txBody>
          <a:bodyPr/>
          <a:lstStyle/>
          <a:p>
            <a:r>
              <a:rPr lang="en-US"/>
              <a:t>Click to edit Master title style</a:t>
            </a:r>
          </a:p>
        </p:txBody>
      </p:sp>
      <p:sp>
        <p:nvSpPr>
          <p:cNvPr id="3" name="Content Placeholder 2"/>
          <p:cNvSpPr>
            <a:spLocks noGrp="1"/>
          </p:cNvSpPr>
          <p:nvPr>
            <p:ph idx="1"/>
          </p:nvPr>
        </p:nvSpPr>
        <p:spPr>
          <a:xfrm>
            <a:off x="1234020" y="1778000"/>
            <a:ext cx="10621097" cy="4455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11290300" y="6375258"/>
            <a:ext cx="742952" cy="357812"/>
          </a:xfrm>
          <a:prstGeom prst="rect">
            <a:avLst/>
          </a:prstGeom>
        </p:spPr>
        <p:txBody>
          <a:bodyPr anchor="b" anchorCtr="0"/>
          <a:lstStyle>
            <a:lvl1pPr algn="r">
              <a:defRPr sz="1600">
                <a:solidFill>
                  <a:schemeClr val="bg1">
                    <a:lumMod val="50000"/>
                  </a:schemeClr>
                </a:solidFill>
              </a:defRPr>
            </a:lvl1pPr>
          </a:lstStyle>
          <a:p>
            <a:fld id="{8A661967-8D01-4D8A-8FD0-86F83ECE6BD1}" type="slidenum">
              <a:rPr lang="en-US" smtClean="0">
                <a:solidFill>
                  <a:srgbClr val="FFFFFF">
                    <a:lumMod val="50000"/>
                  </a:srgbClr>
                </a:solidFill>
              </a:rPr>
              <a:pPr/>
              <a:t>‹#›</a:t>
            </a:fld>
            <a:endParaRPr lang="en-US">
              <a:solidFill>
                <a:srgbClr val="FFFFFF">
                  <a:lumMod val="50000"/>
                </a:srgbClr>
              </a:solidFill>
            </a:endParaRPr>
          </a:p>
        </p:txBody>
      </p:sp>
      <p:sp>
        <p:nvSpPr>
          <p:cNvPr id="7" name="Footer Placeholder 4"/>
          <p:cNvSpPr>
            <a:spLocks noGrp="1"/>
          </p:cNvSpPr>
          <p:nvPr>
            <p:ph type="ftr" sz="quarter" idx="3"/>
          </p:nvPr>
        </p:nvSpPr>
        <p:spPr>
          <a:xfrm>
            <a:off x="1231012" y="6356351"/>
            <a:ext cx="4114800" cy="366183"/>
          </a:xfrm>
          <a:prstGeom prst="rect">
            <a:avLst/>
          </a:prstGeom>
        </p:spPr>
        <p:txBody>
          <a:bodyPr vert="horz" lIns="0" tIns="45720" rIns="91440" bIns="45720" rtlCol="0" anchor="b" anchorCtr="0"/>
          <a:lstStyle>
            <a:lvl1pPr algn="ctr">
              <a:defRPr sz="1333">
                <a:solidFill>
                  <a:schemeClr val="tx1">
                    <a:tint val="75000"/>
                  </a:schemeClr>
                </a:solidFill>
              </a:defRPr>
            </a:lvl1pPr>
          </a:lstStyle>
          <a:p>
            <a:pPr algn="l"/>
            <a:r>
              <a:rPr lang="en-US">
                <a:solidFill>
                  <a:srgbClr val="000000">
                    <a:tint val="75000"/>
                  </a:srgbClr>
                </a:solidFill>
              </a:rPr>
              <a:t>Internal Use Only</a:t>
            </a:r>
          </a:p>
        </p:txBody>
      </p:sp>
    </p:spTree>
    <p:extLst>
      <p:ext uri="{BB962C8B-B14F-4D97-AF65-F5344CB8AC3E}">
        <p14:creationId xmlns:p14="http://schemas.microsoft.com/office/powerpoint/2010/main" val="86374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FE698C13-6966-488A-B3E1-132CDAAB946A}" type="datetimeFigureOut">
              <a:rPr lang="en-US" smtClean="0">
                <a:solidFill>
                  <a:srgbClr val="000000"/>
                </a:solidFill>
              </a:rPr>
              <a:pPr/>
              <a:t>12/10/2025</a:t>
            </a:fld>
            <a:endParaRPr lang="en-US">
              <a:solidFill>
                <a:srgbClr val="000000"/>
              </a:solidFill>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solidFill>
                <a:srgbClr val="000000"/>
              </a:solidFill>
            </a:endParaRP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D9D8701D-8771-450F-B16D-93A1C3AE962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5691736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3" name="Objec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Placeholder 18"/>
          <p:cNvSpPr>
            <a:spLocks noGrp="1"/>
          </p:cNvSpPr>
          <p:nvPr>
            <p:ph type="title"/>
          </p:nvPr>
        </p:nvSpPr>
        <p:spPr>
          <a:xfrm>
            <a:off x="609600" y="366186"/>
            <a:ext cx="10972800" cy="1325033"/>
          </a:xfrm>
          <a:prstGeom prst="rect">
            <a:avLst/>
          </a:prstGeom>
        </p:spPr>
        <p:txBody>
          <a:bodyPr vert="horz" lIns="91440" tIns="45720" rIns="91440" bIns="45720" rtlCol="0" anchor="t">
            <a:normAutofit/>
          </a:bodyPr>
          <a:lstStyle/>
          <a:p>
            <a:r>
              <a:rPr lang="en-US"/>
              <a:t>Click to edit Master title style</a:t>
            </a:r>
          </a:p>
        </p:txBody>
      </p:sp>
      <p:sp>
        <p:nvSpPr>
          <p:cNvPr id="4" name="Text Placeholder 3"/>
          <p:cNvSpPr>
            <a:spLocks noGrp="1"/>
          </p:cNvSpPr>
          <p:nvPr>
            <p:ph type="body" sz="quarter" idx="11"/>
          </p:nvPr>
        </p:nvSpPr>
        <p:spPr>
          <a:xfrm>
            <a:off x="609601" y="1901826"/>
            <a:ext cx="10972801" cy="4425951"/>
          </a:xfrm>
          <a:prstGeom prst="rect">
            <a:avLst/>
          </a:prstGeom>
        </p:spPr>
        <p:txBody>
          <a:bodyPr>
            <a:normAutofit/>
          </a:bodyPr>
          <a:lstStyle>
            <a:lvl1pPr>
              <a:defRPr sz="1800"/>
            </a:lvl1pPr>
            <a:lvl2pPr>
              <a:defRPr sz="1800"/>
            </a:lvl2pPr>
            <a:lvl3pPr>
              <a:defRPr sz="16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00285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7" name="Object 6"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91218"/>
            <a:ext cx="10744200" cy="448574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718737" y="6276976"/>
            <a:ext cx="2190751" cy="476251"/>
          </a:xfrm>
          <a:prstGeom prst="rect">
            <a:avLst/>
          </a:prstGeom>
        </p:spPr>
        <p:txBody>
          <a:bodyPr/>
          <a:lstStyle>
            <a:lvl1pPr>
              <a:defRPr/>
            </a:lvl1pPr>
          </a:lstStyle>
          <a:p>
            <a:pPr algn="r" fontAlgn="base">
              <a:spcBef>
                <a:spcPct val="35000"/>
              </a:spcBef>
              <a:spcAft>
                <a:spcPct val="0"/>
              </a:spcAft>
              <a:buClr>
                <a:srgbClr val="FF140A"/>
              </a:buClr>
              <a:buFont typeface="Wingdings" pitchFamily="-65" charset="2"/>
              <a:buNone/>
            </a:pPr>
            <a:endParaRPr lang="en-US">
              <a:solidFill>
                <a:srgbClr val="000000"/>
              </a:solidFill>
            </a:endParaRPr>
          </a:p>
        </p:txBody>
      </p:sp>
      <p:sp>
        <p:nvSpPr>
          <p:cNvPr id="5" name="Footer Placeholder 4"/>
          <p:cNvSpPr>
            <a:spLocks noGrp="1"/>
          </p:cNvSpPr>
          <p:nvPr>
            <p:ph type="ftr" sz="quarter" idx="11"/>
          </p:nvPr>
        </p:nvSpPr>
        <p:spPr>
          <a:xfrm>
            <a:off x="1231012" y="6356358"/>
            <a:ext cx="4114800" cy="366183"/>
          </a:xfrm>
          <a:prstGeom prst="rect">
            <a:avLst/>
          </a:prstGeom>
        </p:spPr>
        <p:txBody>
          <a:bodyPr/>
          <a:lstStyle>
            <a:lvl1pPr>
              <a:defRPr/>
            </a:lvl1pPr>
          </a:lstStyle>
          <a:p>
            <a:r>
              <a:rPr lang="en-US">
                <a:solidFill>
                  <a:srgbClr val="000000">
                    <a:tint val="75000"/>
                  </a:srgbClr>
                </a:solidFill>
              </a:rPr>
              <a:t>Internal Use Only</a:t>
            </a:r>
          </a:p>
        </p:txBody>
      </p:sp>
      <p:sp>
        <p:nvSpPr>
          <p:cNvPr id="6" name="Slide Number Placeholder 5"/>
          <p:cNvSpPr>
            <a:spLocks noGrp="1"/>
          </p:cNvSpPr>
          <p:nvPr>
            <p:ph type="sldNum" sz="quarter" idx="12"/>
          </p:nvPr>
        </p:nvSpPr>
        <p:spPr>
          <a:xfrm>
            <a:off x="11290305" y="6375263"/>
            <a:ext cx="742953" cy="357812"/>
          </a:xfrm>
          <a:prstGeom prst="rect">
            <a:avLst/>
          </a:prstGeom>
        </p:spPr>
        <p:txBody>
          <a:bodyPr/>
          <a:lstStyle>
            <a:lvl1pPr>
              <a:defRPr/>
            </a:lvl1pPr>
          </a:lstStyle>
          <a:p>
            <a:fld id="{5BD463DF-E2E3-480A-A5E3-1E5B72824D1B}" type="slidenum">
              <a:rPr lang="en-US" smtClean="0">
                <a:solidFill>
                  <a:srgbClr val="FFFFFF">
                    <a:lumMod val="50000"/>
                  </a:srgbClr>
                </a:solidFill>
              </a:rPr>
              <a:pPr/>
              <a:t>‹#›</a:t>
            </a:fld>
            <a:endParaRPr lang="en-US">
              <a:solidFill>
                <a:srgbClr val="FFFFFF">
                  <a:lumMod val="50000"/>
                </a:srgbClr>
              </a:solidFill>
            </a:endParaRPr>
          </a:p>
        </p:txBody>
      </p:sp>
    </p:spTree>
    <p:extLst>
      <p:ext uri="{BB962C8B-B14F-4D97-AF65-F5344CB8AC3E}">
        <p14:creationId xmlns:p14="http://schemas.microsoft.com/office/powerpoint/2010/main" val="285534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Full screen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r>
              <a:rPr lang="en-US"/>
              <a:t>Click icon to add picture</a:t>
            </a:r>
          </a:p>
        </p:txBody>
      </p:sp>
      <p:sp>
        <p:nvSpPr>
          <p:cNvPr id="12"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11594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Section opener right">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6115057" y="0"/>
            <a:ext cx="6076945"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8"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7"/>
            <a:ext cx="765552" cy="206703"/>
          </a:xfrm>
          <a:prstGeom prst="rect">
            <a:avLst/>
          </a:prstGeom>
        </p:spPr>
      </p:pic>
      <p:cxnSp>
        <p:nvCxnSpPr>
          <p:cNvPr id="14" name="Straight Connector 13"/>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7533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ection opener left">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2" y="0"/>
            <a:ext cx="6076945"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3852445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1718738" y="6281737"/>
            <a:ext cx="2190751" cy="476251"/>
          </a:xfrm>
          <a:prstGeom prst="rect">
            <a:avLst/>
          </a:prstGeom>
        </p:spPr>
        <p:txBody>
          <a:bodyPr/>
          <a:lstStyle>
            <a:lvl1pPr>
              <a:defRPr/>
            </a:lvl1pPr>
          </a:lstStyle>
          <a:p>
            <a:fld id="{35C1E5CA-784C-4030-9FDD-8F06F150578C}" type="datetime1">
              <a:rPr lang="en-US"/>
              <a:pPr/>
              <a:t>12/10/2025</a:t>
            </a:fld>
            <a:endParaRPr lang="en-US" dirty="0"/>
          </a:p>
        </p:txBody>
      </p:sp>
      <p:sp>
        <p:nvSpPr>
          <p:cNvPr id="4" name="Footer Placeholder 3"/>
          <p:cNvSpPr>
            <a:spLocks noGrp="1"/>
          </p:cNvSpPr>
          <p:nvPr>
            <p:ph type="ftr" sz="quarter" idx="11"/>
          </p:nvPr>
        </p:nvSpPr>
        <p:spPr>
          <a:xfrm>
            <a:off x="1231012" y="6356353"/>
            <a:ext cx="4114800" cy="366183"/>
          </a:xfrm>
          <a:prstGeom prst="rect">
            <a:avLst/>
          </a:prstGeom>
        </p:spPr>
        <p:txBody>
          <a:bodyPr/>
          <a:lstStyle>
            <a:lvl1pPr>
              <a:defRPr/>
            </a:lvl1pPr>
          </a:lstStyle>
          <a:p>
            <a:r>
              <a:rPr lang="en-US" dirty="0"/>
              <a:t> Cummins Confidential</a:t>
            </a:r>
          </a:p>
        </p:txBody>
      </p:sp>
      <p:sp>
        <p:nvSpPr>
          <p:cNvPr id="5" name="Slide Number Placeholder 4"/>
          <p:cNvSpPr>
            <a:spLocks noGrp="1"/>
          </p:cNvSpPr>
          <p:nvPr>
            <p:ph type="sldNum" sz="quarter" idx="12"/>
          </p:nvPr>
        </p:nvSpPr>
        <p:spPr>
          <a:xfrm>
            <a:off x="11290300" y="6375259"/>
            <a:ext cx="742952" cy="357812"/>
          </a:xfrm>
          <a:prstGeom prst="rect">
            <a:avLst/>
          </a:prstGeom>
        </p:spPr>
        <p:txBody>
          <a:bodyPr/>
          <a:lstStyle>
            <a:lvl1pPr>
              <a:defRPr/>
            </a:lvl1pPr>
          </a:lstStyle>
          <a:p>
            <a:fld id="{9DDB1DDD-E508-4DE2-BE3A-AADD6AF13B3C}" type="slidenum">
              <a:rPr lang="en-US"/>
              <a:pPr/>
              <a:t>‹#›</a:t>
            </a:fld>
            <a:endParaRPr lang="en-US" dirty="0"/>
          </a:p>
        </p:txBody>
      </p:sp>
    </p:spTree>
    <p:extLst>
      <p:ext uri="{BB962C8B-B14F-4D97-AF65-F5344CB8AC3E}">
        <p14:creationId xmlns:p14="http://schemas.microsoft.com/office/powerpoint/2010/main" val="249990757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Section opener bottom">
    <p:spTree>
      <p:nvGrpSpPr>
        <p:cNvPr id="1" name=""/>
        <p:cNvGrpSpPr/>
        <p:nvPr/>
      </p:nvGrpSpPr>
      <p:grpSpPr>
        <a:xfrm>
          <a:off x="0" y="0"/>
          <a:ext cx="0" cy="0"/>
          <a:chOff x="0" y="0"/>
          <a:chExt cx="0" cy="0"/>
        </a:xfrm>
      </p:grpSpPr>
      <p:sp>
        <p:nvSpPr>
          <p:cNvPr id="4" name="Picture Placeholder 8"/>
          <p:cNvSpPr>
            <a:spLocks noGrp="1"/>
          </p:cNvSpPr>
          <p:nvPr>
            <p:ph type="pic" sz="quarter" idx="10"/>
          </p:nvPr>
        </p:nvSpPr>
        <p:spPr>
          <a:xfrm>
            <a:off x="0" y="4278085"/>
            <a:ext cx="12192000" cy="2579915"/>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Title Placeholder 18"/>
          <p:cNvSpPr>
            <a:spLocks noGrp="1"/>
          </p:cNvSpPr>
          <p:nvPr>
            <p:ph type="title"/>
          </p:nvPr>
        </p:nvSpPr>
        <p:spPr>
          <a:xfrm>
            <a:off x="609601" y="1892893"/>
            <a:ext cx="10964465" cy="1325033"/>
          </a:xfrm>
          <a:prstGeom prst="rect">
            <a:avLst/>
          </a:prstGeom>
        </p:spPr>
        <p:txBody>
          <a:bodyPr vert="horz" lIns="91440" tIns="45720" rIns="91440" bIns="45720" rtlCol="0" anchor="t">
            <a:normAutofit/>
          </a:bodyPr>
          <a:lstStyle/>
          <a:p>
            <a:r>
              <a:rPr lang="en-US"/>
              <a:t>Click to edit Master title style</a:t>
            </a:r>
          </a:p>
        </p:txBody>
      </p:sp>
      <p:sp>
        <p:nvSpPr>
          <p:cNvPr id="8"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9"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7"/>
            <a:ext cx="765552" cy="206703"/>
          </a:xfrm>
          <a:prstGeom prst="rect">
            <a:avLst/>
          </a:prstGeom>
        </p:spPr>
      </p:pic>
      <p:cxnSp>
        <p:nvCxnSpPr>
          <p:cNvPr id="11" name="Straight Connector 10"/>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211395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Image at right, thin">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8323760" y="0"/>
            <a:ext cx="3868240"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8"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38905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Two thirds image right">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3960256" y="0"/>
            <a:ext cx="8231744"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2"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4" name="Straight Connector 13"/>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69505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wo images at top">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7"/>
          </p:nvPr>
        </p:nvSpPr>
        <p:spPr>
          <a:xfrm>
            <a:off x="6096000" y="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248773442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wo images at bottom">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342900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8" name="Title Placeholder 18"/>
          <p:cNvSpPr>
            <a:spLocks noGrp="1"/>
          </p:cNvSpPr>
          <p:nvPr>
            <p:ph type="title"/>
          </p:nvPr>
        </p:nvSpPr>
        <p:spPr>
          <a:xfrm>
            <a:off x="609600" y="366185"/>
            <a:ext cx="10964465" cy="1325033"/>
          </a:xfrm>
          <a:prstGeom prst="rect">
            <a:avLst/>
          </a:prstGeom>
        </p:spPr>
        <p:txBody>
          <a:bodyPr vert="horz" lIns="91440" tIns="45720" rIns="91440" bIns="45720" rtlCol="0" anchor="t">
            <a:normAutofit/>
          </a:bodyPr>
          <a:lstStyle/>
          <a:p>
            <a:r>
              <a:rPr lang="en-US"/>
              <a:t>Click to edit Master title style</a:t>
            </a:r>
          </a:p>
        </p:txBody>
      </p:sp>
      <p:sp>
        <p:nvSpPr>
          <p:cNvPr id="9"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0"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6" name="Straight Connector 15"/>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639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wo images_one top, one bottom">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2"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22683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ircle images">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2034027" y="2559375"/>
            <a:ext cx="1504580" cy="1504188"/>
          </a:xfrm>
          <a:prstGeom prst="ellipse">
            <a:avLst/>
          </a:prstGeom>
          <a:solidFill>
            <a:schemeClr val="bg1">
              <a:lumMod val="95000"/>
            </a:schemeClr>
          </a:solidFill>
        </p:spPr>
        <p:txBody>
          <a:bodyPr>
            <a:normAutofit/>
          </a:bodyPr>
          <a:lstStyle>
            <a:lvl1pPr>
              <a:defRPr sz="1400"/>
            </a:lvl1pPr>
          </a:lstStyle>
          <a:p>
            <a:r>
              <a:rPr lang="en-US"/>
              <a:t>Click icon to add picture</a:t>
            </a:r>
          </a:p>
        </p:txBody>
      </p:sp>
      <p:sp>
        <p:nvSpPr>
          <p:cNvPr id="9" name="Picture Placeholder 2"/>
          <p:cNvSpPr>
            <a:spLocks noGrp="1"/>
          </p:cNvSpPr>
          <p:nvPr>
            <p:ph type="pic" sz="quarter" idx="27"/>
          </p:nvPr>
        </p:nvSpPr>
        <p:spPr>
          <a:xfrm>
            <a:off x="5359647" y="2557415"/>
            <a:ext cx="1504580" cy="1504188"/>
          </a:xfrm>
          <a:prstGeom prst="ellipse">
            <a:avLst/>
          </a:prstGeom>
          <a:solidFill>
            <a:schemeClr val="bg1">
              <a:lumMod val="95000"/>
            </a:schemeClr>
          </a:solidFill>
        </p:spPr>
        <p:txBody>
          <a:bodyPr>
            <a:normAutofit/>
          </a:bodyPr>
          <a:lstStyle>
            <a:lvl1pPr>
              <a:defRPr sz="1400"/>
            </a:lvl1pPr>
          </a:lstStyle>
          <a:p>
            <a:r>
              <a:rPr lang="en-US"/>
              <a:t>Click icon to add picture</a:t>
            </a:r>
          </a:p>
        </p:txBody>
      </p:sp>
      <p:sp>
        <p:nvSpPr>
          <p:cNvPr id="10" name="Picture Placeholder 2"/>
          <p:cNvSpPr>
            <a:spLocks noGrp="1"/>
          </p:cNvSpPr>
          <p:nvPr>
            <p:ph type="pic" sz="quarter" idx="28"/>
          </p:nvPr>
        </p:nvSpPr>
        <p:spPr>
          <a:xfrm>
            <a:off x="8683307" y="2557415"/>
            <a:ext cx="1504580" cy="1504188"/>
          </a:xfrm>
          <a:prstGeom prst="ellipse">
            <a:avLst/>
          </a:prstGeom>
          <a:solidFill>
            <a:schemeClr val="bg1">
              <a:lumMod val="95000"/>
            </a:schemeClr>
          </a:solidFill>
        </p:spPr>
        <p:txBody>
          <a:bodyPr>
            <a:normAutofit/>
          </a:bodyPr>
          <a:lstStyle>
            <a:lvl1pPr>
              <a:defRPr sz="1400"/>
            </a:lvl1pPr>
          </a:lstStyle>
          <a:p>
            <a:r>
              <a:rPr lang="en-US"/>
              <a:t>Click icon to add picture</a:t>
            </a:r>
          </a:p>
        </p:txBody>
      </p:sp>
      <p:sp>
        <p:nvSpPr>
          <p:cNvPr id="5" name="Title Placeholder 18"/>
          <p:cNvSpPr>
            <a:spLocks noGrp="1"/>
          </p:cNvSpPr>
          <p:nvPr>
            <p:ph type="title"/>
          </p:nvPr>
        </p:nvSpPr>
        <p:spPr>
          <a:xfrm>
            <a:off x="609600" y="366186"/>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20771852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Laptop mockup, centered">
    <p:spTree>
      <p:nvGrpSpPr>
        <p:cNvPr id="1" name=""/>
        <p:cNvGrpSpPr/>
        <p:nvPr/>
      </p:nvGrpSpPr>
      <p:grpSpPr>
        <a:xfrm>
          <a:off x="0" y="0"/>
          <a:ext cx="0" cy="0"/>
          <a:chOff x="0" y="0"/>
          <a:chExt cx="0" cy="0"/>
        </a:xfrm>
      </p:grpSpPr>
      <p:sp>
        <p:nvSpPr>
          <p:cNvPr id="5" name="Picture Placeholder 17"/>
          <p:cNvSpPr>
            <a:spLocks noGrp="1"/>
          </p:cNvSpPr>
          <p:nvPr>
            <p:ph type="pic" sz="quarter" idx="14"/>
          </p:nvPr>
        </p:nvSpPr>
        <p:spPr>
          <a:xfrm>
            <a:off x="3713561" y="2809409"/>
            <a:ext cx="4702295" cy="2926759"/>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5593853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6493933" y="6182784"/>
            <a:ext cx="4114800" cy="364067"/>
          </a:xfrm>
          <a:prstGeom prst="rect">
            <a:avLst/>
          </a:prstGeom>
        </p:spPr>
        <p:txBody>
          <a:bodyPr anchor="b">
            <a:noAutofit/>
          </a:bodyPr>
          <a:lstStyle>
            <a:lvl1pPr marL="0" indent="0">
              <a:buNone/>
              <a:defRPr sz="1200" baseline="0"/>
            </a:lvl1pPr>
          </a:lstStyle>
          <a:p>
            <a:pPr lvl="0"/>
            <a:r>
              <a:rPr lang="en-US"/>
              <a:t>INSERT DATA CLASSIFICATION</a:t>
            </a:r>
          </a:p>
        </p:txBody>
      </p:sp>
      <p:sp>
        <p:nvSpPr>
          <p:cNvPr id="6" name="Text Placeholder 5"/>
          <p:cNvSpPr>
            <a:spLocks noGrp="1"/>
          </p:cNvSpPr>
          <p:nvPr>
            <p:ph type="body" sz="quarter" idx="12" hasCustomPrompt="1"/>
          </p:nvPr>
        </p:nvSpPr>
        <p:spPr>
          <a:xfrm>
            <a:off x="6493933" y="5739439"/>
            <a:ext cx="4114800" cy="401629"/>
          </a:xfrm>
          <a:prstGeom prst="rect">
            <a:avLst/>
          </a:prstGeom>
        </p:spPr>
        <p:txBody>
          <a:bodyPr anchor="b">
            <a:normAutofit/>
          </a:bodyPr>
          <a:lstStyle>
            <a:lvl1pPr marL="0" indent="0">
              <a:buNone/>
              <a:defRPr sz="1600"/>
            </a:lvl1pPr>
          </a:lstStyle>
          <a:p>
            <a:pPr lvl="0"/>
            <a:r>
              <a:rPr lang="en-US"/>
              <a:t>Date</a:t>
            </a:r>
          </a:p>
        </p:txBody>
      </p:sp>
      <p:sp>
        <p:nvSpPr>
          <p:cNvPr id="2" name="Title 1"/>
          <p:cNvSpPr>
            <a:spLocks noGrp="1"/>
          </p:cNvSpPr>
          <p:nvPr>
            <p:ph type="ctrTitle" hasCustomPrompt="1"/>
          </p:nvPr>
        </p:nvSpPr>
        <p:spPr>
          <a:xfrm>
            <a:off x="6494097" y="2092749"/>
            <a:ext cx="4914123" cy="2387600"/>
          </a:xfrm>
          <a:prstGeom prst="rect">
            <a:avLst/>
          </a:prstGeom>
        </p:spPr>
        <p:txBody>
          <a:bodyPr anchor="b">
            <a:normAutofit/>
          </a:bodyPr>
          <a:lstStyle>
            <a:lvl1pPr algn="l">
              <a:defRPr sz="4800" b="1" i="0">
                <a:latin typeface="Arial Black" charset="0"/>
                <a:ea typeface="Arial Black" charset="0"/>
                <a:cs typeface="Arial Black" charset="0"/>
              </a:defRPr>
            </a:lvl1pPr>
          </a:lstStyle>
          <a:p>
            <a:r>
              <a:rPr lang="en-US"/>
              <a:t>Presentation Title</a:t>
            </a:r>
          </a:p>
        </p:txBody>
      </p:sp>
      <p:sp>
        <p:nvSpPr>
          <p:cNvPr id="3" name="Subtitle 2"/>
          <p:cNvSpPr>
            <a:spLocks noGrp="1"/>
          </p:cNvSpPr>
          <p:nvPr>
            <p:ph type="subTitle" idx="1" hasCustomPrompt="1"/>
          </p:nvPr>
        </p:nvSpPr>
        <p:spPr>
          <a:xfrm>
            <a:off x="6494097" y="4548893"/>
            <a:ext cx="4914123" cy="652803"/>
          </a:xfrm>
          <a:prstGeom prst="rect">
            <a:avLst/>
          </a:prstGeom>
        </p:spPr>
        <p:txBody>
          <a:bodyPr anchor="b">
            <a:normAutofit/>
          </a:bodyPr>
          <a:lstStyle>
            <a:lvl1pPr marL="0" indent="0" algn="l">
              <a:buNone/>
              <a:defRPr sz="2667" b="0" i="0">
                <a:latin typeface="Arial" charset="0"/>
                <a:ea typeface="Arial" charset="0"/>
                <a:cs typeface="Arial"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Presenter Nam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6197600" cy="6858000"/>
          </a:xfrm>
          <a:prstGeom prst="rect">
            <a:avLst/>
          </a:prstGeom>
        </p:spPr>
      </p:pic>
    </p:spTree>
    <p:extLst>
      <p:ext uri="{BB962C8B-B14F-4D97-AF65-F5344CB8AC3E}">
        <p14:creationId xmlns:p14="http://schemas.microsoft.com/office/powerpoint/2010/main" val="11817047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Placeholder Slide">
    <p:spTree>
      <p:nvGrpSpPr>
        <p:cNvPr id="1" name=""/>
        <p:cNvGrpSpPr/>
        <p:nvPr/>
      </p:nvGrpSpPr>
      <p:grpSpPr>
        <a:xfrm>
          <a:off x="0" y="0"/>
          <a:ext cx="0" cy="0"/>
          <a:chOff x="0" y="0"/>
          <a:chExt cx="0" cy="0"/>
        </a:xfrm>
      </p:grpSpPr>
      <p:sp>
        <p:nvSpPr>
          <p:cNvPr id="14" name="Picture Placeholder 8"/>
          <p:cNvSpPr>
            <a:spLocks noGrp="1"/>
          </p:cNvSpPr>
          <p:nvPr>
            <p:ph type="pic" sz="quarter" idx="12"/>
          </p:nvPr>
        </p:nvSpPr>
        <p:spPr>
          <a:xfrm>
            <a:off x="8238554" y="3759200"/>
            <a:ext cx="3953447" cy="3098800"/>
          </a:xfrm>
          <a:prstGeom prst="rect">
            <a:avLst/>
          </a:prstGeom>
          <a:solidFill>
            <a:schemeClr val="bg1">
              <a:lumMod val="95000"/>
            </a:schemeClr>
          </a:solidFill>
        </p:spPr>
        <p:txBody>
          <a:bodyPr>
            <a:normAutofit/>
          </a:bodyPr>
          <a:lstStyle>
            <a:lvl1pPr>
              <a:defRPr sz="1400"/>
            </a:lvl1pPr>
          </a:lstStyle>
          <a:p>
            <a:endParaRPr lang="en-US"/>
          </a:p>
        </p:txBody>
      </p:sp>
      <p:sp>
        <p:nvSpPr>
          <p:cNvPr id="12" name="Picture Placeholder 8"/>
          <p:cNvSpPr>
            <a:spLocks noGrp="1"/>
          </p:cNvSpPr>
          <p:nvPr>
            <p:ph type="pic" sz="quarter" idx="10"/>
          </p:nvPr>
        </p:nvSpPr>
        <p:spPr>
          <a:xfrm>
            <a:off x="1" y="3759200"/>
            <a:ext cx="3949575" cy="3098800"/>
          </a:xfrm>
          <a:prstGeom prst="rect">
            <a:avLst/>
          </a:prstGeom>
          <a:solidFill>
            <a:schemeClr val="bg1">
              <a:lumMod val="95000"/>
            </a:schemeClr>
          </a:solidFill>
        </p:spPr>
        <p:txBody>
          <a:bodyPr>
            <a:normAutofit/>
          </a:bodyPr>
          <a:lstStyle>
            <a:lvl1pPr>
              <a:defRPr sz="1400"/>
            </a:lvl1pPr>
          </a:lstStyle>
          <a:p>
            <a:endParaRPr lang="en-US"/>
          </a:p>
        </p:txBody>
      </p:sp>
      <p:sp>
        <p:nvSpPr>
          <p:cNvPr id="13" name="Picture Placeholder 8"/>
          <p:cNvSpPr>
            <a:spLocks noGrp="1"/>
          </p:cNvSpPr>
          <p:nvPr>
            <p:ph type="pic" sz="quarter" idx="11"/>
          </p:nvPr>
        </p:nvSpPr>
        <p:spPr>
          <a:xfrm>
            <a:off x="4119246" y="3759200"/>
            <a:ext cx="3949636" cy="3098800"/>
          </a:xfrm>
          <a:prstGeom prst="rect">
            <a:avLst/>
          </a:prstGeom>
          <a:solidFill>
            <a:schemeClr val="bg1">
              <a:lumMod val="95000"/>
            </a:schemeClr>
          </a:solidFill>
        </p:spPr>
        <p:txBody>
          <a:bodyPr>
            <a:normAutofit/>
          </a:bodyPr>
          <a:lstStyle>
            <a:lvl1pPr>
              <a:defRPr sz="1400"/>
            </a:lvl1pPr>
          </a:lstStyle>
          <a:p>
            <a:endParaRPr lang="en-US"/>
          </a:p>
        </p:txBody>
      </p:sp>
      <p:sp>
        <p:nvSpPr>
          <p:cNvPr id="6"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7"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9" name="Straight Connector 8"/>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93679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917661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_Placeholder Slide">
    <p:spTree>
      <p:nvGrpSpPr>
        <p:cNvPr id="1" name=""/>
        <p:cNvGrpSpPr/>
        <p:nvPr/>
      </p:nvGrpSpPr>
      <p:grpSpPr>
        <a:xfrm>
          <a:off x="0" y="0"/>
          <a:ext cx="0" cy="0"/>
          <a:chOff x="0" y="0"/>
          <a:chExt cx="0" cy="0"/>
        </a:xfrm>
      </p:grpSpPr>
      <p:sp>
        <p:nvSpPr>
          <p:cNvPr id="6" name="Picture Placeholder 8"/>
          <p:cNvSpPr>
            <a:spLocks noGrp="1"/>
          </p:cNvSpPr>
          <p:nvPr>
            <p:ph type="pic" sz="quarter" idx="10"/>
          </p:nvPr>
        </p:nvSpPr>
        <p:spPr>
          <a:xfrm>
            <a:off x="1045554" y="1780068"/>
            <a:ext cx="3298724" cy="3297865"/>
          </a:xfrm>
          <a:prstGeom prst="ellipse">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41895497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5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0"/>
          </p:nvPr>
        </p:nvSpPr>
        <p:spPr>
          <a:xfrm>
            <a:off x="0" y="4278085"/>
            <a:ext cx="12192000" cy="2579915"/>
          </a:xfrm>
          <a:prstGeom prst="rect">
            <a:avLst/>
          </a:prstGeom>
          <a:solidFill>
            <a:schemeClr val="bg1">
              <a:lumMod val="95000"/>
            </a:schemeClr>
          </a:solidFill>
        </p:spPr>
        <p:txBody>
          <a:bodyPr>
            <a:normAutofit/>
          </a:bodyPr>
          <a:lstStyle>
            <a:lvl1pPr>
              <a:defRPr sz="1400"/>
            </a:lvl1pPr>
          </a:lstStyle>
          <a:p>
            <a:endParaRPr lang="en-US"/>
          </a:p>
        </p:txBody>
      </p:sp>
      <p:sp>
        <p:nvSpPr>
          <p:cNvPr id="13"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4"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6" name="Straight Connector 15"/>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012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4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2034027" y="2559375"/>
            <a:ext cx="1504580" cy="1504188"/>
          </a:xfrm>
          <a:prstGeom prst="ellipse">
            <a:avLst/>
          </a:prstGeom>
          <a:solidFill>
            <a:schemeClr val="bg1">
              <a:lumMod val="95000"/>
            </a:schemeClr>
          </a:solidFill>
        </p:spPr>
        <p:txBody>
          <a:bodyPr>
            <a:normAutofit/>
          </a:bodyPr>
          <a:lstStyle>
            <a:lvl1pPr>
              <a:defRPr sz="1400"/>
            </a:lvl1pPr>
          </a:lstStyle>
          <a:p>
            <a:endParaRPr lang="en-US"/>
          </a:p>
        </p:txBody>
      </p:sp>
      <p:sp>
        <p:nvSpPr>
          <p:cNvPr id="9" name="Picture Placeholder 2"/>
          <p:cNvSpPr>
            <a:spLocks noGrp="1"/>
          </p:cNvSpPr>
          <p:nvPr>
            <p:ph type="pic" sz="quarter" idx="27"/>
          </p:nvPr>
        </p:nvSpPr>
        <p:spPr>
          <a:xfrm>
            <a:off x="5359646" y="2557415"/>
            <a:ext cx="1504580" cy="1504188"/>
          </a:xfrm>
          <a:prstGeom prst="ellipse">
            <a:avLst/>
          </a:prstGeom>
          <a:solidFill>
            <a:schemeClr val="bg1">
              <a:lumMod val="95000"/>
            </a:schemeClr>
          </a:solidFill>
        </p:spPr>
        <p:txBody>
          <a:bodyPr>
            <a:normAutofit/>
          </a:bodyPr>
          <a:lstStyle>
            <a:lvl1pPr>
              <a:defRPr sz="1400"/>
            </a:lvl1pPr>
          </a:lstStyle>
          <a:p>
            <a:endParaRPr lang="en-US"/>
          </a:p>
        </p:txBody>
      </p:sp>
      <p:sp>
        <p:nvSpPr>
          <p:cNvPr id="10" name="Picture Placeholder 2"/>
          <p:cNvSpPr>
            <a:spLocks noGrp="1"/>
          </p:cNvSpPr>
          <p:nvPr>
            <p:ph type="pic" sz="quarter" idx="28"/>
          </p:nvPr>
        </p:nvSpPr>
        <p:spPr>
          <a:xfrm>
            <a:off x="8683306" y="2557415"/>
            <a:ext cx="1504580" cy="1504188"/>
          </a:xfrm>
          <a:prstGeom prst="ellipse">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33280612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6_Placeholder Slide">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3912391" y="3682997"/>
            <a:ext cx="4253068" cy="3175003"/>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230309833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7_Placeholder Slide">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5109358" y="2190973"/>
            <a:ext cx="1931921" cy="3429000"/>
          </a:xfrm>
          <a:prstGeom prst="rect">
            <a:avLst/>
          </a:prstGeom>
          <a:solidFill>
            <a:schemeClr val="bg1">
              <a:lumMod val="95000"/>
            </a:schemeClr>
          </a:solidFill>
        </p:spPr>
        <p:txBody>
          <a:bodyPr>
            <a:normAutofit/>
          </a:bodyPr>
          <a:lstStyle>
            <a:lvl1pPr>
              <a:defRPr sz="1400"/>
            </a:lvl1pPr>
          </a:lstStyle>
          <a:p>
            <a:endParaRPr lang="en-US"/>
          </a:p>
        </p:txBody>
      </p:sp>
      <p:sp>
        <p:nvSpPr>
          <p:cNvPr id="9" name="Picture Placeholder 8"/>
          <p:cNvSpPr>
            <a:spLocks noGrp="1"/>
          </p:cNvSpPr>
          <p:nvPr>
            <p:ph type="pic" sz="quarter" idx="13"/>
          </p:nvPr>
        </p:nvSpPr>
        <p:spPr>
          <a:xfrm>
            <a:off x="7570268" y="2168488"/>
            <a:ext cx="1959939" cy="3486000"/>
          </a:xfrm>
          <a:prstGeom prst="rect">
            <a:avLst/>
          </a:prstGeom>
          <a:solidFill>
            <a:schemeClr val="bg1">
              <a:lumMod val="95000"/>
            </a:schemeClr>
          </a:solidFill>
        </p:spPr>
        <p:txBody>
          <a:bodyPr>
            <a:normAutofit/>
          </a:bodyPr>
          <a:lstStyle>
            <a:lvl1pPr>
              <a:defRPr sz="1400"/>
            </a:lvl1pPr>
          </a:lstStyle>
          <a:p>
            <a:endParaRPr lang="en-US"/>
          </a:p>
        </p:txBody>
      </p:sp>
      <p:sp>
        <p:nvSpPr>
          <p:cNvPr id="10" name="Picture Placeholder 8"/>
          <p:cNvSpPr>
            <a:spLocks noGrp="1"/>
          </p:cNvSpPr>
          <p:nvPr>
            <p:ph type="pic" sz="quarter" idx="14"/>
          </p:nvPr>
        </p:nvSpPr>
        <p:spPr>
          <a:xfrm>
            <a:off x="2657940" y="2168488"/>
            <a:ext cx="1959939" cy="3486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27043527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8_Placeholder Slid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1224633" y="1014457"/>
            <a:ext cx="3567089" cy="4768596"/>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1525932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9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4"/>
          </p:nvPr>
        </p:nvSpPr>
        <p:spPr>
          <a:xfrm>
            <a:off x="7040900" y="1014457"/>
            <a:ext cx="3567089" cy="4768596"/>
          </a:xfrm>
          <a:prstGeom prst="rect">
            <a:avLst/>
          </a:prstGeom>
          <a:solidFill>
            <a:schemeClr val="bg1">
              <a:lumMod val="95000"/>
            </a:schemeClr>
          </a:solidFill>
        </p:spPr>
        <p:txBody>
          <a:bodyPr>
            <a:normAutofit/>
          </a:bodyPr>
          <a:lstStyle>
            <a:lvl1pPr marL="0" indent="0">
              <a:buNone/>
              <a:defRPr sz="1400"/>
            </a:lvl1pPr>
          </a:lstStyle>
          <a:p>
            <a:endParaRPr lang="en-US"/>
          </a:p>
        </p:txBody>
      </p:sp>
    </p:spTree>
    <p:extLst>
      <p:ext uri="{BB962C8B-B14F-4D97-AF65-F5344CB8AC3E}">
        <p14:creationId xmlns:p14="http://schemas.microsoft.com/office/powerpoint/2010/main" val="23668562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Macbook Air">
    <p:spTree>
      <p:nvGrpSpPr>
        <p:cNvPr id="1" name=""/>
        <p:cNvGrpSpPr/>
        <p:nvPr/>
      </p:nvGrpSpPr>
      <p:grpSpPr>
        <a:xfrm>
          <a:off x="0" y="0"/>
          <a:ext cx="0" cy="0"/>
          <a:chOff x="0" y="0"/>
          <a:chExt cx="0" cy="0"/>
        </a:xfrm>
      </p:grpSpPr>
      <p:sp>
        <p:nvSpPr>
          <p:cNvPr id="5" name="Picture Placeholder 3"/>
          <p:cNvSpPr>
            <a:spLocks noGrp="1"/>
          </p:cNvSpPr>
          <p:nvPr>
            <p:ph type="pic" sz="quarter" idx="13"/>
          </p:nvPr>
        </p:nvSpPr>
        <p:spPr>
          <a:xfrm>
            <a:off x="3922322" y="2483408"/>
            <a:ext cx="4341831" cy="2750280"/>
          </a:xfrm>
          <a:prstGeom prst="rect">
            <a:avLst/>
          </a:prstGeom>
          <a:solidFill>
            <a:schemeClr val="bg1">
              <a:lumMod val="95000"/>
            </a:schemeClr>
          </a:solidFill>
        </p:spPr>
      </p:sp>
    </p:spTree>
    <p:extLst>
      <p:ext uri="{BB962C8B-B14F-4D97-AF65-F5344CB8AC3E}">
        <p14:creationId xmlns:p14="http://schemas.microsoft.com/office/powerpoint/2010/main" val="60219868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ehind the Scenes">
    <p:spTree>
      <p:nvGrpSpPr>
        <p:cNvPr id="1" name=""/>
        <p:cNvGrpSpPr/>
        <p:nvPr/>
      </p:nvGrpSpPr>
      <p:grpSpPr>
        <a:xfrm>
          <a:off x="0" y="0"/>
          <a:ext cx="0" cy="0"/>
          <a:chOff x="0" y="0"/>
          <a:chExt cx="0" cy="0"/>
        </a:xfrm>
      </p:grpSpPr>
      <p:sp>
        <p:nvSpPr>
          <p:cNvPr id="5" name="Picture Placeholder 17"/>
          <p:cNvSpPr>
            <a:spLocks noGrp="1"/>
          </p:cNvSpPr>
          <p:nvPr>
            <p:ph type="pic" sz="quarter" idx="14"/>
          </p:nvPr>
        </p:nvSpPr>
        <p:spPr>
          <a:xfrm>
            <a:off x="3713561" y="2809409"/>
            <a:ext cx="4702295" cy="2926759"/>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Tree>
    <p:extLst>
      <p:ext uri="{BB962C8B-B14F-4D97-AF65-F5344CB8AC3E}">
        <p14:creationId xmlns:p14="http://schemas.microsoft.com/office/powerpoint/2010/main" val="215628424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Macbook Mockup">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944457" y="2825401"/>
            <a:ext cx="4655763" cy="2878137"/>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29958302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296863"/>
            <a:ext cx="10210800" cy="503237"/>
          </a:xfrm>
          <a:prstGeom prst="rect">
            <a:avLst/>
          </a:prstGeom>
        </p:spPr>
        <p:txBody>
          <a:bodyPr/>
          <a:lstStyle>
            <a:lvl1pPr>
              <a:defRPr sz="2800">
                <a:latin typeface="Calibri" pitchFamily="34" charset="0"/>
                <a:cs typeface="Calibri" pitchFamily="34" charset="0"/>
              </a:defRPr>
            </a:lvl1pPr>
          </a:lstStyle>
          <a:p>
            <a:r>
              <a:rPr lang="en-US"/>
              <a:t>Click to edit Master title style</a:t>
            </a:r>
          </a:p>
        </p:txBody>
      </p:sp>
    </p:spTree>
    <p:extLst>
      <p:ext uri="{BB962C8B-B14F-4D97-AF65-F5344CB8AC3E}">
        <p14:creationId xmlns:p14="http://schemas.microsoft.com/office/powerpoint/2010/main" val="14944856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Portfolio Four">
    <p:spTree>
      <p:nvGrpSpPr>
        <p:cNvPr id="1" name=""/>
        <p:cNvGrpSpPr/>
        <p:nvPr/>
      </p:nvGrpSpPr>
      <p:grpSpPr>
        <a:xfrm>
          <a:off x="0" y="0"/>
          <a:ext cx="0" cy="0"/>
          <a:chOff x="0" y="0"/>
          <a:chExt cx="0" cy="0"/>
        </a:xfrm>
      </p:grpSpPr>
      <p:sp>
        <p:nvSpPr>
          <p:cNvPr id="10" name="Picture Placeholder 2"/>
          <p:cNvSpPr>
            <a:spLocks noGrp="1"/>
          </p:cNvSpPr>
          <p:nvPr>
            <p:ph type="pic" sz="quarter" idx="15"/>
          </p:nvPr>
        </p:nvSpPr>
        <p:spPr>
          <a:xfrm>
            <a:off x="1568481" y="2909407"/>
            <a:ext cx="1658787" cy="2170700"/>
          </a:xfrm>
          <a:prstGeom prst="rect">
            <a:avLst/>
          </a:prstGeom>
          <a:solidFill>
            <a:schemeClr val="bg1">
              <a:lumMod val="95000"/>
            </a:schemeClr>
          </a:solidFill>
        </p:spPr>
        <p:txBody>
          <a:bodyPr>
            <a:normAutofit/>
          </a:bodyPr>
          <a:lstStyle>
            <a:lvl1pPr>
              <a:defRPr sz="900"/>
            </a:lvl1pPr>
          </a:lstStyle>
          <a:p>
            <a:endParaRPr lang="en-US"/>
          </a:p>
        </p:txBody>
      </p:sp>
      <p:sp>
        <p:nvSpPr>
          <p:cNvPr id="11" name="Picture Placeholder 2"/>
          <p:cNvSpPr>
            <a:spLocks noGrp="1"/>
          </p:cNvSpPr>
          <p:nvPr>
            <p:ph type="pic" sz="quarter" idx="16"/>
          </p:nvPr>
        </p:nvSpPr>
        <p:spPr>
          <a:xfrm>
            <a:off x="5222027" y="2867990"/>
            <a:ext cx="1658787" cy="2170700"/>
          </a:xfrm>
          <a:prstGeom prst="rect">
            <a:avLst/>
          </a:prstGeom>
          <a:solidFill>
            <a:schemeClr val="bg1">
              <a:lumMod val="95000"/>
            </a:schemeClr>
          </a:solidFill>
        </p:spPr>
        <p:txBody>
          <a:bodyPr>
            <a:normAutofit/>
          </a:bodyPr>
          <a:lstStyle>
            <a:lvl1pPr>
              <a:defRPr sz="900"/>
            </a:lvl1pPr>
          </a:lstStyle>
          <a:p>
            <a:endParaRPr lang="en-US"/>
          </a:p>
        </p:txBody>
      </p:sp>
      <p:sp>
        <p:nvSpPr>
          <p:cNvPr id="12" name="Picture Placeholder 2"/>
          <p:cNvSpPr>
            <a:spLocks noGrp="1"/>
          </p:cNvSpPr>
          <p:nvPr>
            <p:ph type="pic" sz="quarter" idx="17"/>
          </p:nvPr>
        </p:nvSpPr>
        <p:spPr>
          <a:xfrm>
            <a:off x="8875573" y="2854185"/>
            <a:ext cx="1658787" cy="2170700"/>
          </a:xfrm>
          <a:prstGeom prst="rect">
            <a:avLst/>
          </a:prstGeom>
          <a:solidFill>
            <a:schemeClr val="bg1">
              <a:lumMod val="95000"/>
            </a:schemeClr>
          </a:solidFill>
        </p:spPr>
        <p:txBody>
          <a:bodyPr>
            <a:normAutofit/>
          </a:bodyPr>
          <a:lstStyle>
            <a:lvl1pPr>
              <a:defRPr sz="900"/>
            </a:lvl1pPr>
          </a:lstStyle>
          <a:p>
            <a:endParaRPr lang="en-US"/>
          </a:p>
        </p:txBody>
      </p:sp>
    </p:spTree>
    <p:extLst>
      <p:ext uri="{BB962C8B-B14F-4D97-AF65-F5344CB8AC3E}">
        <p14:creationId xmlns:p14="http://schemas.microsoft.com/office/powerpoint/2010/main" val="14524974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6_Placeholder">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84468" y="1709531"/>
            <a:ext cx="3311096" cy="5148469"/>
          </a:xfrm>
          <a:prstGeom prst="rect">
            <a:avLst/>
          </a:prstGeom>
          <a:solidFill>
            <a:schemeClr val="bg1">
              <a:lumMod val="95000"/>
            </a:schemeClr>
          </a:solidFill>
        </p:spPr>
        <p:txBody>
          <a:bodyPr>
            <a:normAutofit/>
          </a:bodyPr>
          <a:lstStyle>
            <a:lvl1pPr>
              <a:defRPr sz="1400"/>
            </a:lvl1pPr>
          </a:lstStyle>
          <a:p>
            <a:endParaRPr lang="en-US"/>
          </a:p>
        </p:txBody>
      </p:sp>
      <p:sp>
        <p:nvSpPr>
          <p:cNvPr id="14" name="Picture Placeholder 2"/>
          <p:cNvSpPr>
            <a:spLocks noGrp="1"/>
          </p:cNvSpPr>
          <p:nvPr>
            <p:ph type="pic" sz="quarter" idx="15"/>
          </p:nvPr>
        </p:nvSpPr>
        <p:spPr>
          <a:xfrm>
            <a:off x="4478561" y="1709531"/>
            <a:ext cx="3311096" cy="2176671"/>
          </a:xfrm>
          <a:prstGeom prst="rect">
            <a:avLst/>
          </a:prstGeom>
          <a:solidFill>
            <a:schemeClr val="bg1">
              <a:lumMod val="95000"/>
            </a:schemeClr>
          </a:solidFill>
        </p:spPr>
        <p:txBody>
          <a:bodyPr>
            <a:normAutofit/>
          </a:bodyPr>
          <a:lstStyle>
            <a:lvl1pPr>
              <a:defRPr sz="1400"/>
            </a:lvl1pPr>
          </a:lstStyle>
          <a:p>
            <a:endParaRPr lang="en-US"/>
          </a:p>
        </p:txBody>
      </p:sp>
      <p:sp>
        <p:nvSpPr>
          <p:cNvPr id="15" name="Picture Placeholder 2"/>
          <p:cNvSpPr>
            <a:spLocks noGrp="1"/>
          </p:cNvSpPr>
          <p:nvPr>
            <p:ph type="pic" sz="quarter" idx="16"/>
          </p:nvPr>
        </p:nvSpPr>
        <p:spPr>
          <a:xfrm>
            <a:off x="4520777" y="4180824"/>
            <a:ext cx="3268880" cy="2677176"/>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65522051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8_Placeholder">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063128" y="1709531"/>
            <a:ext cx="3311096" cy="5148469"/>
          </a:xfrm>
          <a:prstGeom prst="rect">
            <a:avLst/>
          </a:prstGeom>
          <a:solidFill>
            <a:schemeClr val="bg1">
              <a:lumMod val="95000"/>
            </a:schemeClr>
          </a:solidFill>
        </p:spPr>
        <p:txBody>
          <a:bodyPr>
            <a:normAutofit/>
          </a:bodyPr>
          <a:lstStyle>
            <a:lvl1pPr>
              <a:defRPr sz="1400"/>
            </a:lvl1pPr>
          </a:lstStyle>
          <a:p>
            <a:endParaRPr lang="en-US"/>
          </a:p>
        </p:txBody>
      </p:sp>
      <p:sp>
        <p:nvSpPr>
          <p:cNvPr id="8" name="Picture Placeholder 2"/>
          <p:cNvSpPr>
            <a:spLocks noGrp="1"/>
          </p:cNvSpPr>
          <p:nvPr>
            <p:ph type="pic" sz="quarter" idx="15"/>
          </p:nvPr>
        </p:nvSpPr>
        <p:spPr>
          <a:xfrm>
            <a:off x="4469035" y="1709531"/>
            <a:ext cx="3311096" cy="2176671"/>
          </a:xfrm>
          <a:prstGeom prst="rect">
            <a:avLst/>
          </a:prstGeom>
          <a:solidFill>
            <a:schemeClr val="bg1">
              <a:lumMod val="95000"/>
            </a:schemeClr>
          </a:solidFill>
        </p:spPr>
        <p:txBody>
          <a:bodyPr>
            <a:normAutofit/>
          </a:bodyPr>
          <a:lstStyle>
            <a:lvl1pPr>
              <a:defRPr sz="1400"/>
            </a:lvl1pPr>
          </a:lstStyle>
          <a:p>
            <a:endParaRPr lang="en-US"/>
          </a:p>
        </p:txBody>
      </p:sp>
      <p:sp>
        <p:nvSpPr>
          <p:cNvPr id="9" name="Picture Placeholder 2"/>
          <p:cNvSpPr>
            <a:spLocks noGrp="1"/>
          </p:cNvSpPr>
          <p:nvPr>
            <p:ph type="pic" sz="quarter" idx="16"/>
          </p:nvPr>
        </p:nvSpPr>
        <p:spPr>
          <a:xfrm>
            <a:off x="4469035" y="4180824"/>
            <a:ext cx="3268880" cy="2677176"/>
          </a:xfrm>
          <a:prstGeom prst="rect">
            <a:avLst/>
          </a:prstGeom>
          <a:solidFill>
            <a:schemeClr val="bg1">
              <a:lumMod val="95000"/>
            </a:schemeClr>
          </a:solidFill>
        </p:spPr>
        <p:txBody>
          <a:bodyPr>
            <a:normAutofit/>
          </a:bodyPr>
          <a:lstStyle>
            <a:lvl1pPr>
              <a:defRPr sz="1400"/>
            </a:lvl1pPr>
          </a:lstStyle>
          <a:p>
            <a:endParaRPr lang="en-US"/>
          </a:p>
        </p:txBody>
      </p:sp>
      <p:sp>
        <p:nvSpPr>
          <p:cNvPr id="12"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4"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6" name="Straight Connector 15"/>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73627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Slide with Placeholder">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3868240" cy="6858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281058042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Slide with Placeholder">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8323760" y="0"/>
            <a:ext cx="3868240" cy="6858000"/>
          </a:xfrm>
          <a:prstGeom prst="rect">
            <a:avLst/>
          </a:prstGeom>
          <a:solidFill>
            <a:schemeClr val="bg1">
              <a:lumMod val="95000"/>
            </a:schemeClr>
          </a:solidFill>
        </p:spPr>
        <p:txBody>
          <a:bodyPr>
            <a:normAutofit/>
          </a:bodyPr>
          <a:lstStyle>
            <a:lvl1pPr>
              <a:defRPr sz="1400"/>
            </a:lvl1pPr>
          </a:lstStyle>
          <a:p>
            <a:endParaRPr lang="en-US"/>
          </a:p>
        </p:txBody>
      </p:sp>
      <p:sp>
        <p:nvSpPr>
          <p:cNvPr id="9"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0"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2" name="Straight Connector 11"/>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084798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Logos 1">
    <p:spTree>
      <p:nvGrpSpPr>
        <p:cNvPr id="1" name=""/>
        <p:cNvGrpSpPr/>
        <p:nvPr/>
      </p:nvGrpSpPr>
      <p:grpSpPr>
        <a:xfrm>
          <a:off x="0" y="0"/>
          <a:ext cx="0" cy="0"/>
          <a:chOff x="0" y="0"/>
          <a:chExt cx="0" cy="0"/>
        </a:xfrm>
      </p:grpSpPr>
      <p:sp>
        <p:nvSpPr>
          <p:cNvPr id="15" name="Picture Placeholder 17"/>
          <p:cNvSpPr>
            <a:spLocks noGrp="1"/>
          </p:cNvSpPr>
          <p:nvPr>
            <p:ph type="pic" sz="quarter" idx="14"/>
          </p:nvPr>
        </p:nvSpPr>
        <p:spPr>
          <a:xfrm>
            <a:off x="1238896" y="2699255"/>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16" name="Picture Placeholder 17"/>
          <p:cNvSpPr>
            <a:spLocks noGrp="1"/>
          </p:cNvSpPr>
          <p:nvPr>
            <p:ph type="pic" sz="quarter" idx="15"/>
          </p:nvPr>
        </p:nvSpPr>
        <p:spPr>
          <a:xfrm>
            <a:off x="4748763" y="2699255"/>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17" name="Picture Placeholder 17"/>
          <p:cNvSpPr>
            <a:spLocks noGrp="1"/>
          </p:cNvSpPr>
          <p:nvPr>
            <p:ph type="pic" sz="quarter" idx="16"/>
          </p:nvPr>
        </p:nvSpPr>
        <p:spPr>
          <a:xfrm>
            <a:off x="1238896" y="4373596"/>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18" name="Picture Placeholder 17"/>
          <p:cNvSpPr>
            <a:spLocks noGrp="1"/>
          </p:cNvSpPr>
          <p:nvPr>
            <p:ph type="pic" sz="quarter" idx="17"/>
          </p:nvPr>
        </p:nvSpPr>
        <p:spPr>
          <a:xfrm>
            <a:off x="4748763" y="4373596"/>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19" name="Picture Placeholder 17"/>
          <p:cNvSpPr>
            <a:spLocks noGrp="1"/>
          </p:cNvSpPr>
          <p:nvPr>
            <p:ph type="pic" sz="quarter" idx="18"/>
          </p:nvPr>
        </p:nvSpPr>
        <p:spPr>
          <a:xfrm>
            <a:off x="8234276" y="2699255"/>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20" name="Picture Placeholder 17"/>
          <p:cNvSpPr>
            <a:spLocks noGrp="1"/>
          </p:cNvSpPr>
          <p:nvPr>
            <p:ph type="pic" sz="quarter" idx="19"/>
          </p:nvPr>
        </p:nvSpPr>
        <p:spPr>
          <a:xfrm>
            <a:off x="8234276" y="4373596"/>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Tree>
    <p:extLst>
      <p:ext uri="{BB962C8B-B14F-4D97-AF65-F5344CB8AC3E}">
        <p14:creationId xmlns:p14="http://schemas.microsoft.com/office/powerpoint/2010/main" val="273305866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Logos">
    <p:spTree>
      <p:nvGrpSpPr>
        <p:cNvPr id="1" name=""/>
        <p:cNvGrpSpPr/>
        <p:nvPr/>
      </p:nvGrpSpPr>
      <p:grpSpPr>
        <a:xfrm>
          <a:off x="0" y="0"/>
          <a:ext cx="0" cy="0"/>
          <a:chOff x="0" y="0"/>
          <a:chExt cx="0" cy="0"/>
        </a:xfrm>
      </p:grpSpPr>
      <p:sp>
        <p:nvSpPr>
          <p:cNvPr id="34" name="Picture Placeholder 17"/>
          <p:cNvSpPr>
            <a:spLocks noGrp="1"/>
          </p:cNvSpPr>
          <p:nvPr>
            <p:ph type="pic" sz="quarter" idx="18"/>
          </p:nvPr>
        </p:nvSpPr>
        <p:spPr>
          <a:xfrm>
            <a:off x="1189687" y="1112989"/>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35" name="Picture Placeholder 17"/>
          <p:cNvSpPr>
            <a:spLocks noGrp="1"/>
          </p:cNvSpPr>
          <p:nvPr>
            <p:ph type="pic" sz="quarter" idx="19"/>
          </p:nvPr>
        </p:nvSpPr>
        <p:spPr>
          <a:xfrm>
            <a:off x="2895187" y="1112989"/>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36" name="Picture Placeholder 17"/>
          <p:cNvSpPr>
            <a:spLocks noGrp="1"/>
          </p:cNvSpPr>
          <p:nvPr>
            <p:ph type="pic" sz="quarter" idx="20"/>
          </p:nvPr>
        </p:nvSpPr>
        <p:spPr>
          <a:xfrm>
            <a:off x="4600687" y="1113555"/>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37" name="Picture Placeholder 17"/>
          <p:cNvSpPr>
            <a:spLocks noGrp="1"/>
          </p:cNvSpPr>
          <p:nvPr>
            <p:ph type="pic" sz="quarter" idx="21"/>
          </p:nvPr>
        </p:nvSpPr>
        <p:spPr>
          <a:xfrm>
            <a:off x="1189687" y="2799822"/>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38" name="Picture Placeholder 17"/>
          <p:cNvSpPr>
            <a:spLocks noGrp="1"/>
          </p:cNvSpPr>
          <p:nvPr>
            <p:ph type="pic" sz="quarter" idx="22"/>
          </p:nvPr>
        </p:nvSpPr>
        <p:spPr>
          <a:xfrm>
            <a:off x="2895187" y="2799822"/>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39" name="Picture Placeholder 17"/>
          <p:cNvSpPr>
            <a:spLocks noGrp="1"/>
          </p:cNvSpPr>
          <p:nvPr>
            <p:ph type="pic" sz="quarter" idx="23"/>
          </p:nvPr>
        </p:nvSpPr>
        <p:spPr>
          <a:xfrm>
            <a:off x="4600687" y="2800390"/>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40" name="Picture Placeholder 17"/>
          <p:cNvSpPr>
            <a:spLocks noGrp="1"/>
          </p:cNvSpPr>
          <p:nvPr>
            <p:ph type="pic" sz="quarter" idx="24"/>
          </p:nvPr>
        </p:nvSpPr>
        <p:spPr>
          <a:xfrm>
            <a:off x="1189687" y="4508630"/>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41" name="Picture Placeholder 17"/>
          <p:cNvSpPr>
            <a:spLocks noGrp="1"/>
          </p:cNvSpPr>
          <p:nvPr>
            <p:ph type="pic" sz="quarter" idx="25"/>
          </p:nvPr>
        </p:nvSpPr>
        <p:spPr>
          <a:xfrm>
            <a:off x="2895187" y="4508630"/>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
        <p:nvSpPr>
          <p:cNvPr id="42" name="Picture Placeholder 17"/>
          <p:cNvSpPr>
            <a:spLocks noGrp="1"/>
          </p:cNvSpPr>
          <p:nvPr>
            <p:ph type="pic" sz="quarter" idx="26"/>
          </p:nvPr>
        </p:nvSpPr>
        <p:spPr>
          <a:xfrm>
            <a:off x="4600687" y="4509197"/>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endParaRPr lang="en-US"/>
          </a:p>
        </p:txBody>
      </p:sp>
    </p:spTree>
    <p:extLst>
      <p:ext uri="{BB962C8B-B14F-4D97-AF65-F5344CB8AC3E}">
        <p14:creationId xmlns:p14="http://schemas.microsoft.com/office/powerpoint/2010/main" val="193328749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22_Portfolio Three">
    <p:spTree>
      <p:nvGrpSpPr>
        <p:cNvPr id="1" name=""/>
        <p:cNvGrpSpPr/>
        <p:nvPr/>
      </p:nvGrpSpPr>
      <p:grpSpPr>
        <a:xfrm>
          <a:off x="0" y="0"/>
          <a:ext cx="0" cy="0"/>
          <a:chOff x="0" y="0"/>
          <a:chExt cx="0" cy="0"/>
        </a:xfrm>
      </p:grpSpPr>
      <p:sp>
        <p:nvSpPr>
          <p:cNvPr id="10" name="Picture Placeholder 2"/>
          <p:cNvSpPr>
            <a:spLocks noGrp="1"/>
          </p:cNvSpPr>
          <p:nvPr>
            <p:ph type="pic" sz="quarter" idx="11"/>
          </p:nvPr>
        </p:nvSpPr>
        <p:spPr>
          <a:xfrm>
            <a:off x="722500" y="1980371"/>
            <a:ext cx="2639113" cy="2093389"/>
          </a:xfrm>
          <a:prstGeom prst="rect">
            <a:avLst/>
          </a:prstGeom>
          <a:solidFill>
            <a:schemeClr val="bg1">
              <a:lumMod val="95000"/>
            </a:schemeClr>
          </a:solidFill>
        </p:spPr>
        <p:txBody>
          <a:bodyPr>
            <a:normAutofit/>
          </a:bodyPr>
          <a:lstStyle>
            <a:lvl1pPr>
              <a:defRPr sz="800"/>
            </a:lvl1pPr>
          </a:lstStyle>
          <a:p>
            <a:endParaRPr lang="en-US"/>
          </a:p>
        </p:txBody>
      </p:sp>
      <p:sp>
        <p:nvSpPr>
          <p:cNvPr id="15" name="Picture Placeholder 2"/>
          <p:cNvSpPr>
            <a:spLocks noGrp="1"/>
          </p:cNvSpPr>
          <p:nvPr>
            <p:ph type="pic" sz="quarter" idx="12"/>
          </p:nvPr>
        </p:nvSpPr>
        <p:spPr>
          <a:xfrm>
            <a:off x="3494997" y="1980371"/>
            <a:ext cx="2639113" cy="2093389"/>
          </a:xfrm>
          <a:prstGeom prst="rect">
            <a:avLst/>
          </a:prstGeom>
          <a:solidFill>
            <a:schemeClr val="bg1">
              <a:lumMod val="95000"/>
            </a:schemeClr>
          </a:solidFill>
        </p:spPr>
        <p:txBody>
          <a:bodyPr>
            <a:normAutofit/>
          </a:bodyPr>
          <a:lstStyle>
            <a:lvl1pPr>
              <a:defRPr sz="800"/>
            </a:lvl1pPr>
          </a:lstStyle>
          <a:p>
            <a:endParaRPr lang="en-US"/>
          </a:p>
        </p:txBody>
      </p:sp>
      <p:sp>
        <p:nvSpPr>
          <p:cNvPr id="16" name="Picture Placeholder 2"/>
          <p:cNvSpPr>
            <a:spLocks noGrp="1"/>
          </p:cNvSpPr>
          <p:nvPr>
            <p:ph type="pic" sz="quarter" idx="13"/>
          </p:nvPr>
        </p:nvSpPr>
        <p:spPr>
          <a:xfrm>
            <a:off x="722500" y="4205943"/>
            <a:ext cx="2639113" cy="2093389"/>
          </a:xfrm>
          <a:prstGeom prst="rect">
            <a:avLst/>
          </a:prstGeom>
          <a:solidFill>
            <a:schemeClr val="bg1">
              <a:lumMod val="95000"/>
            </a:schemeClr>
          </a:solidFill>
        </p:spPr>
        <p:txBody>
          <a:bodyPr>
            <a:normAutofit/>
          </a:bodyPr>
          <a:lstStyle>
            <a:lvl1pPr>
              <a:defRPr sz="800"/>
            </a:lvl1pPr>
          </a:lstStyle>
          <a:p>
            <a:endParaRPr lang="en-US"/>
          </a:p>
        </p:txBody>
      </p:sp>
      <p:sp>
        <p:nvSpPr>
          <p:cNvPr id="17" name="Picture Placeholder 2"/>
          <p:cNvSpPr>
            <a:spLocks noGrp="1"/>
          </p:cNvSpPr>
          <p:nvPr>
            <p:ph type="pic" sz="quarter" idx="14"/>
          </p:nvPr>
        </p:nvSpPr>
        <p:spPr>
          <a:xfrm>
            <a:off x="3494997" y="4205942"/>
            <a:ext cx="2639113" cy="2093389"/>
          </a:xfrm>
          <a:prstGeom prst="rect">
            <a:avLst/>
          </a:prstGeom>
          <a:solidFill>
            <a:schemeClr val="bg1">
              <a:lumMod val="95000"/>
            </a:schemeClr>
          </a:solidFill>
        </p:spPr>
        <p:txBody>
          <a:bodyPr>
            <a:normAutofit/>
          </a:bodyPr>
          <a:lstStyle>
            <a:lvl1pPr>
              <a:defRPr sz="800"/>
            </a:lvl1pPr>
          </a:lstStyle>
          <a:p>
            <a:endParaRPr lang="en-US"/>
          </a:p>
        </p:txBody>
      </p:sp>
    </p:spTree>
    <p:extLst>
      <p:ext uri="{BB962C8B-B14F-4D97-AF65-F5344CB8AC3E}">
        <p14:creationId xmlns:p14="http://schemas.microsoft.com/office/powerpoint/2010/main" val="425149258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4 Images">
    <p:spTree>
      <p:nvGrpSpPr>
        <p:cNvPr id="1" name=""/>
        <p:cNvGrpSpPr/>
        <p:nvPr/>
      </p:nvGrpSpPr>
      <p:grpSpPr>
        <a:xfrm>
          <a:off x="0" y="0"/>
          <a:ext cx="0" cy="0"/>
          <a:chOff x="0" y="0"/>
          <a:chExt cx="0" cy="0"/>
        </a:xfrm>
      </p:grpSpPr>
      <p:sp>
        <p:nvSpPr>
          <p:cNvPr id="46" name="Picture Placeholder 13"/>
          <p:cNvSpPr>
            <a:spLocks noGrp="1"/>
          </p:cNvSpPr>
          <p:nvPr>
            <p:ph type="pic" sz="quarter" idx="13"/>
          </p:nvPr>
        </p:nvSpPr>
        <p:spPr>
          <a:xfrm>
            <a:off x="0" y="3383407"/>
            <a:ext cx="1705800" cy="1714500"/>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47" name="Picture Placeholder 13"/>
          <p:cNvSpPr>
            <a:spLocks noGrp="1"/>
          </p:cNvSpPr>
          <p:nvPr>
            <p:ph type="pic" sz="quarter" idx="14"/>
          </p:nvPr>
        </p:nvSpPr>
        <p:spPr>
          <a:xfrm>
            <a:off x="1741409" y="3383407"/>
            <a:ext cx="1705800" cy="1714500"/>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49" name="Picture Placeholder 13"/>
          <p:cNvSpPr>
            <a:spLocks noGrp="1"/>
          </p:cNvSpPr>
          <p:nvPr>
            <p:ph type="pic" sz="quarter" idx="16"/>
          </p:nvPr>
        </p:nvSpPr>
        <p:spPr>
          <a:xfrm>
            <a:off x="5232031" y="3383407"/>
            <a:ext cx="1705800" cy="1714500"/>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50" name="Picture Placeholder 13"/>
          <p:cNvSpPr>
            <a:spLocks noGrp="1"/>
          </p:cNvSpPr>
          <p:nvPr>
            <p:ph type="pic" sz="quarter" idx="17"/>
          </p:nvPr>
        </p:nvSpPr>
        <p:spPr>
          <a:xfrm>
            <a:off x="6994081" y="3383407"/>
            <a:ext cx="1705800" cy="1714500"/>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51" name="Picture Placeholder 13"/>
          <p:cNvSpPr>
            <a:spLocks noGrp="1"/>
          </p:cNvSpPr>
          <p:nvPr>
            <p:ph type="pic" sz="quarter" idx="18"/>
          </p:nvPr>
        </p:nvSpPr>
        <p:spPr>
          <a:xfrm>
            <a:off x="8743295" y="3383407"/>
            <a:ext cx="1705800" cy="1714500"/>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53" name="Picture Placeholder 13"/>
          <p:cNvSpPr>
            <a:spLocks noGrp="1"/>
          </p:cNvSpPr>
          <p:nvPr>
            <p:ph type="pic" sz="quarter" idx="20"/>
          </p:nvPr>
        </p:nvSpPr>
        <p:spPr>
          <a:xfrm>
            <a:off x="0" y="5150618"/>
            <a:ext cx="1705800" cy="1707383"/>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55" name="Picture Placeholder 13"/>
          <p:cNvSpPr>
            <a:spLocks noGrp="1"/>
          </p:cNvSpPr>
          <p:nvPr>
            <p:ph type="pic" sz="quarter" idx="22"/>
          </p:nvPr>
        </p:nvSpPr>
        <p:spPr>
          <a:xfrm>
            <a:off x="3490621" y="5150618"/>
            <a:ext cx="1705800" cy="1707383"/>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56" name="Picture Placeholder 13"/>
          <p:cNvSpPr>
            <a:spLocks noGrp="1"/>
          </p:cNvSpPr>
          <p:nvPr>
            <p:ph type="pic" sz="quarter" idx="23"/>
          </p:nvPr>
        </p:nvSpPr>
        <p:spPr>
          <a:xfrm>
            <a:off x="5232031" y="5150618"/>
            <a:ext cx="1705800" cy="1707383"/>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58" name="Picture Placeholder 13"/>
          <p:cNvSpPr>
            <a:spLocks noGrp="1"/>
          </p:cNvSpPr>
          <p:nvPr>
            <p:ph type="pic" sz="quarter" idx="25"/>
          </p:nvPr>
        </p:nvSpPr>
        <p:spPr>
          <a:xfrm>
            <a:off x="8743295" y="5150618"/>
            <a:ext cx="1705800" cy="1707383"/>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59" name="Picture Placeholder 13"/>
          <p:cNvSpPr>
            <a:spLocks noGrp="1"/>
          </p:cNvSpPr>
          <p:nvPr>
            <p:ph type="pic" sz="quarter" idx="26"/>
          </p:nvPr>
        </p:nvSpPr>
        <p:spPr>
          <a:xfrm>
            <a:off x="10484703" y="5150618"/>
            <a:ext cx="1705800" cy="1707383"/>
          </a:xfrm>
          <a:prstGeom prst="rect">
            <a:avLst/>
          </a:prstGeom>
          <a:solidFill>
            <a:schemeClr val="bg1">
              <a:lumMod val="95000"/>
            </a:schemeClr>
          </a:solidFill>
          <a:effectLst/>
        </p:spPr>
        <p:txBody>
          <a:bodyPr>
            <a:normAutofit/>
          </a:bodyPr>
          <a:lstStyle>
            <a:lvl1pPr marL="0" indent="0">
              <a:buNone/>
              <a:defRPr sz="1800">
                <a:ln>
                  <a:noFill/>
                </a:ln>
                <a:solidFill>
                  <a:schemeClr val="bg1">
                    <a:lumMod val="85000"/>
                  </a:schemeClr>
                </a:solidFill>
              </a:defRPr>
            </a:lvl1pPr>
          </a:lstStyle>
          <a:p>
            <a:endParaRPr lang="en-US"/>
          </a:p>
        </p:txBody>
      </p:sp>
      <p:sp>
        <p:nvSpPr>
          <p:cNvPr id="25"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26"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27" name="Picture 26"/>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28" name="Straight Connector 27"/>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738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7_Placeholder">
    <p:spTree>
      <p:nvGrpSpPr>
        <p:cNvPr id="1" name=""/>
        <p:cNvGrpSpPr/>
        <p:nvPr/>
      </p:nvGrpSpPr>
      <p:grpSpPr>
        <a:xfrm>
          <a:off x="0" y="0"/>
          <a:ext cx="0" cy="0"/>
          <a:chOff x="0" y="0"/>
          <a:chExt cx="0" cy="0"/>
        </a:xfrm>
      </p:grpSpPr>
      <p:sp>
        <p:nvSpPr>
          <p:cNvPr id="12" name="Picture Placeholder 2"/>
          <p:cNvSpPr>
            <a:spLocks noGrp="1"/>
          </p:cNvSpPr>
          <p:nvPr>
            <p:ph type="pic" sz="quarter" idx="14"/>
          </p:nvPr>
        </p:nvSpPr>
        <p:spPr>
          <a:xfrm>
            <a:off x="-1" y="1491367"/>
            <a:ext cx="9410220" cy="3305907"/>
          </a:xfrm>
          <a:prstGeom prst="rect">
            <a:avLst/>
          </a:prstGeom>
          <a:solidFill>
            <a:schemeClr val="bg1">
              <a:lumMod val="95000"/>
            </a:schemeClr>
          </a:solidFill>
        </p:spPr>
        <p:txBody>
          <a:bodyPr>
            <a:normAutofit/>
          </a:bodyPr>
          <a:lstStyle>
            <a:lvl1pPr>
              <a:defRPr sz="1400"/>
            </a:lvl1pPr>
          </a:lstStyle>
          <a:p>
            <a:endParaRPr lang="en-US"/>
          </a:p>
        </p:txBody>
      </p:sp>
      <p:sp>
        <p:nvSpPr>
          <p:cNvPr id="17" name="Picture Placeholder 2"/>
          <p:cNvSpPr>
            <a:spLocks noGrp="1"/>
          </p:cNvSpPr>
          <p:nvPr>
            <p:ph type="pic" sz="quarter" idx="16"/>
          </p:nvPr>
        </p:nvSpPr>
        <p:spPr>
          <a:xfrm>
            <a:off x="9410221" y="1"/>
            <a:ext cx="2781780" cy="3305907"/>
          </a:xfrm>
          <a:prstGeom prst="rect">
            <a:avLst/>
          </a:prstGeom>
          <a:solidFill>
            <a:schemeClr val="bg1">
              <a:lumMod val="95000"/>
            </a:schemeClr>
          </a:solidFill>
        </p:spPr>
        <p:txBody>
          <a:bodyPr>
            <a:normAutofit/>
          </a:bodyPr>
          <a:lstStyle>
            <a:lvl1pPr>
              <a:defRPr sz="1400"/>
            </a:lvl1pPr>
          </a:lstStyle>
          <a:p>
            <a:endParaRPr lang="en-US"/>
          </a:p>
        </p:txBody>
      </p:sp>
      <p:sp>
        <p:nvSpPr>
          <p:cNvPr id="18" name="Picture Placeholder 2"/>
          <p:cNvSpPr>
            <a:spLocks noGrp="1"/>
          </p:cNvSpPr>
          <p:nvPr>
            <p:ph type="pic" sz="quarter" idx="17"/>
          </p:nvPr>
        </p:nvSpPr>
        <p:spPr>
          <a:xfrm>
            <a:off x="9410221" y="3305909"/>
            <a:ext cx="2781780" cy="3552092"/>
          </a:xfrm>
          <a:prstGeom prst="rect">
            <a:avLst/>
          </a:prstGeom>
          <a:solidFill>
            <a:schemeClr val="bg1">
              <a:lumMod val="95000"/>
            </a:schemeClr>
          </a:solidFill>
        </p:spPr>
        <p:txBody>
          <a:bodyPr>
            <a:normAutofit/>
          </a:bodyPr>
          <a:lstStyle>
            <a:lvl1pPr>
              <a:defRPr sz="1400"/>
            </a:lvl1pPr>
          </a:lstStyle>
          <a:p>
            <a:endParaRPr lang="en-US"/>
          </a:p>
        </p:txBody>
      </p:sp>
      <p:sp>
        <p:nvSpPr>
          <p:cNvPr id="10"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1"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4" name="Straight Connector 13"/>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1746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1231013" y="377077"/>
            <a:ext cx="9308651" cy="890587"/>
          </a:xfrm>
        </p:spPr>
        <p:txBody>
          <a:bodyPr/>
          <a:lstStyle/>
          <a:p>
            <a:r>
              <a:rPr lang="en-US"/>
              <a:t>Click to edit Master title style</a:t>
            </a:r>
          </a:p>
        </p:txBody>
      </p:sp>
      <p:sp>
        <p:nvSpPr>
          <p:cNvPr id="3" name="Content Placeholder 2"/>
          <p:cNvSpPr>
            <a:spLocks noGrp="1"/>
          </p:cNvSpPr>
          <p:nvPr>
            <p:ph idx="1"/>
          </p:nvPr>
        </p:nvSpPr>
        <p:spPr>
          <a:xfrm>
            <a:off x="1234021" y="1778000"/>
            <a:ext cx="10621097" cy="4455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11290300" y="6375259"/>
            <a:ext cx="742952" cy="357812"/>
          </a:xfrm>
          <a:prstGeom prst="rect">
            <a:avLst/>
          </a:prstGeom>
        </p:spPr>
        <p:txBody>
          <a:bodyPr anchor="b" anchorCtr="0"/>
          <a:lstStyle>
            <a:lvl1pPr algn="r">
              <a:defRPr sz="1600">
                <a:solidFill>
                  <a:schemeClr val="bg1">
                    <a:lumMod val="50000"/>
                  </a:schemeClr>
                </a:solidFill>
              </a:defRPr>
            </a:lvl1pPr>
          </a:lstStyle>
          <a:p>
            <a:fld id="{8A661967-8D01-4D8A-8FD0-86F83ECE6BD1}" type="slidenum">
              <a:rPr lang="en-US" smtClean="0">
                <a:solidFill>
                  <a:srgbClr val="FFFFFF">
                    <a:lumMod val="50000"/>
                  </a:srgbClr>
                </a:solidFill>
              </a:rPr>
              <a:pPr/>
              <a:t>‹#›</a:t>
            </a:fld>
            <a:endParaRPr lang="en-US">
              <a:solidFill>
                <a:srgbClr val="FFFFFF">
                  <a:lumMod val="50000"/>
                </a:srgbClr>
              </a:solidFill>
            </a:endParaRPr>
          </a:p>
        </p:txBody>
      </p:sp>
      <p:sp>
        <p:nvSpPr>
          <p:cNvPr id="7" name="Footer Placeholder 4"/>
          <p:cNvSpPr>
            <a:spLocks noGrp="1"/>
          </p:cNvSpPr>
          <p:nvPr>
            <p:ph type="ftr" sz="quarter" idx="3"/>
          </p:nvPr>
        </p:nvSpPr>
        <p:spPr>
          <a:xfrm>
            <a:off x="1231012" y="6356353"/>
            <a:ext cx="4114800" cy="366183"/>
          </a:xfrm>
          <a:prstGeom prst="rect">
            <a:avLst/>
          </a:prstGeom>
        </p:spPr>
        <p:txBody>
          <a:bodyPr vert="horz" lIns="0" tIns="45720" rIns="91440" bIns="45720" rtlCol="0" anchor="b" anchorCtr="0"/>
          <a:lstStyle>
            <a:lvl1pPr algn="ctr">
              <a:defRPr sz="1333">
                <a:solidFill>
                  <a:schemeClr val="tx1">
                    <a:tint val="75000"/>
                  </a:schemeClr>
                </a:solidFill>
              </a:defRPr>
            </a:lvl1pPr>
          </a:lstStyle>
          <a:p>
            <a:pPr algn="l"/>
            <a:r>
              <a:rPr lang="en-US">
                <a:solidFill>
                  <a:srgbClr val="000000">
                    <a:tint val="75000"/>
                  </a:srgbClr>
                </a:solidFill>
              </a:rPr>
              <a:t>Insert Data Classification</a:t>
            </a:r>
          </a:p>
        </p:txBody>
      </p:sp>
    </p:spTree>
    <p:extLst>
      <p:ext uri="{BB962C8B-B14F-4D97-AF65-F5344CB8AC3E}">
        <p14:creationId xmlns:p14="http://schemas.microsoft.com/office/powerpoint/2010/main" val="37717309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9_Placeholder">
    <p:spTree>
      <p:nvGrpSpPr>
        <p:cNvPr id="1" name=""/>
        <p:cNvGrpSpPr/>
        <p:nvPr/>
      </p:nvGrpSpPr>
      <p:grpSpPr>
        <a:xfrm>
          <a:off x="0" y="0"/>
          <a:ext cx="0" cy="0"/>
          <a:chOff x="0" y="0"/>
          <a:chExt cx="0" cy="0"/>
        </a:xfrm>
      </p:grpSpPr>
      <p:sp>
        <p:nvSpPr>
          <p:cNvPr id="14" name="Picture Placeholder 2"/>
          <p:cNvSpPr>
            <a:spLocks noGrp="1"/>
          </p:cNvSpPr>
          <p:nvPr>
            <p:ph type="pic" sz="quarter" idx="16"/>
          </p:nvPr>
        </p:nvSpPr>
        <p:spPr>
          <a:xfrm>
            <a:off x="1" y="0"/>
            <a:ext cx="3046420" cy="2895600"/>
          </a:xfrm>
          <a:prstGeom prst="rect">
            <a:avLst/>
          </a:prstGeom>
          <a:solidFill>
            <a:schemeClr val="bg1">
              <a:lumMod val="95000"/>
            </a:schemeClr>
          </a:solidFill>
        </p:spPr>
        <p:txBody>
          <a:bodyPr>
            <a:normAutofit/>
          </a:bodyPr>
          <a:lstStyle>
            <a:lvl1pPr>
              <a:defRPr sz="1400"/>
            </a:lvl1pPr>
          </a:lstStyle>
          <a:p>
            <a:endParaRPr lang="en-US"/>
          </a:p>
        </p:txBody>
      </p:sp>
      <p:sp>
        <p:nvSpPr>
          <p:cNvPr id="15" name="Picture Placeholder 2"/>
          <p:cNvSpPr>
            <a:spLocks noGrp="1"/>
          </p:cNvSpPr>
          <p:nvPr>
            <p:ph type="pic" sz="quarter" idx="17"/>
          </p:nvPr>
        </p:nvSpPr>
        <p:spPr>
          <a:xfrm>
            <a:off x="3046421" y="0"/>
            <a:ext cx="3046420" cy="2895600"/>
          </a:xfrm>
          <a:prstGeom prst="rect">
            <a:avLst/>
          </a:prstGeom>
          <a:solidFill>
            <a:schemeClr val="bg1">
              <a:lumMod val="95000"/>
            </a:schemeClr>
          </a:solidFill>
        </p:spPr>
        <p:txBody>
          <a:bodyPr>
            <a:normAutofit/>
          </a:bodyPr>
          <a:lstStyle>
            <a:lvl1pPr>
              <a:defRPr sz="1400"/>
            </a:lvl1pPr>
          </a:lstStyle>
          <a:p>
            <a:endParaRPr lang="en-US"/>
          </a:p>
        </p:txBody>
      </p:sp>
      <p:sp>
        <p:nvSpPr>
          <p:cNvPr id="19" name="Picture Placeholder 2"/>
          <p:cNvSpPr>
            <a:spLocks noGrp="1"/>
          </p:cNvSpPr>
          <p:nvPr>
            <p:ph type="pic" sz="quarter" idx="18"/>
          </p:nvPr>
        </p:nvSpPr>
        <p:spPr>
          <a:xfrm>
            <a:off x="6096001" y="0"/>
            <a:ext cx="3046420" cy="2895600"/>
          </a:xfrm>
          <a:prstGeom prst="rect">
            <a:avLst/>
          </a:prstGeom>
          <a:solidFill>
            <a:schemeClr val="bg1">
              <a:lumMod val="95000"/>
            </a:schemeClr>
          </a:solidFill>
        </p:spPr>
        <p:txBody>
          <a:bodyPr>
            <a:normAutofit/>
          </a:bodyPr>
          <a:lstStyle>
            <a:lvl1pPr>
              <a:defRPr sz="1400"/>
            </a:lvl1pPr>
          </a:lstStyle>
          <a:p>
            <a:endParaRPr lang="en-US"/>
          </a:p>
        </p:txBody>
      </p:sp>
      <p:sp>
        <p:nvSpPr>
          <p:cNvPr id="20" name="Picture Placeholder 2"/>
          <p:cNvSpPr>
            <a:spLocks noGrp="1"/>
          </p:cNvSpPr>
          <p:nvPr>
            <p:ph type="pic" sz="quarter" idx="19"/>
          </p:nvPr>
        </p:nvSpPr>
        <p:spPr>
          <a:xfrm>
            <a:off x="9142421" y="0"/>
            <a:ext cx="3046420" cy="28956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21356486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0_Placeholder">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1" y="1"/>
            <a:ext cx="3046420" cy="3360809"/>
          </a:xfrm>
          <a:prstGeom prst="rect">
            <a:avLst/>
          </a:prstGeom>
          <a:solidFill>
            <a:schemeClr val="bg1">
              <a:lumMod val="95000"/>
            </a:schemeClr>
          </a:solidFill>
        </p:spPr>
        <p:txBody>
          <a:bodyPr>
            <a:normAutofit/>
          </a:bodyPr>
          <a:lstStyle>
            <a:lvl1pPr>
              <a:defRPr sz="1400"/>
            </a:lvl1pPr>
          </a:lstStyle>
          <a:p>
            <a:endParaRPr lang="en-US"/>
          </a:p>
        </p:txBody>
      </p:sp>
      <p:sp>
        <p:nvSpPr>
          <p:cNvPr id="22" name="Picture Placeholder 2"/>
          <p:cNvSpPr>
            <a:spLocks noGrp="1"/>
          </p:cNvSpPr>
          <p:nvPr>
            <p:ph type="pic" sz="quarter" idx="19"/>
          </p:nvPr>
        </p:nvSpPr>
        <p:spPr>
          <a:xfrm>
            <a:off x="3185607" y="1"/>
            <a:ext cx="3046420" cy="3360809"/>
          </a:xfrm>
          <a:prstGeom prst="rect">
            <a:avLst/>
          </a:prstGeom>
          <a:solidFill>
            <a:schemeClr val="bg1">
              <a:lumMod val="95000"/>
            </a:schemeClr>
          </a:solidFill>
        </p:spPr>
        <p:txBody>
          <a:bodyPr>
            <a:normAutofit/>
          </a:bodyPr>
          <a:lstStyle>
            <a:lvl1pPr>
              <a:defRPr sz="1400"/>
            </a:lvl1pPr>
          </a:lstStyle>
          <a:p>
            <a:endParaRPr lang="en-US"/>
          </a:p>
        </p:txBody>
      </p:sp>
      <p:sp>
        <p:nvSpPr>
          <p:cNvPr id="23" name="Picture Placeholder 2"/>
          <p:cNvSpPr>
            <a:spLocks noGrp="1"/>
          </p:cNvSpPr>
          <p:nvPr>
            <p:ph type="pic" sz="quarter" idx="20"/>
          </p:nvPr>
        </p:nvSpPr>
        <p:spPr>
          <a:xfrm>
            <a:off x="1" y="3497193"/>
            <a:ext cx="3046420" cy="3360809"/>
          </a:xfrm>
          <a:prstGeom prst="rect">
            <a:avLst/>
          </a:prstGeom>
          <a:solidFill>
            <a:schemeClr val="bg1">
              <a:lumMod val="95000"/>
            </a:schemeClr>
          </a:solidFill>
        </p:spPr>
        <p:txBody>
          <a:bodyPr>
            <a:normAutofit/>
          </a:bodyPr>
          <a:lstStyle>
            <a:lvl1pPr>
              <a:defRPr sz="1400"/>
            </a:lvl1pPr>
          </a:lstStyle>
          <a:p>
            <a:endParaRPr lang="en-US"/>
          </a:p>
        </p:txBody>
      </p:sp>
      <p:sp>
        <p:nvSpPr>
          <p:cNvPr id="24" name="Picture Placeholder 2"/>
          <p:cNvSpPr>
            <a:spLocks noGrp="1"/>
          </p:cNvSpPr>
          <p:nvPr>
            <p:ph type="pic" sz="quarter" idx="21"/>
          </p:nvPr>
        </p:nvSpPr>
        <p:spPr>
          <a:xfrm>
            <a:off x="3185607" y="3497193"/>
            <a:ext cx="3030525" cy="3360809"/>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317772898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1_Placeholder">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5959974" y="1"/>
            <a:ext cx="3046420" cy="3360809"/>
          </a:xfrm>
          <a:prstGeom prst="rect">
            <a:avLst/>
          </a:prstGeom>
          <a:solidFill>
            <a:schemeClr val="bg1">
              <a:lumMod val="95000"/>
            </a:schemeClr>
          </a:solidFill>
        </p:spPr>
        <p:txBody>
          <a:bodyPr>
            <a:normAutofit/>
          </a:bodyPr>
          <a:lstStyle>
            <a:lvl1pPr>
              <a:defRPr sz="1400"/>
            </a:lvl1pPr>
          </a:lstStyle>
          <a:p>
            <a:endParaRPr lang="en-US"/>
          </a:p>
        </p:txBody>
      </p:sp>
      <p:sp>
        <p:nvSpPr>
          <p:cNvPr id="22" name="Picture Placeholder 2"/>
          <p:cNvSpPr>
            <a:spLocks noGrp="1"/>
          </p:cNvSpPr>
          <p:nvPr>
            <p:ph type="pic" sz="quarter" idx="19"/>
          </p:nvPr>
        </p:nvSpPr>
        <p:spPr>
          <a:xfrm>
            <a:off x="9145581" y="1"/>
            <a:ext cx="3046420" cy="3360809"/>
          </a:xfrm>
          <a:prstGeom prst="rect">
            <a:avLst/>
          </a:prstGeom>
          <a:solidFill>
            <a:schemeClr val="bg1">
              <a:lumMod val="95000"/>
            </a:schemeClr>
          </a:solidFill>
        </p:spPr>
        <p:txBody>
          <a:bodyPr>
            <a:normAutofit/>
          </a:bodyPr>
          <a:lstStyle>
            <a:lvl1pPr>
              <a:defRPr sz="1400"/>
            </a:lvl1pPr>
          </a:lstStyle>
          <a:p>
            <a:endParaRPr lang="en-US"/>
          </a:p>
        </p:txBody>
      </p:sp>
      <p:sp>
        <p:nvSpPr>
          <p:cNvPr id="23" name="Picture Placeholder 2"/>
          <p:cNvSpPr>
            <a:spLocks noGrp="1"/>
          </p:cNvSpPr>
          <p:nvPr>
            <p:ph type="pic" sz="quarter" idx="20"/>
          </p:nvPr>
        </p:nvSpPr>
        <p:spPr>
          <a:xfrm>
            <a:off x="5959974" y="3497193"/>
            <a:ext cx="3046420" cy="3360809"/>
          </a:xfrm>
          <a:prstGeom prst="rect">
            <a:avLst/>
          </a:prstGeom>
          <a:solidFill>
            <a:schemeClr val="bg1">
              <a:lumMod val="95000"/>
            </a:schemeClr>
          </a:solidFill>
        </p:spPr>
        <p:txBody>
          <a:bodyPr>
            <a:normAutofit/>
          </a:bodyPr>
          <a:lstStyle>
            <a:lvl1pPr>
              <a:defRPr sz="1400"/>
            </a:lvl1pPr>
          </a:lstStyle>
          <a:p>
            <a:endParaRPr lang="en-US"/>
          </a:p>
        </p:txBody>
      </p:sp>
      <p:sp>
        <p:nvSpPr>
          <p:cNvPr id="24" name="Picture Placeholder 2"/>
          <p:cNvSpPr>
            <a:spLocks noGrp="1"/>
          </p:cNvSpPr>
          <p:nvPr>
            <p:ph type="pic" sz="quarter" idx="21"/>
          </p:nvPr>
        </p:nvSpPr>
        <p:spPr>
          <a:xfrm>
            <a:off x="9145580" y="3497193"/>
            <a:ext cx="3030525" cy="3360809"/>
          </a:xfrm>
          <a:prstGeom prst="rect">
            <a:avLst/>
          </a:prstGeom>
          <a:solidFill>
            <a:schemeClr val="bg1">
              <a:lumMod val="95000"/>
            </a:schemeClr>
          </a:solidFill>
        </p:spPr>
        <p:txBody>
          <a:bodyPr>
            <a:normAutofit/>
          </a:bodyPr>
          <a:lstStyle>
            <a:lvl1pPr>
              <a:defRPr sz="1400"/>
            </a:lvl1pPr>
          </a:lstStyle>
          <a:p>
            <a:endParaRPr lang="en-US"/>
          </a:p>
        </p:txBody>
      </p:sp>
      <p:sp>
        <p:nvSpPr>
          <p:cNvPr id="11"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2"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4" name="Straight Connector 13"/>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954758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3_Placeholder">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1" y="1"/>
            <a:ext cx="2461332" cy="3390900"/>
          </a:xfrm>
          <a:prstGeom prst="rect">
            <a:avLst/>
          </a:prstGeom>
          <a:solidFill>
            <a:schemeClr val="bg1">
              <a:lumMod val="95000"/>
            </a:schemeClr>
          </a:solidFill>
        </p:spPr>
        <p:txBody>
          <a:bodyPr>
            <a:normAutofit/>
          </a:bodyPr>
          <a:lstStyle>
            <a:lvl1pPr>
              <a:defRPr sz="1400"/>
            </a:lvl1pPr>
          </a:lstStyle>
          <a:p>
            <a:endParaRPr lang="en-US"/>
          </a:p>
        </p:txBody>
      </p:sp>
      <p:sp>
        <p:nvSpPr>
          <p:cNvPr id="18" name="Picture Placeholder 2"/>
          <p:cNvSpPr>
            <a:spLocks noGrp="1"/>
          </p:cNvSpPr>
          <p:nvPr>
            <p:ph type="pic" sz="quarter" idx="22"/>
          </p:nvPr>
        </p:nvSpPr>
        <p:spPr>
          <a:xfrm>
            <a:off x="251" y="3490216"/>
            <a:ext cx="2461332" cy="3367785"/>
          </a:xfrm>
          <a:prstGeom prst="rect">
            <a:avLst/>
          </a:prstGeom>
          <a:solidFill>
            <a:schemeClr val="bg1">
              <a:lumMod val="95000"/>
            </a:schemeClr>
          </a:solidFill>
        </p:spPr>
        <p:txBody>
          <a:bodyPr>
            <a:normAutofit/>
          </a:bodyPr>
          <a:lstStyle>
            <a:lvl1pPr>
              <a:defRPr sz="1400"/>
            </a:lvl1pPr>
          </a:lstStyle>
          <a:p>
            <a:endParaRPr lang="en-US"/>
          </a:p>
        </p:txBody>
      </p:sp>
      <p:sp>
        <p:nvSpPr>
          <p:cNvPr id="19" name="Picture Placeholder 2"/>
          <p:cNvSpPr>
            <a:spLocks noGrp="1"/>
          </p:cNvSpPr>
          <p:nvPr>
            <p:ph type="pic" sz="quarter" idx="23"/>
          </p:nvPr>
        </p:nvSpPr>
        <p:spPr>
          <a:xfrm>
            <a:off x="2570610" y="1"/>
            <a:ext cx="2420135" cy="2494759"/>
          </a:xfrm>
          <a:prstGeom prst="rect">
            <a:avLst/>
          </a:prstGeom>
          <a:solidFill>
            <a:schemeClr val="bg1">
              <a:lumMod val="95000"/>
            </a:schemeClr>
          </a:solidFill>
        </p:spPr>
        <p:txBody>
          <a:bodyPr>
            <a:normAutofit/>
          </a:bodyPr>
          <a:lstStyle>
            <a:lvl1pPr>
              <a:defRPr sz="1400"/>
            </a:lvl1pPr>
          </a:lstStyle>
          <a:p>
            <a:endParaRPr lang="en-US"/>
          </a:p>
        </p:txBody>
      </p:sp>
      <p:sp>
        <p:nvSpPr>
          <p:cNvPr id="20" name="Picture Placeholder 2"/>
          <p:cNvSpPr>
            <a:spLocks noGrp="1"/>
          </p:cNvSpPr>
          <p:nvPr>
            <p:ph type="pic" sz="quarter" idx="24"/>
          </p:nvPr>
        </p:nvSpPr>
        <p:spPr>
          <a:xfrm>
            <a:off x="2570610" y="2594074"/>
            <a:ext cx="2420135" cy="4263927"/>
          </a:xfrm>
          <a:prstGeom prst="rect">
            <a:avLst/>
          </a:prstGeom>
          <a:solidFill>
            <a:schemeClr val="bg1">
              <a:lumMod val="95000"/>
            </a:schemeClr>
          </a:solidFill>
        </p:spPr>
        <p:txBody>
          <a:bodyPr>
            <a:normAutofit/>
          </a:bodyPr>
          <a:lstStyle>
            <a:lvl1pPr>
              <a:defRPr sz="1400"/>
            </a:lvl1pPr>
          </a:lstStyle>
          <a:p>
            <a:endParaRPr lang="en-US"/>
          </a:p>
        </p:txBody>
      </p:sp>
      <p:sp>
        <p:nvSpPr>
          <p:cNvPr id="25" name="Picture Placeholder 2"/>
          <p:cNvSpPr>
            <a:spLocks noGrp="1"/>
          </p:cNvSpPr>
          <p:nvPr>
            <p:ph type="pic" sz="quarter" idx="25"/>
          </p:nvPr>
        </p:nvSpPr>
        <p:spPr>
          <a:xfrm>
            <a:off x="5109708" y="0"/>
            <a:ext cx="2429569" cy="4691269"/>
          </a:xfrm>
          <a:prstGeom prst="rect">
            <a:avLst/>
          </a:prstGeom>
          <a:solidFill>
            <a:schemeClr val="bg1">
              <a:lumMod val="95000"/>
            </a:schemeClr>
          </a:solidFill>
        </p:spPr>
        <p:txBody>
          <a:bodyPr>
            <a:normAutofit/>
          </a:bodyPr>
          <a:lstStyle>
            <a:lvl1pPr>
              <a:defRPr sz="1400"/>
            </a:lvl1pPr>
          </a:lstStyle>
          <a:p>
            <a:endParaRPr lang="en-US"/>
          </a:p>
        </p:txBody>
      </p:sp>
      <p:sp>
        <p:nvSpPr>
          <p:cNvPr id="26" name="Picture Placeholder 2"/>
          <p:cNvSpPr>
            <a:spLocks noGrp="1"/>
          </p:cNvSpPr>
          <p:nvPr>
            <p:ph type="pic" sz="quarter" idx="26"/>
          </p:nvPr>
        </p:nvSpPr>
        <p:spPr>
          <a:xfrm>
            <a:off x="5099772" y="4790584"/>
            <a:ext cx="2439505" cy="2067416"/>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206770728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2_Placeholder">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4652725" y="1"/>
            <a:ext cx="2461332" cy="3390900"/>
          </a:xfrm>
          <a:prstGeom prst="rect">
            <a:avLst/>
          </a:prstGeom>
          <a:solidFill>
            <a:schemeClr val="bg1">
              <a:lumMod val="95000"/>
            </a:schemeClr>
          </a:solidFill>
        </p:spPr>
        <p:txBody>
          <a:bodyPr>
            <a:normAutofit/>
          </a:bodyPr>
          <a:lstStyle>
            <a:lvl1pPr>
              <a:defRPr sz="1400"/>
            </a:lvl1pPr>
          </a:lstStyle>
          <a:p>
            <a:endParaRPr lang="en-US"/>
          </a:p>
        </p:txBody>
      </p:sp>
      <p:sp>
        <p:nvSpPr>
          <p:cNvPr id="18" name="Picture Placeholder 2"/>
          <p:cNvSpPr>
            <a:spLocks noGrp="1"/>
          </p:cNvSpPr>
          <p:nvPr>
            <p:ph type="pic" sz="quarter" idx="22"/>
          </p:nvPr>
        </p:nvSpPr>
        <p:spPr>
          <a:xfrm>
            <a:off x="4652975" y="3490216"/>
            <a:ext cx="2461332" cy="3367785"/>
          </a:xfrm>
          <a:prstGeom prst="rect">
            <a:avLst/>
          </a:prstGeom>
          <a:solidFill>
            <a:schemeClr val="bg1">
              <a:lumMod val="95000"/>
            </a:schemeClr>
          </a:solidFill>
        </p:spPr>
        <p:txBody>
          <a:bodyPr>
            <a:normAutofit/>
          </a:bodyPr>
          <a:lstStyle>
            <a:lvl1pPr>
              <a:defRPr sz="1400"/>
            </a:lvl1pPr>
          </a:lstStyle>
          <a:p>
            <a:endParaRPr lang="en-US"/>
          </a:p>
        </p:txBody>
      </p:sp>
      <p:sp>
        <p:nvSpPr>
          <p:cNvPr id="19" name="Picture Placeholder 2"/>
          <p:cNvSpPr>
            <a:spLocks noGrp="1"/>
          </p:cNvSpPr>
          <p:nvPr>
            <p:ph type="pic" sz="quarter" idx="23"/>
          </p:nvPr>
        </p:nvSpPr>
        <p:spPr>
          <a:xfrm>
            <a:off x="7223334" y="1"/>
            <a:ext cx="2420135" cy="2494759"/>
          </a:xfrm>
          <a:prstGeom prst="rect">
            <a:avLst/>
          </a:prstGeom>
          <a:solidFill>
            <a:schemeClr val="bg1">
              <a:lumMod val="95000"/>
            </a:schemeClr>
          </a:solidFill>
        </p:spPr>
        <p:txBody>
          <a:bodyPr>
            <a:normAutofit/>
          </a:bodyPr>
          <a:lstStyle>
            <a:lvl1pPr>
              <a:defRPr sz="1400"/>
            </a:lvl1pPr>
          </a:lstStyle>
          <a:p>
            <a:endParaRPr lang="en-US"/>
          </a:p>
        </p:txBody>
      </p:sp>
      <p:sp>
        <p:nvSpPr>
          <p:cNvPr id="20" name="Picture Placeholder 2"/>
          <p:cNvSpPr>
            <a:spLocks noGrp="1"/>
          </p:cNvSpPr>
          <p:nvPr>
            <p:ph type="pic" sz="quarter" idx="24"/>
          </p:nvPr>
        </p:nvSpPr>
        <p:spPr>
          <a:xfrm>
            <a:off x="7223334" y="2594074"/>
            <a:ext cx="2420135" cy="4263927"/>
          </a:xfrm>
          <a:prstGeom prst="rect">
            <a:avLst/>
          </a:prstGeom>
          <a:solidFill>
            <a:schemeClr val="bg1">
              <a:lumMod val="95000"/>
            </a:schemeClr>
          </a:solidFill>
        </p:spPr>
        <p:txBody>
          <a:bodyPr>
            <a:normAutofit/>
          </a:bodyPr>
          <a:lstStyle>
            <a:lvl1pPr>
              <a:defRPr sz="1400"/>
            </a:lvl1pPr>
          </a:lstStyle>
          <a:p>
            <a:endParaRPr lang="en-US"/>
          </a:p>
        </p:txBody>
      </p:sp>
      <p:sp>
        <p:nvSpPr>
          <p:cNvPr id="25" name="Picture Placeholder 2"/>
          <p:cNvSpPr>
            <a:spLocks noGrp="1"/>
          </p:cNvSpPr>
          <p:nvPr>
            <p:ph type="pic" sz="quarter" idx="25"/>
          </p:nvPr>
        </p:nvSpPr>
        <p:spPr>
          <a:xfrm>
            <a:off x="9762432" y="0"/>
            <a:ext cx="2429569" cy="4691269"/>
          </a:xfrm>
          <a:prstGeom prst="rect">
            <a:avLst/>
          </a:prstGeom>
          <a:solidFill>
            <a:schemeClr val="bg1">
              <a:lumMod val="95000"/>
            </a:schemeClr>
          </a:solidFill>
        </p:spPr>
        <p:txBody>
          <a:bodyPr>
            <a:normAutofit/>
          </a:bodyPr>
          <a:lstStyle>
            <a:lvl1pPr>
              <a:defRPr sz="1400"/>
            </a:lvl1pPr>
          </a:lstStyle>
          <a:p>
            <a:endParaRPr lang="en-US"/>
          </a:p>
        </p:txBody>
      </p:sp>
      <p:sp>
        <p:nvSpPr>
          <p:cNvPr id="26" name="Picture Placeholder 2"/>
          <p:cNvSpPr>
            <a:spLocks noGrp="1"/>
          </p:cNvSpPr>
          <p:nvPr>
            <p:ph type="pic" sz="quarter" idx="26"/>
          </p:nvPr>
        </p:nvSpPr>
        <p:spPr>
          <a:xfrm>
            <a:off x="9752496" y="4790584"/>
            <a:ext cx="2439505" cy="2067416"/>
          </a:xfrm>
          <a:prstGeom prst="rect">
            <a:avLst/>
          </a:prstGeom>
          <a:solidFill>
            <a:schemeClr val="bg1">
              <a:lumMod val="95000"/>
            </a:schemeClr>
          </a:solidFill>
        </p:spPr>
        <p:txBody>
          <a:bodyPr>
            <a:normAutofit/>
          </a:bodyPr>
          <a:lstStyle>
            <a:lvl1pPr>
              <a:defRPr sz="1400"/>
            </a:lvl1pPr>
          </a:lstStyle>
          <a:p>
            <a:endParaRPr lang="en-US"/>
          </a:p>
        </p:txBody>
      </p:sp>
      <p:sp>
        <p:nvSpPr>
          <p:cNvPr id="9"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0"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2" name="Straight Connector 11"/>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550239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4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6076946" y="2783853"/>
            <a:ext cx="6115055" cy="2754972"/>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338023339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5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0" y="2783853"/>
            <a:ext cx="6115055" cy="2754972"/>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7473280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6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1" y="0"/>
            <a:ext cx="6076945" cy="6858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39900052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6115056" y="0"/>
            <a:ext cx="6076945" cy="6858000"/>
          </a:xfrm>
          <a:prstGeom prst="rect">
            <a:avLst/>
          </a:prstGeom>
          <a:solidFill>
            <a:schemeClr val="bg1">
              <a:lumMod val="95000"/>
            </a:schemeClr>
          </a:solidFill>
        </p:spPr>
        <p:txBody>
          <a:bodyPr>
            <a:normAutofit/>
          </a:bodyPr>
          <a:lstStyle>
            <a:lvl1pPr>
              <a:defRPr sz="1400"/>
            </a:lvl1pPr>
          </a:lstStyle>
          <a:p>
            <a:endParaRPr lang="en-US"/>
          </a:p>
        </p:txBody>
      </p:sp>
      <p:sp>
        <p:nvSpPr>
          <p:cNvPr id="9"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0"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2" name="Straight Connector 11"/>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52191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8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 y="0"/>
            <a:ext cx="8463164" cy="6858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5802841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10" name="Picture 9">
            <a:extLst>
              <a:ext uri="{FF2B5EF4-FFF2-40B4-BE49-F238E27FC236}">
                <a16:creationId xmlns:a16="http://schemas.microsoft.com/office/drawing/2014/main" id="{3E48337D-1F8B-6242-8FC9-CA51E5F80A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09360" y="457200"/>
            <a:ext cx="2019300" cy="635000"/>
          </a:xfrm>
          <a:prstGeom prst="rect">
            <a:avLst/>
          </a:prstGeom>
        </p:spPr>
      </p:pic>
    </p:spTree>
    <p:extLst>
      <p:ext uri="{BB962C8B-B14F-4D97-AF65-F5344CB8AC3E}">
        <p14:creationId xmlns:p14="http://schemas.microsoft.com/office/powerpoint/2010/main" val="171718294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9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3728837" y="0"/>
            <a:ext cx="8463164" cy="6858000"/>
          </a:xfrm>
          <a:prstGeom prst="rect">
            <a:avLst/>
          </a:prstGeom>
          <a:solidFill>
            <a:schemeClr val="bg1">
              <a:lumMod val="95000"/>
            </a:schemeClr>
          </a:solidFill>
        </p:spPr>
        <p:txBody>
          <a:bodyPr>
            <a:normAutofit/>
          </a:bodyPr>
          <a:lstStyle>
            <a:lvl1pPr>
              <a:defRPr sz="1400"/>
            </a:lvl1pPr>
          </a:lstStyle>
          <a:p>
            <a:endParaRPr lang="en-US"/>
          </a:p>
        </p:txBody>
      </p:sp>
      <p:sp>
        <p:nvSpPr>
          <p:cNvPr id="9"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0"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2" name="Straight Connector 11"/>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54384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0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7126221" y="0"/>
            <a:ext cx="2847187" cy="6858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46609138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1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2218088" y="0"/>
            <a:ext cx="2847187" cy="6858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30450908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2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5635724" y="0"/>
            <a:ext cx="4732259" cy="6858000"/>
          </a:xfrm>
          <a:prstGeom prst="parallelogram">
            <a:avLst>
              <a:gd name="adj" fmla="val 54870"/>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398147137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3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462331" y="0"/>
            <a:ext cx="4732259" cy="6858000"/>
          </a:xfrm>
          <a:prstGeom prst="parallelogram">
            <a:avLst>
              <a:gd name="adj" fmla="val 54870"/>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36759713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4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6879673" y="0"/>
            <a:ext cx="5312328" cy="6858000"/>
          </a:xfrm>
          <a:prstGeom prst="rect">
            <a:avLst/>
          </a:prstGeom>
          <a:solidFill>
            <a:schemeClr val="bg1">
              <a:lumMod val="95000"/>
            </a:schemeClr>
          </a:solidFill>
        </p:spPr>
        <p:txBody>
          <a:bodyPr>
            <a:normAutofit/>
          </a:bodyPr>
          <a:lstStyle>
            <a:lvl1pPr>
              <a:defRPr sz="1400"/>
            </a:lvl1pPr>
          </a:lstStyle>
          <a:p>
            <a:endParaRPr lang="en-US"/>
          </a:p>
        </p:txBody>
      </p:sp>
      <p:sp>
        <p:nvSpPr>
          <p:cNvPr id="9"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0"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2" name="Straight Connector 11"/>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293763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5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0" y="0"/>
            <a:ext cx="5312328" cy="6858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66487066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26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0" y="0"/>
            <a:ext cx="8231744" cy="6858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1150545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3960256" y="0"/>
            <a:ext cx="8231744" cy="6858000"/>
          </a:xfrm>
          <a:prstGeom prst="rect">
            <a:avLst/>
          </a:prstGeom>
          <a:solidFill>
            <a:schemeClr val="bg1">
              <a:lumMod val="95000"/>
            </a:schemeClr>
          </a:solidFill>
        </p:spPr>
        <p:txBody>
          <a:bodyPr>
            <a:normAutofit/>
          </a:bodyPr>
          <a:lstStyle>
            <a:lvl1pPr>
              <a:defRPr sz="1400"/>
            </a:lvl1pPr>
          </a:lstStyle>
          <a:p>
            <a:endParaRPr lang="en-US"/>
          </a:p>
        </p:txBody>
      </p:sp>
      <p:sp>
        <p:nvSpPr>
          <p:cNvPr id="8"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9"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1" name="Straight Connector 10"/>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515640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3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1247873" y="2659224"/>
            <a:ext cx="3005240" cy="1931437"/>
          </a:xfrm>
          <a:prstGeom prst="rect">
            <a:avLst/>
          </a:prstGeom>
          <a:solidFill>
            <a:schemeClr val="bg1">
              <a:lumMod val="95000"/>
            </a:schemeClr>
          </a:solidFill>
        </p:spPr>
        <p:txBody>
          <a:bodyPr>
            <a:normAutofit/>
          </a:bodyPr>
          <a:lstStyle>
            <a:lvl1pPr>
              <a:defRPr sz="1400"/>
            </a:lvl1pPr>
          </a:lstStyle>
          <a:p>
            <a:endParaRPr lang="en-US"/>
          </a:p>
        </p:txBody>
      </p:sp>
      <p:sp>
        <p:nvSpPr>
          <p:cNvPr id="10" name="Picture Placeholder 2"/>
          <p:cNvSpPr>
            <a:spLocks noGrp="1"/>
          </p:cNvSpPr>
          <p:nvPr>
            <p:ph type="pic" sz="quarter" idx="27"/>
          </p:nvPr>
        </p:nvSpPr>
        <p:spPr>
          <a:xfrm>
            <a:off x="4574324" y="2659224"/>
            <a:ext cx="3005240" cy="1931437"/>
          </a:xfrm>
          <a:prstGeom prst="rect">
            <a:avLst/>
          </a:prstGeom>
          <a:solidFill>
            <a:schemeClr val="bg1">
              <a:lumMod val="95000"/>
            </a:schemeClr>
          </a:solidFill>
        </p:spPr>
        <p:txBody>
          <a:bodyPr>
            <a:normAutofit/>
          </a:bodyPr>
          <a:lstStyle>
            <a:lvl1pPr>
              <a:defRPr sz="1400"/>
            </a:lvl1pPr>
          </a:lstStyle>
          <a:p>
            <a:endParaRPr lang="en-US"/>
          </a:p>
        </p:txBody>
      </p:sp>
      <p:sp>
        <p:nvSpPr>
          <p:cNvPr id="11" name="Picture Placeholder 2"/>
          <p:cNvSpPr>
            <a:spLocks noGrp="1"/>
          </p:cNvSpPr>
          <p:nvPr>
            <p:ph type="pic" sz="quarter" idx="28"/>
          </p:nvPr>
        </p:nvSpPr>
        <p:spPr>
          <a:xfrm>
            <a:off x="7900777" y="2659224"/>
            <a:ext cx="3005240" cy="1931437"/>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28000612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10" name="Picture 9">
            <a:extLst>
              <a:ext uri="{FF2B5EF4-FFF2-40B4-BE49-F238E27FC236}">
                <a16:creationId xmlns:a16="http://schemas.microsoft.com/office/drawing/2014/main" id="{1FE4C35D-918F-8D44-A970-94771DFD42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09360" y="457200"/>
            <a:ext cx="2057400" cy="635000"/>
          </a:xfrm>
          <a:prstGeom prst="rect">
            <a:avLst/>
          </a:prstGeom>
        </p:spPr>
      </p:pic>
    </p:spTree>
    <p:extLst>
      <p:ext uri="{BB962C8B-B14F-4D97-AF65-F5344CB8AC3E}">
        <p14:creationId xmlns:p14="http://schemas.microsoft.com/office/powerpoint/2010/main" val="609456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7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1247873" y="763278"/>
            <a:ext cx="3005240" cy="1596229"/>
          </a:xfrm>
          <a:prstGeom prst="rect">
            <a:avLst/>
          </a:prstGeom>
          <a:solidFill>
            <a:schemeClr val="bg1">
              <a:lumMod val="95000"/>
            </a:schemeClr>
          </a:solidFill>
        </p:spPr>
        <p:txBody>
          <a:bodyPr>
            <a:normAutofit/>
          </a:bodyPr>
          <a:lstStyle>
            <a:lvl1pPr>
              <a:defRPr sz="1400"/>
            </a:lvl1pPr>
          </a:lstStyle>
          <a:p>
            <a:endParaRPr lang="en-US"/>
          </a:p>
        </p:txBody>
      </p:sp>
      <p:sp>
        <p:nvSpPr>
          <p:cNvPr id="10" name="Picture Placeholder 2"/>
          <p:cNvSpPr>
            <a:spLocks noGrp="1"/>
          </p:cNvSpPr>
          <p:nvPr>
            <p:ph type="pic" sz="quarter" idx="27"/>
          </p:nvPr>
        </p:nvSpPr>
        <p:spPr>
          <a:xfrm>
            <a:off x="4574324" y="763278"/>
            <a:ext cx="3005240" cy="1596229"/>
          </a:xfrm>
          <a:prstGeom prst="rect">
            <a:avLst/>
          </a:prstGeom>
          <a:solidFill>
            <a:schemeClr val="bg1">
              <a:lumMod val="95000"/>
            </a:schemeClr>
          </a:solidFill>
        </p:spPr>
        <p:txBody>
          <a:bodyPr>
            <a:normAutofit/>
          </a:bodyPr>
          <a:lstStyle>
            <a:lvl1pPr>
              <a:defRPr sz="1400"/>
            </a:lvl1pPr>
          </a:lstStyle>
          <a:p>
            <a:endParaRPr lang="en-US"/>
          </a:p>
        </p:txBody>
      </p:sp>
      <p:sp>
        <p:nvSpPr>
          <p:cNvPr id="11" name="Picture Placeholder 2"/>
          <p:cNvSpPr>
            <a:spLocks noGrp="1"/>
          </p:cNvSpPr>
          <p:nvPr>
            <p:ph type="pic" sz="quarter" idx="28"/>
          </p:nvPr>
        </p:nvSpPr>
        <p:spPr>
          <a:xfrm>
            <a:off x="7900777" y="763278"/>
            <a:ext cx="3005240" cy="1596229"/>
          </a:xfrm>
          <a:prstGeom prst="rect">
            <a:avLst/>
          </a:prstGeom>
          <a:solidFill>
            <a:schemeClr val="bg1">
              <a:lumMod val="95000"/>
            </a:schemeClr>
          </a:solidFill>
        </p:spPr>
        <p:txBody>
          <a:bodyPr>
            <a:normAutofit/>
          </a:bodyPr>
          <a:lstStyle>
            <a:lvl1pPr>
              <a:defRPr sz="1400"/>
            </a:lvl1pPr>
          </a:lstStyle>
          <a:p>
            <a:endParaRPr lang="en-US"/>
          </a:p>
        </p:txBody>
      </p:sp>
      <p:sp>
        <p:nvSpPr>
          <p:cNvPr id="20" name="Picture Placeholder 2"/>
          <p:cNvSpPr>
            <a:spLocks noGrp="1"/>
          </p:cNvSpPr>
          <p:nvPr>
            <p:ph type="pic" sz="quarter" idx="29"/>
          </p:nvPr>
        </p:nvSpPr>
        <p:spPr>
          <a:xfrm>
            <a:off x="1247873" y="3690384"/>
            <a:ext cx="3005240" cy="1596229"/>
          </a:xfrm>
          <a:prstGeom prst="rect">
            <a:avLst/>
          </a:prstGeom>
          <a:solidFill>
            <a:schemeClr val="bg1">
              <a:lumMod val="95000"/>
            </a:schemeClr>
          </a:solidFill>
        </p:spPr>
        <p:txBody>
          <a:bodyPr>
            <a:normAutofit/>
          </a:bodyPr>
          <a:lstStyle>
            <a:lvl1pPr>
              <a:defRPr sz="1400"/>
            </a:lvl1pPr>
          </a:lstStyle>
          <a:p>
            <a:endParaRPr lang="en-US"/>
          </a:p>
        </p:txBody>
      </p:sp>
      <p:sp>
        <p:nvSpPr>
          <p:cNvPr id="21" name="Picture Placeholder 2"/>
          <p:cNvSpPr>
            <a:spLocks noGrp="1"/>
          </p:cNvSpPr>
          <p:nvPr>
            <p:ph type="pic" sz="quarter" idx="30"/>
          </p:nvPr>
        </p:nvSpPr>
        <p:spPr>
          <a:xfrm>
            <a:off x="4574324" y="3690384"/>
            <a:ext cx="3005240" cy="1596229"/>
          </a:xfrm>
          <a:prstGeom prst="rect">
            <a:avLst/>
          </a:prstGeom>
          <a:solidFill>
            <a:schemeClr val="bg1">
              <a:lumMod val="95000"/>
            </a:schemeClr>
          </a:solidFill>
        </p:spPr>
        <p:txBody>
          <a:bodyPr>
            <a:normAutofit/>
          </a:bodyPr>
          <a:lstStyle>
            <a:lvl1pPr>
              <a:defRPr sz="1400"/>
            </a:lvl1pPr>
          </a:lstStyle>
          <a:p>
            <a:endParaRPr lang="en-US"/>
          </a:p>
        </p:txBody>
      </p:sp>
      <p:sp>
        <p:nvSpPr>
          <p:cNvPr id="22" name="Picture Placeholder 2"/>
          <p:cNvSpPr>
            <a:spLocks noGrp="1"/>
          </p:cNvSpPr>
          <p:nvPr>
            <p:ph type="pic" sz="quarter" idx="31"/>
          </p:nvPr>
        </p:nvSpPr>
        <p:spPr>
          <a:xfrm>
            <a:off x="7900777" y="3690384"/>
            <a:ext cx="3005240" cy="1596229"/>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52510880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38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400"/>
            </a:lvl1pPr>
          </a:lstStyle>
          <a:p>
            <a:endParaRPr lang="en-US"/>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400"/>
            </a:lvl1pPr>
          </a:lstStyle>
          <a:p>
            <a:endParaRPr lang="en-US"/>
          </a:p>
        </p:txBody>
      </p:sp>
      <p:sp>
        <p:nvSpPr>
          <p:cNvPr id="23" name="Picture Placeholder 2"/>
          <p:cNvSpPr>
            <a:spLocks noGrp="1"/>
          </p:cNvSpPr>
          <p:nvPr>
            <p:ph type="pic" sz="quarter" idx="28"/>
          </p:nvPr>
        </p:nvSpPr>
        <p:spPr>
          <a:xfrm>
            <a:off x="6096000" y="0"/>
            <a:ext cx="6096000" cy="3429000"/>
          </a:xfrm>
          <a:prstGeom prst="rect">
            <a:avLst/>
          </a:prstGeom>
          <a:solidFill>
            <a:schemeClr val="bg1">
              <a:lumMod val="95000"/>
            </a:schemeClr>
          </a:solidFill>
        </p:spPr>
        <p:txBody>
          <a:bodyPr>
            <a:normAutofit/>
          </a:bodyPr>
          <a:lstStyle>
            <a:lvl1pPr>
              <a:defRPr sz="1400"/>
            </a:lvl1pPr>
          </a:lstStyle>
          <a:p>
            <a:endParaRPr lang="en-US"/>
          </a:p>
        </p:txBody>
      </p:sp>
      <p:sp>
        <p:nvSpPr>
          <p:cNvPr id="24" name="Picture Placeholder 2"/>
          <p:cNvSpPr>
            <a:spLocks noGrp="1"/>
          </p:cNvSpPr>
          <p:nvPr>
            <p:ph type="pic" sz="quarter" idx="29"/>
          </p:nvPr>
        </p:nvSpPr>
        <p:spPr>
          <a:xfrm>
            <a:off x="0" y="3429000"/>
            <a:ext cx="6096000" cy="3429000"/>
          </a:xfrm>
          <a:prstGeom prst="rect">
            <a:avLst/>
          </a:prstGeom>
          <a:solidFill>
            <a:schemeClr val="bg1">
              <a:lumMod val="95000"/>
            </a:schemeClr>
          </a:solidFill>
        </p:spPr>
        <p:txBody>
          <a:bodyPr>
            <a:normAutofit/>
          </a:bodyPr>
          <a:lstStyle>
            <a:lvl1pPr>
              <a:defRPr sz="1400"/>
            </a:lvl1pPr>
          </a:lstStyle>
          <a:p>
            <a:endParaRPr lang="en-US"/>
          </a:p>
        </p:txBody>
      </p:sp>
      <p:sp>
        <p:nvSpPr>
          <p:cNvPr id="10"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1"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3" name="Straight Connector 12"/>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799851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9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400"/>
            </a:lvl1pPr>
          </a:lstStyle>
          <a:p>
            <a:endParaRPr lang="en-US"/>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400"/>
            </a:lvl1pPr>
          </a:lstStyle>
          <a:p>
            <a:endParaRPr lang="en-US"/>
          </a:p>
        </p:txBody>
      </p:sp>
      <p:sp>
        <p:nvSpPr>
          <p:cNvPr id="8"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9"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1" name="Straight Connector 10"/>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739965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40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3429000"/>
            <a:ext cx="6096000" cy="3429000"/>
          </a:xfrm>
          <a:prstGeom prst="rect">
            <a:avLst/>
          </a:prstGeom>
          <a:solidFill>
            <a:schemeClr val="bg1">
              <a:lumMod val="95000"/>
            </a:schemeClr>
          </a:solidFill>
        </p:spPr>
        <p:txBody>
          <a:bodyPr>
            <a:normAutofit/>
          </a:bodyPr>
          <a:lstStyle>
            <a:lvl1pPr>
              <a:defRPr sz="1400"/>
            </a:lvl1pPr>
          </a:lstStyle>
          <a:p>
            <a:endParaRPr lang="en-US"/>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400"/>
            </a:lvl1pPr>
          </a:lstStyle>
          <a:p>
            <a:endParaRPr lang="en-US"/>
          </a:p>
        </p:txBody>
      </p:sp>
      <p:sp>
        <p:nvSpPr>
          <p:cNvPr id="12"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13"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5" name="Straight Connector 14"/>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59886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41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400"/>
            </a:lvl1pPr>
          </a:lstStyle>
          <a:p>
            <a:endParaRPr lang="en-US"/>
          </a:p>
        </p:txBody>
      </p:sp>
      <p:sp>
        <p:nvSpPr>
          <p:cNvPr id="19" name="Picture Placeholder 2"/>
          <p:cNvSpPr>
            <a:spLocks noGrp="1"/>
          </p:cNvSpPr>
          <p:nvPr>
            <p:ph type="pic" sz="quarter" idx="27"/>
          </p:nvPr>
        </p:nvSpPr>
        <p:spPr>
          <a:xfrm>
            <a:off x="6096000" y="0"/>
            <a:ext cx="6096000" cy="3429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352803268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_Default Slid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endParaRPr lang="en-US"/>
          </a:p>
        </p:txBody>
      </p:sp>
      <p:sp>
        <p:nvSpPr>
          <p:cNvPr id="8" name="Rectangle 5"/>
          <p:cNvSpPr/>
          <p:nvPr userDrawn="1"/>
        </p:nvSpPr>
        <p:spPr>
          <a:xfrm rot="10800000">
            <a:off x="10150548" y="6458349"/>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endParaRPr lang="en-US">
              <a:solidFill>
                <a:srgbClr val="FFFFFF"/>
              </a:solidFill>
            </a:endParaRPr>
          </a:p>
        </p:txBody>
      </p:sp>
      <p:sp>
        <p:nvSpPr>
          <p:cNvPr id="9" name="Slide Number Placeholder 4"/>
          <p:cNvSpPr txBox="1">
            <a:spLocks/>
          </p:cNvSpPr>
          <p:nvPr userDrawn="1"/>
        </p:nvSpPr>
        <p:spPr>
          <a:xfrm>
            <a:off x="11574065" y="6481498"/>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08451"/>
            <a:ext cx="765552" cy="206703"/>
          </a:xfrm>
          <a:prstGeom prst="rect">
            <a:avLst/>
          </a:prstGeom>
        </p:spPr>
      </p:pic>
      <p:cxnSp>
        <p:nvCxnSpPr>
          <p:cNvPr id="11" name="Straight Connector 10"/>
          <p:cNvCxnSpPr/>
          <p:nvPr userDrawn="1"/>
        </p:nvCxnSpPr>
        <p:spPr>
          <a:xfrm>
            <a:off x="11518607" y="6560835"/>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596044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42_Placeholder">
    <p:spTree>
      <p:nvGrpSpPr>
        <p:cNvPr id="1" name=""/>
        <p:cNvGrpSpPr/>
        <p:nvPr/>
      </p:nvGrpSpPr>
      <p:grpSpPr>
        <a:xfrm>
          <a:off x="0" y="0"/>
          <a:ext cx="0" cy="0"/>
          <a:chOff x="0" y="0"/>
          <a:chExt cx="0" cy="0"/>
        </a:xfrm>
      </p:grpSpPr>
      <p:sp>
        <p:nvSpPr>
          <p:cNvPr id="6" name="Picture Placeholder 2"/>
          <p:cNvSpPr>
            <a:spLocks noGrp="1"/>
          </p:cNvSpPr>
          <p:nvPr>
            <p:ph type="pic" sz="quarter" idx="26"/>
          </p:nvPr>
        </p:nvSpPr>
        <p:spPr>
          <a:xfrm>
            <a:off x="1951989" y="2424794"/>
            <a:ext cx="2008937" cy="2008415"/>
          </a:xfrm>
          <a:prstGeom prst="ellipse">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293017411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4_Placeholder">
    <p:spTree>
      <p:nvGrpSpPr>
        <p:cNvPr id="1" name=""/>
        <p:cNvGrpSpPr/>
        <p:nvPr/>
      </p:nvGrpSpPr>
      <p:grpSpPr>
        <a:xfrm>
          <a:off x="0" y="0"/>
          <a:ext cx="0" cy="0"/>
          <a:chOff x="0" y="0"/>
          <a:chExt cx="0" cy="0"/>
        </a:xfrm>
      </p:grpSpPr>
      <p:sp>
        <p:nvSpPr>
          <p:cNvPr id="6" name="Picture Placeholder 2"/>
          <p:cNvSpPr>
            <a:spLocks noGrp="1"/>
          </p:cNvSpPr>
          <p:nvPr>
            <p:ph type="pic" sz="quarter" idx="28"/>
          </p:nvPr>
        </p:nvSpPr>
        <p:spPr>
          <a:xfrm>
            <a:off x="0" y="0"/>
            <a:ext cx="4855011" cy="6858000"/>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191523144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0_Placeholder Slide">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1247873" y="2104139"/>
            <a:ext cx="3005240" cy="3006789"/>
          </a:xfrm>
          <a:prstGeom prst="rect">
            <a:avLst/>
          </a:prstGeom>
          <a:solidFill>
            <a:schemeClr val="bg1">
              <a:lumMod val="95000"/>
            </a:schemeClr>
          </a:solidFill>
        </p:spPr>
        <p:txBody>
          <a:bodyPr>
            <a:normAutofit/>
          </a:bodyPr>
          <a:lstStyle>
            <a:lvl1pPr>
              <a:defRPr sz="1400"/>
            </a:lvl1pPr>
          </a:lstStyle>
          <a:p>
            <a:endParaRPr lang="en-US"/>
          </a:p>
        </p:txBody>
      </p:sp>
      <p:sp>
        <p:nvSpPr>
          <p:cNvPr id="11" name="Picture Placeholder 8"/>
          <p:cNvSpPr>
            <a:spLocks noGrp="1"/>
          </p:cNvSpPr>
          <p:nvPr>
            <p:ph type="pic" sz="quarter" idx="11"/>
          </p:nvPr>
        </p:nvSpPr>
        <p:spPr>
          <a:xfrm>
            <a:off x="4574325" y="2104139"/>
            <a:ext cx="3005240" cy="3006789"/>
          </a:xfrm>
          <a:prstGeom prst="rect">
            <a:avLst/>
          </a:prstGeom>
          <a:solidFill>
            <a:schemeClr val="bg1">
              <a:lumMod val="95000"/>
            </a:schemeClr>
          </a:solidFill>
        </p:spPr>
        <p:txBody>
          <a:bodyPr>
            <a:normAutofit/>
          </a:bodyPr>
          <a:lstStyle>
            <a:lvl1pPr>
              <a:defRPr sz="1400"/>
            </a:lvl1pPr>
          </a:lstStyle>
          <a:p>
            <a:endParaRPr lang="en-US"/>
          </a:p>
        </p:txBody>
      </p:sp>
      <p:sp>
        <p:nvSpPr>
          <p:cNvPr id="12" name="Picture Placeholder 8"/>
          <p:cNvSpPr>
            <a:spLocks noGrp="1"/>
          </p:cNvSpPr>
          <p:nvPr>
            <p:ph type="pic" sz="quarter" idx="12"/>
          </p:nvPr>
        </p:nvSpPr>
        <p:spPr>
          <a:xfrm>
            <a:off x="7900777" y="2104139"/>
            <a:ext cx="3005240" cy="3006789"/>
          </a:xfrm>
          <a:prstGeom prst="rect">
            <a:avLst/>
          </a:prstGeom>
          <a:solidFill>
            <a:schemeClr val="bg1">
              <a:lumMod val="95000"/>
            </a:schemeClr>
          </a:solidFill>
        </p:spPr>
        <p:txBody>
          <a:bodyPr>
            <a:normAutofit/>
          </a:bodyPr>
          <a:lstStyle>
            <a:lvl1pPr>
              <a:defRPr sz="1400"/>
            </a:lvl1pPr>
          </a:lstStyle>
          <a:p>
            <a:endParaRPr lang="en-US"/>
          </a:p>
        </p:txBody>
      </p:sp>
    </p:spTree>
    <p:extLst>
      <p:ext uri="{BB962C8B-B14F-4D97-AF65-F5344CB8AC3E}">
        <p14:creationId xmlns:p14="http://schemas.microsoft.com/office/powerpoint/2010/main" val="42233248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Behind the Scenes">
    <p:spTree>
      <p:nvGrpSpPr>
        <p:cNvPr id="1" name=""/>
        <p:cNvGrpSpPr/>
        <p:nvPr/>
      </p:nvGrpSpPr>
      <p:grpSpPr>
        <a:xfrm>
          <a:off x="0" y="0"/>
          <a:ext cx="0" cy="0"/>
          <a:chOff x="0" y="0"/>
          <a:chExt cx="0" cy="0"/>
        </a:xfrm>
      </p:grpSpPr>
      <p:sp>
        <p:nvSpPr>
          <p:cNvPr id="3" name="Picture Placeholder 25"/>
          <p:cNvSpPr>
            <a:spLocks noGrp="1"/>
          </p:cNvSpPr>
          <p:nvPr>
            <p:ph type="pic" sz="quarter" idx="4294967295"/>
          </p:nvPr>
        </p:nvSpPr>
        <p:spPr>
          <a:xfrm>
            <a:off x="914055" y="2809408"/>
            <a:ext cx="4678351" cy="2910075"/>
          </a:xfrm>
          <a:prstGeom prst="rect">
            <a:avLst/>
          </a:prstGeom>
          <a:solidFill>
            <a:schemeClr val="bg1">
              <a:lumMod val="95000"/>
            </a:schemeClr>
          </a:solidFill>
        </p:spPr>
      </p:sp>
    </p:spTree>
    <p:extLst>
      <p:ext uri="{BB962C8B-B14F-4D97-AF65-F5344CB8AC3E}">
        <p14:creationId xmlns:p14="http://schemas.microsoft.com/office/powerpoint/2010/main" val="36613616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10" name="Picture 9">
            <a:extLst>
              <a:ext uri="{FF2B5EF4-FFF2-40B4-BE49-F238E27FC236}">
                <a16:creationId xmlns:a16="http://schemas.microsoft.com/office/drawing/2014/main" id="{F0B05A12-FE15-FC40-A4C6-8C72A953EFC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09360" y="457200"/>
            <a:ext cx="2527300" cy="635000"/>
          </a:xfrm>
          <a:prstGeom prst="rect">
            <a:avLst/>
          </a:prstGeom>
        </p:spPr>
      </p:pic>
    </p:spTree>
    <p:extLst>
      <p:ext uri="{BB962C8B-B14F-4D97-AF65-F5344CB8AC3E}">
        <p14:creationId xmlns:p14="http://schemas.microsoft.com/office/powerpoint/2010/main" val="355509037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Master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9066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cxnSp>
        <p:nvCxnSpPr>
          <p:cNvPr id="7" name="Straight Connector 6"/>
          <p:cNvCxnSpPr/>
          <p:nvPr userDrawn="1"/>
        </p:nvCxnSpPr>
        <p:spPr>
          <a:xfrm>
            <a:off x="6066971"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hasCustomPrompt="1"/>
          </p:nvPr>
        </p:nvSpPr>
        <p:spPr>
          <a:xfrm>
            <a:off x="6493933" y="6182785"/>
            <a:ext cx="4114800" cy="364067"/>
          </a:xfrm>
          <a:prstGeom prst="rect">
            <a:avLst/>
          </a:prstGeom>
        </p:spPr>
        <p:txBody>
          <a:bodyPr anchor="b">
            <a:noAutofit/>
          </a:bodyPr>
          <a:lstStyle>
            <a:lvl1pPr marL="0" indent="0">
              <a:buNone/>
              <a:defRPr sz="1200" baseline="0">
                <a:latin typeface="Arial" charset="0"/>
                <a:ea typeface="Arial" charset="0"/>
                <a:cs typeface="Arial" charset="0"/>
              </a:defRPr>
            </a:lvl1pPr>
          </a:lstStyle>
          <a:p>
            <a:pPr lvl="0"/>
            <a:r>
              <a:rPr lang="en-US"/>
              <a:t>INSERT DATA CLASSIFICATION</a:t>
            </a:r>
          </a:p>
        </p:txBody>
      </p:sp>
      <p:sp>
        <p:nvSpPr>
          <p:cNvPr id="6" name="Text Placeholder 5"/>
          <p:cNvSpPr>
            <a:spLocks noGrp="1"/>
          </p:cNvSpPr>
          <p:nvPr>
            <p:ph type="body" sz="quarter" idx="12" hasCustomPrompt="1"/>
          </p:nvPr>
        </p:nvSpPr>
        <p:spPr>
          <a:xfrm>
            <a:off x="6493933" y="5739440"/>
            <a:ext cx="4114800" cy="401629"/>
          </a:xfrm>
          <a:prstGeom prst="rect">
            <a:avLst/>
          </a:prstGeom>
        </p:spPr>
        <p:txBody>
          <a:bodyPr anchor="b">
            <a:normAutofit/>
          </a:bodyPr>
          <a:lstStyle>
            <a:lvl1pPr marL="0" indent="0">
              <a:buNone/>
              <a:defRPr sz="1600">
                <a:latin typeface="Arial" charset="0"/>
                <a:ea typeface="Arial" charset="0"/>
                <a:cs typeface="Arial" charset="0"/>
              </a:defRPr>
            </a:lvl1pPr>
          </a:lstStyle>
          <a:p>
            <a:pPr lvl="0"/>
            <a:r>
              <a:rPr lang="en-US"/>
              <a:t>Date</a:t>
            </a:r>
          </a:p>
        </p:txBody>
      </p:sp>
      <p:sp>
        <p:nvSpPr>
          <p:cNvPr id="2" name="Title 1"/>
          <p:cNvSpPr>
            <a:spLocks noGrp="1"/>
          </p:cNvSpPr>
          <p:nvPr>
            <p:ph type="ctrTitle" hasCustomPrompt="1"/>
          </p:nvPr>
        </p:nvSpPr>
        <p:spPr>
          <a:xfrm>
            <a:off x="6494097" y="673768"/>
            <a:ext cx="4914123" cy="3806581"/>
          </a:xfrm>
          <a:prstGeom prst="rect">
            <a:avLst/>
          </a:prstGeom>
        </p:spPr>
        <p:txBody>
          <a:bodyPr anchor="b">
            <a:normAutofit/>
          </a:bodyPr>
          <a:lstStyle>
            <a:lvl1pPr algn="l">
              <a:defRPr sz="4800" b="1" i="0">
                <a:latin typeface="Arial Black" charset="0"/>
                <a:ea typeface="Arial Black" charset="0"/>
                <a:cs typeface="Arial Black" charset="0"/>
              </a:defRPr>
            </a:lvl1pPr>
          </a:lstStyle>
          <a:p>
            <a:r>
              <a:rPr lang="en-US"/>
              <a:t>Presentation Title</a:t>
            </a:r>
          </a:p>
        </p:txBody>
      </p:sp>
      <p:sp>
        <p:nvSpPr>
          <p:cNvPr id="3" name="Subtitle 2"/>
          <p:cNvSpPr>
            <a:spLocks noGrp="1"/>
          </p:cNvSpPr>
          <p:nvPr>
            <p:ph type="subTitle" idx="1" hasCustomPrompt="1"/>
          </p:nvPr>
        </p:nvSpPr>
        <p:spPr>
          <a:xfrm>
            <a:off x="6494097" y="4548893"/>
            <a:ext cx="4914123" cy="652803"/>
          </a:xfrm>
          <a:prstGeom prst="rect">
            <a:avLst/>
          </a:prstGeom>
        </p:spPr>
        <p:txBody>
          <a:bodyPr anchor="b">
            <a:normAutofit/>
          </a:bodyPr>
          <a:lstStyle>
            <a:lvl1pPr marL="0" indent="0" algn="l">
              <a:buNone/>
              <a:defRPr sz="2667" b="0" i="0">
                <a:latin typeface="Arial" charset="0"/>
                <a:ea typeface="Arial" charset="0"/>
                <a:cs typeface="Arial"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Presenter Name</a:t>
            </a:r>
          </a:p>
        </p:txBody>
      </p:sp>
      <p:sp>
        <p:nvSpPr>
          <p:cNvPr id="9" name="Picture Placeholder 8"/>
          <p:cNvSpPr>
            <a:spLocks noGrp="1"/>
          </p:cNvSpPr>
          <p:nvPr>
            <p:ph type="pic" sz="quarter" idx="14"/>
          </p:nvPr>
        </p:nvSpPr>
        <p:spPr>
          <a:xfrm>
            <a:off x="0" y="-1"/>
            <a:ext cx="6081485" cy="6861773"/>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323063378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_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1"/>
          </p:nvPr>
        </p:nvSpPr>
        <p:spPr>
          <a:xfrm>
            <a:off x="609601" y="1901826"/>
            <a:ext cx="10972801" cy="4425951"/>
          </a:xfrm>
          <a:prstGeom prst="rect">
            <a:avLst/>
          </a:prstGeom>
        </p:spPr>
        <p:txBody>
          <a:bodyPr>
            <a:normAutofit/>
          </a:bodyPr>
          <a:lstStyle>
            <a:lvl1pPr marL="0" indent="0">
              <a:buNone/>
              <a:defRPr sz="1800"/>
            </a:lvl1pPr>
            <a:lvl2pPr marL="457189" indent="0">
              <a:buNone/>
              <a:defRPr sz="1800"/>
            </a:lvl2pPr>
            <a:lvl3pPr marL="914377" indent="0">
              <a:buNone/>
              <a:defRPr sz="1600"/>
            </a:lvl3pPr>
            <a:lvl4pPr marL="1371566" indent="0">
              <a:buNone/>
              <a:defRPr sz="1600"/>
            </a:lvl4pPr>
            <a:lvl5pPr marL="1828754"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93629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1_Placeholder Slide">
    <p:spTree>
      <p:nvGrpSpPr>
        <p:cNvPr id="1" name=""/>
        <p:cNvGrpSpPr/>
        <p:nvPr/>
      </p:nvGrpSpPr>
      <p:grpSpPr>
        <a:xfrm>
          <a:off x="0" y="0"/>
          <a:ext cx="0" cy="0"/>
          <a:chOff x="0" y="0"/>
          <a:chExt cx="0" cy="0"/>
        </a:xfrm>
      </p:grpSpPr>
      <p:sp>
        <p:nvSpPr>
          <p:cNvPr id="3" name="Title Placeholder 18"/>
          <p:cNvSpPr>
            <a:spLocks noGrp="1"/>
          </p:cNvSpPr>
          <p:nvPr>
            <p:ph type="title"/>
          </p:nvPr>
        </p:nvSpPr>
        <p:spPr>
          <a:xfrm>
            <a:off x="4554835" y="1905510"/>
            <a:ext cx="5648711" cy="1600439"/>
          </a:xfrm>
          <a:prstGeom prst="rect">
            <a:avLst/>
          </a:prstGeom>
        </p:spPr>
        <p:txBody>
          <a:bodyPr vert="horz" lIns="91440" tIns="45720" rIns="91440" bIns="45720" rtlCol="0" anchor="ctr">
            <a:normAutofit/>
          </a:bodyPr>
          <a:lstStyle>
            <a:lvl1pPr algn="l">
              <a:defRPr/>
            </a:lvl1pPr>
          </a:lstStyle>
          <a:p>
            <a:r>
              <a:rPr lang="en-US"/>
              <a:t>Click to edit Master title style</a:t>
            </a:r>
          </a:p>
        </p:txBody>
      </p:sp>
      <p:sp>
        <p:nvSpPr>
          <p:cNvPr id="6" name="Picture Placeholder 8"/>
          <p:cNvSpPr>
            <a:spLocks noGrp="1"/>
          </p:cNvSpPr>
          <p:nvPr>
            <p:ph type="pic" sz="quarter" idx="10"/>
          </p:nvPr>
        </p:nvSpPr>
        <p:spPr>
          <a:xfrm>
            <a:off x="1045555" y="1780070"/>
            <a:ext cx="3298724" cy="3297865"/>
          </a:xfrm>
          <a:prstGeom prst="ellipse">
            <a:avLst/>
          </a:prstGeom>
          <a:solidFill>
            <a:schemeClr val="bg1">
              <a:lumMod val="95000"/>
            </a:schemeClr>
          </a:solidFill>
        </p:spPr>
        <p:txBody>
          <a:bodyPr>
            <a:normAutofit/>
          </a:bodyPr>
          <a:lstStyle>
            <a:lvl1pPr>
              <a:defRPr sz="1400"/>
            </a:lvl1pPr>
          </a:lstStyle>
          <a:p>
            <a:r>
              <a:rPr lang="en-US"/>
              <a:t>Click icon to add picture</a:t>
            </a:r>
          </a:p>
        </p:txBody>
      </p:sp>
      <p:sp>
        <p:nvSpPr>
          <p:cNvPr id="7" name="Text Placeholder 6"/>
          <p:cNvSpPr>
            <a:spLocks noGrp="1"/>
          </p:cNvSpPr>
          <p:nvPr>
            <p:ph type="body" sz="quarter" idx="11" hasCustomPrompt="1"/>
          </p:nvPr>
        </p:nvSpPr>
        <p:spPr>
          <a:xfrm>
            <a:off x="4554157" y="3655061"/>
            <a:ext cx="5649384" cy="2076451"/>
          </a:xfrm>
          <a:prstGeom prst="rect">
            <a:avLst/>
          </a:prstGeom>
        </p:spPr>
        <p:txBody>
          <a:bodyPr/>
          <a:lstStyle>
            <a:lvl4pPr marL="924916" indent="-211651">
              <a:buFont typeface="LucidaGrande" charset="0"/>
              <a:buChar char="–"/>
              <a:defRPr/>
            </a:lvl4pPr>
            <a:lvl5pPr marL="1147149" indent="-215884">
              <a:buFont typeface="Courier New" charset="0"/>
              <a:buChar char="o"/>
              <a:tabLst/>
              <a:defRPr/>
            </a:lvl5pPr>
          </a:lstStyle>
          <a:p>
            <a:pPr lvl="0"/>
            <a:r>
              <a:rPr lang="en-US"/>
              <a:t>Click to edit paragraph text</a:t>
            </a:r>
          </a:p>
        </p:txBody>
      </p:sp>
    </p:spTree>
    <p:extLst>
      <p:ext uri="{BB962C8B-B14F-4D97-AF65-F5344CB8AC3E}">
        <p14:creationId xmlns:p14="http://schemas.microsoft.com/office/powerpoint/2010/main" val="161736485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45_Placeholder">
    <p:spTree>
      <p:nvGrpSpPr>
        <p:cNvPr id="1" name=""/>
        <p:cNvGrpSpPr/>
        <p:nvPr/>
      </p:nvGrpSpPr>
      <p:grpSpPr>
        <a:xfrm>
          <a:off x="0" y="0"/>
          <a:ext cx="0" cy="0"/>
          <a:chOff x="0" y="0"/>
          <a:chExt cx="0" cy="0"/>
        </a:xfrm>
      </p:grpSpPr>
      <p:sp>
        <p:nvSpPr>
          <p:cNvPr id="6" name="Picture Placeholder 2"/>
          <p:cNvSpPr>
            <a:spLocks noGrp="1"/>
          </p:cNvSpPr>
          <p:nvPr>
            <p:ph type="pic" sz="quarter" idx="28"/>
          </p:nvPr>
        </p:nvSpPr>
        <p:spPr>
          <a:xfrm>
            <a:off x="7336989" y="0"/>
            <a:ext cx="4855011"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Rectangle 5"/>
          <p:cNvSpPr/>
          <p:nvPr userDrawn="1"/>
        </p:nvSpPr>
        <p:spPr>
          <a:xfrm rot="10800000">
            <a:off x="10150548" y="6472866"/>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9"/>
            <a:endParaRPr lang="en-US" sz="2400">
              <a:solidFill>
                <a:srgbClr val="FFFFFF"/>
              </a:solidFill>
            </a:endParaRPr>
          </a:p>
        </p:txBody>
      </p:sp>
      <p:sp>
        <p:nvSpPr>
          <p:cNvPr id="12" name="Slide Number Placeholder 4"/>
          <p:cNvSpPr txBox="1">
            <a:spLocks/>
          </p:cNvSpPr>
          <p:nvPr userDrawn="1"/>
        </p:nvSpPr>
        <p:spPr>
          <a:xfrm>
            <a:off x="11574065" y="6496015"/>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9"/>
            <a:ext cx="765552" cy="206703"/>
          </a:xfrm>
          <a:prstGeom prst="rect">
            <a:avLst/>
          </a:prstGeom>
        </p:spPr>
      </p:pic>
      <p:cxnSp>
        <p:nvCxnSpPr>
          <p:cNvPr id="14" name="Straight Connector 13"/>
          <p:cNvCxnSpPr/>
          <p:nvPr userDrawn="1"/>
        </p:nvCxnSpPr>
        <p:spPr>
          <a:xfrm>
            <a:off x="11518607" y="6575352"/>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025569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6_Paragraph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4" name="Object 3"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1"/>
          </p:nvPr>
        </p:nvSpPr>
        <p:spPr>
          <a:xfrm>
            <a:off x="609601" y="1901826"/>
            <a:ext cx="10972801" cy="4425951"/>
          </a:xfrm>
          <a:prstGeom prst="rect">
            <a:avLst/>
          </a:prstGeom>
        </p:spPr>
        <p:txBody>
          <a:bodyPr>
            <a:normAutofit/>
          </a:bodyPr>
          <a:lstStyle>
            <a:lvl1pPr marL="0" indent="0">
              <a:buNone/>
              <a:defRPr sz="1800"/>
            </a:lvl1pPr>
            <a:lvl2pPr marL="457189" indent="0">
              <a:buNone/>
              <a:defRPr sz="1800"/>
            </a:lvl2pPr>
            <a:lvl3pPr marL="914377" indent="0">
              <a:buNone/>
              <a:defRPr sz="1600"/>
            </a:lvl3pPr>
            <a:lvl4pPr marL="1371566" indent="0">
              <a:buNone/>
              <a:defRPr sz="1600"/>
            </a:lvl4pPr>
            <a:lvl5pPr marL="1828754"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655533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3" name="Objec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259305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126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Picture Placeholder 2"/>
          <p:cNvSpPr>
            <a:spLocks noGrp="1"/>
          </p:cNvSpPr>
          <p:nvPr>
            <p:ph type="pic" sz="quarter" idx="10" hasCustomPrompt="1"/>
          </p:nvPr>
        </p:nvSpPr>
        <p:spPr>
          <a:xfrm>
            <a:off x="1581667" y="2038868"/>
            <a:ext cx="1742303" cy="3571103"/>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a:t>Drag &amp; Drop picture</a:t>
            </a:r>
          </a:p>
        </p:txBody>
      </p:sp>
      <p:sp>
        <p:nvSpPr>
          <p:cNvPr id="4" name="Picture Placeholder 2"/>
          <p:cNvSpPr>
            <a:spLocks noGrp="1"/>
          </p:cNvSpPr>
          <p:nvPr>
            <p:ph type="pic" sz="quarter" idx="11" hasCustomPrompt="1"/>
          </p:nvPr>
        </p:nvSpPr>
        <p:spPr>
          <a:xfrm>
            <a:off x="3395022" y="1631095"/>
            <a:ext cx="1742303" cy="3571103"/>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a:t>Drag &amp; Drop picture</a:t>
            </a:r>
          </a:p>
        </p:txBody>
      </p:sp>
      <p:sp>
        <p:nvSpPr>
          <p:cNvPr id="5" name="Picture Placeholder 2"/>
          <p:cNvSpPr>
            <a:spLocks noGrp="1"/>
          </p:cNvSpPr>
          <p:nvPr>
            <p:ph type="pic" sz="quarter" idx="12" hasCustomPrompt="1"/>
          </p:nvPr>
        </p:nvSpPr>
        <p:spPr>
          <a:xfrm>
            <a:off x="5208375" y="2187150"/>
            <a:ext cx="1742303" cy="3571103"/>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a:t>Drag &amp; Drop picture</a:t>
            </a:r>
          </a:p>
        </p:txBody>
      </p:sp>
      <p:sp>
        <p:nvSpPr>
          <p:cNvPr id="6" name="Picture Placeholder 2"/>
          <p:cNvSpPr>
            <a:spLocks noGrp="1"/>
          </p:cNvSpPr>
          <p:nvPr>
            <p:ph type="pic" sz="quarter" idx="13" hasCustomPrompt="1"/>
          </p:nvPr>
        </p:nvSpPr>
        <p:spPr>
          <a:xfrm>
            <a:off x="7021730" y="1581667"/>
            <a:ext cx="1742303" cy="3571103"/>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a:t>Drag &amp; Drop picture</a:t>
            </a:r>
          </a:p>
        </p:txBody>
      </p:sp>
      <p:sp>
        <p:nvSpPr>
          <p:cNvPr id="7" name="Picture Placeholder 2"/>
          <p:cNvSpPr>
            <a:spLocks noGrp="1"/>
          </p:cNvSpPr>
          <p:nvPr>
            <p:ph type="pic" sz="quarter" idx="14" hasCustomPrompt="1"/>
          </p:nvPr>
        </p:nvSpPr>
        <p:spPr>
          <a:xfrm>
            <a:off x="8835083" y="1927657"/>
            <a:ext cx="1742303" cy="3571103"/>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a:t>Drag &amp; Drop picture</a:t>
            </a:r>
          </a:p>
        </p:txBody>
      </p:sp>
      <p:sp>
        <p:nvSpPr>
          <p:cNvPr id="11" name="Title 13"/>
          <p:cNvSpPr>
            <a:spLocks noGrp="1"/>
          </p:cNvSpPr>
          <p:nvPr>
            <p:ph type="title"/>
          </p:nvPr>
        </p:nvSpPr>
        <p:spPr>
          <a:xfrm>
            <a:off x="577962" y="642541"/>
            <a:ext cx="11155129" cy="771592"/>
          </a:xfrm>
          <a:prstGeom prst="rect">
            <a:avLst/>
          </a:prstGeom>
        </p:spPr>
        <p:txBody>
          <a:bodyPr>
            <a:normAutofit/>
          </a:bodyPr>
          <a:lstStyle>
            <a:lvl1pPr>
              <a:lnSpc>
                <a:spcPct val="75000"/>
              </a:lnSpc>
              <a:defRPr sz="3200" b="1" i="0">
                <a:solidFill>
                  <a:schemeClr val="tx1"/>
                </a:solidFill>
                <a:latin typeface="HelveticaNeueLT Com 95 Blk" panose="020B0904020202020204" pitchFamily="34" charset="0"/>
                <a:ea typeface="HelveticaNeueLT Com 95 Blk" panose="020B0904020202020204" pitchFamily="34" charset="0"/>
                <a:cs typeface="HelveticaNeueLT Com 95 Blk" panose="020B0904020202020204" pitchFamily="34" charset="0"/>
              </a:defRPr>
            </a:lvl1pPr>
          </a:lstStyle>
          <a:p>
            <a:r>
              <a:rPr lang="en-US"/>
              <a:t>Click to edit Master title style</a:t>
            </a:r>
          </a:p>
        </p:txBody>
      </p:sp>
      <p:sp>
        <p:nvSpPr>
          <p:cNvPr id="16"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9"/>
            <a:endParaRPr lang="en-US" sz="2400">
              <a:solidFill>
                <a:srgbClr val="FFFFFF"/>
              </a:solidFill>
            </a:endParaRPr>
          </a:p>
        </p:txBody>
      </p:sp>
      <p:sp>
        <p:nvSpPr>
          <p:cNvPr id="17"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a:solidFill>
                <a:srgbClr val="FFFFFF"/>
              </a:solidFill>
            </a:endParaRPr>
          </a:p>
        </p:txBody>
      </p:sp>
      <p:pic>
        <p:nvPicPr>
          <p:cNvPr id="18" name="Picture 17"/>
          <p:cNvPicPr>
            <a:picLocks noChangeAspect="1"/>
          </p:cNvPicPr>
          <p:nvPr userDrawn="1"/>
        </p:nvPicPr>
        <p:blipFill rotWithShape="1">
          <a:blip r:embed="rId5" cstate="print">
            <a:extLst>
              <a:ext uri="{28A0092B-C50C-407E-A947-70E740481C1C}">
                <a14:useLocalDpi xmlns:a14="http://schemas.microsoft.com/office/drawing/2010/main" val="0"/>
              </a:ext>
            </a:extLst>
          </a:blip>
          <a:srcRect b="50000"/>
          <a:stretch/>
        </p:blipFill>
        <p:spPr>
          <a:xfrm>
            <a:off x="10565109" y="6622967"/>
            <a:ext cx="765552" cy="206703"/>
          </a:xfrm>
          <a:prstGeom prst="rect">
            <a:avLst/>
          </a:prstGeom>
        </p:spPr>
      </p:pic>
      <p:cxnSp>
        <p:nvCxnSpPr>
          <p:cNvPr id="19" name="Straight Connector 18"/>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6032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51_Placehol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2" name="Objec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6" name="Picture Placeholder 2"/>
          <p:cNvSpPr>
            <a:spLocks noGrp="1"/>
          </p:cNvSpPr>
          <p:nvPr>
            <p:ph type="pic" sz="quarter" idx="28"/>
          </p:nvPr>
        </p:nvSpPr>
        <p:spPr>
          <a:xfrm>
            <a:off x="7336989" y="0"/>
            <a:ext cx="4855011"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Rectangle 5"/>
          <p:cNvSpPr/>
          <p:nvPr userDrawn="1"/>
        </p:nvSpPr>
        <p:spPr>
          <a:xfrm rot="10800000">
            <a:off x="10150548" y="6472866"/>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9"/>
            <a:endParaRPr lang="en-US" sz="2400">
              <a:solidFill>
                <a:srgbClr val="FFFFFF"/>
              </a:solidFill>
            </a:endParaRPr>
          </a:p>
        </p:txBody>
      </p:sp>
      <p:sp>
        <p:nvSpPr>
          <p:cNvPr id="12" name="Slide Number Placeholder 4"/>
          <p:cNvSpPr txBox="1">
            <a:spLocks/>
          </p:cNvSpPr>
          <p:nvPr userDrawn="1"/>
        </p:nvSpPr>
        <p:spPr>
          <a:xfrm>
            <a:off x="11574065" y="6496015"/>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b="50000"/>
          <a:stretch/>
        </p:blipFill>
        <p:spPr>
          <a:xfrm>
            <a:off x="10565109" y="6622969"/>
            <a:ext cx="765552" cy="206703"/>
          </a:xfrm>
          <a:prstGeom prst="rect">
            <a:avLst/>
          </a:prstGeom>
        </p:spPr>
      </p:pic>
      <p:cxnSp>
        <p:nvCxnSpPr>
          <p:cNvPr id="14" name="Straight Connector 13"/>
          <p:cNvCxnSpPr/>
          <p:nvPr userDrawn="1"/>
        </p:nvCxnSpPr>
        <p:spPr>
          <a:xfrm>
            <a:off x="11518607" y="6575352"/>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864804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290300" y="6375258"/>
            <a:ext cx="742952" cy="357812"/>
          </a:xfrm>
          <a:prstGeom prst="rect">
            <a:avLst/>
          </a:prstGeom>
        </p:spPr>
        <p:txBody>
          <a:bodyPr anchor="b" anchorCtr="0"/>
          <a:lstStyle>
            <a:lvl1pPr algn="r">
              <a:defRPr sz="1600">
                <a:solidFill>
                  <a:schemeClr val="bg1">
                    <a:lumMod val="50000"/>
                  </a:schemeClr>
                </a:solidFill>
              </a:defRPr>
            </a:lvl1pPr>
          </a:lstStyle>
          <a:p>
            <a:pPr defTabSz="1219170" fontAlgn="base">
              <a:spcBef>
                <a:spcPct val="35000"/>
              </a:spcBef>
              <a:spcAft>
                <a:spcPct val="0"/>
              </a:spcAft>
              <a:buClr>
                <a:srgbClr val="FF140A"/>
              </a:buClr>
            </a:pPr>
            <a:fld id="{8A661967-8D01-4D8A-8FD0-86F83ECE6BD1}" type="slidenum">
              <a:rPr lang="en-US" smtClean="0">
                <a:solidFill>
                  <a:srgbClr val="FFFFFF">
                    <a:lumMod val="50000"/>
                  </a:srgbClr>
                </a:solidFill>
                <a:cs typeface="Arial" charset="0"/>
              </a:rPr>
              <a:pPr defTabSz="1219170" fontAlgn="base">
                <a:spcBef>
                  <a:spcPct val="35000"/>
                </a:spcBef>
                <a:spcAft>
                  <a:spcPct val="0"/>
                </a:spcAft>
                <a:buClr>
                  <a:srgbClr val="FF140A"/>
                </a:buClr>
              </a:pPr>
              <a:t>‹#›</a:t>
            </a:fld>
            <a:endParaRPr lang="en-US">
              <a:solidFill>
                <a:srgbClr val="FFFFFF">
                  <a:lumMod val="50000"/>
                </a:srgbClr>
              </a:solidFill>
              <a:cs typeface="Arial" charset="0"/>
            </a:endParaRPr>
          </a:p>
        </p:txBody>
      </p:sp>
      <p:sp>
        <p:nvSpPr>
          <p:cNvPr id="4" name="Footer Placeholder 4"/>
          <p:cNvSpPr>
            <a:spLocks noGrp="1"/>
          </p:cNvSpPr>
          <p:nvPr>
            <p:ph type="ftr" sz="quarter" idx="3"/>
          </p:nvPr>
        </p:nvSpPr>
        <p:spPr>
          <a:xfrm>
            <a:off x="1231012" y="6356351"/>
            <a:ext cx="4114800" cy="366183"/>
          </a:xfrm>
          <a:prstGeom prst="rect">
            <a:avLst/>
          </a:prstGeom>
        </p:spPr>
        <p:txBody>
          <a:bodyPr vert="horz" lIns="0" tIns="45720" rIns="91440" bIns="45720" rtlCol="0" anchor="b" anchorCtr="0"/>
          <a:lstStyle>
            <a:lvl1pPr algn="ctr">
              <a:defRPr sz="1333">
                <a:solidFill>
                  <a:schemeClr val="tx1">
                    <a:tint val="75000"/>
                  </a:schemeClr>
                </a:solidFill>
              </a:defRPr>
            </a:lvl1pPr>
          </a:lstStyle>
          <a:p>
            <a:pPr algn="l" defTabSz="1219170" fontAlgn="base">
              <a:spcBef>
                <a:spcPct val="35000"/>
              </a:spcBef>
              <a:spcAft>
                <a:spcPct val="0"/>
              </a:spcAft>
              <a:buClr>
                <a:srgbClr val="FF140A"/>
              </a:buClr>
            </a:pPr>
            <a:r>
              <a:rPr lang="en-US">
                <a:solidFill>
                  <a:srgbClr val="000000">
                    <a:tint val="75000"/>
                  </a:srgbClr>
                </a:solidFill>
                <a:cs typeface="Arial" charset="0"/>
              </a:rPr>
              <a:t>Insert Data Classification</a:t>
            </a:r>
          </a:p>
        </p:txBody>
      </p:sp>
    </p:spTree>
    <p:extLst>
      <p:ext uri="{BB962C8B-B14F-4D97-AF65-F5344CB8AC3E}">
        <p14:creationId xmlns:p14="http://schemas.microsoft.com/office/powerpoint/2010/main" val="14288578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10" name="Picture 9">
            <a:extLst>
              <a:ext uri="{FF2B5EF4-FFF2-40B4-BE49-F238E27FC236}">
                <a16:creationId xmlns:a16="http://schemas.microsoft.com/office/drawing/2014/main" id="{169139D2-8E91-2C40-8ED8-34AC3A406A3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09360" y="457200"/>
            <a:ext cx="2552700" cy="635000"/>
          </a:xfrm>
          <a:prstGeom prst="rect">
            <a:avLst/>
          </a:prstGeom>
        </p:spPr>
      </p:pic>
    </p:spTree>
    <p:extLst>
      <p:ext uri="{BB962C8B-B14F-4D97-AF65-F5344CB8AC3E}">
        <p14:creationId xmlns:p14="http://schemas.microsoft.com/office/powerpoint/2010/main" val="170278898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_Full screen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r>
              <a:rPr lang="en-US"/>
              <a:t>Click icon to add picture</a:t>
            </a:r>
          </a:p>
        </p:txBody>
      </p:sp>
      <p:sp>
        <p:nvSpPr>
          <p:cNvPr id="12"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35000"/>
              </a:spcBef>
              <a:spcAft>
                <a:spcPct val="0"/>
              </a:spcAft>
              <a:buClr>
                <a:srgbClr val="FF140A"/>
              </a:buClr>
              <a:buFont typeface="Wingdings" pitchFamily="-65" charset="2"/>
              <a:buNone/>
            </a:pPr>
            <a:endParaRPr lang="en-US" sz="2400">
              <a:solidFill>
                <a:srgbClr val="FFFFFF"/>
              </a:solidFill>
            </a:endParaRPr>
          </a:p>
        </p:txBody>
      </p:sp>
      <p:sp>
        <p:nvSpPr>
          <p:cNvPr id="13"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fontAlgn="base">
              <a:spcBef>
                <a:spcPct val="35000"/>
              </a:spcBef>
              <a:spcAft>
                <a:spcPct val="0"/>
              </a:spcAft>
              <a:buClr>
                <a:srgbClr val="FF140A"/>
              </a:buClr>
              <a:buFont typeface="Wingdings" pitchFamily="-65" charset="2"/>
              <a:buNone/>
            </a:pPr>
            <a:fld id="{E219BBCF-6562-0F4B-B1E4-C6BFB9DF245D}" type="slidenum">
              <a:rPr lang="en-US" sz="1333" smtClean="0">
                <a:solidFill>
                  <a:srgbClr val="FFFFFF"/>
                </a:solidFill>
              </a:rPr>
              <a:pPr fontAlgn="base">
                <a:spcBef>
                  <a:spcPct val="35000"/>
                </a:spcBef>
                <a:spcAft>
                  <a:spcPct val="0"/>
                </a:spcAft>
                <a:buClr>
                  <a:srgbClr val="FF140A"/>
                </a:buClr>
                <a:buFont typeface="Wingdings" pitchFamily="-65" charset="2"/>
                <a:buNone/>
              </a:pPr>
              <a:t>‹#›</a:t>
            </a:fld>
            <a:endParaRPr lang="en-US" sz="1333">
              <a:solidFill>
                <a:srgbClr val="FFFFFF"/>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7"/>
            <a:ext cx="765552" cy="206703"/>
          </a:xfrm>
          <a:prstGeom prst="rect">
            <a:avLst/>
          </a:prstGeom>
        </p:spPr>
      </p:pic>
      <p:cxnSp>
        <p:nvCxnSpPr>
          <p:cNvPr id="15" name="Straight Connector 14"/>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897857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3" name="Picture Placeholder 3"/>
          <p:cNvSpPr>
            <a:spLocks noGrp="1"/>
          </p:cNvSpPr>
          <p:nvPr userDrawn="1">
            <p:ph type="pic" sz="quarter" idx="11"/>
          </p:nvPr>
        </p:nvSpPr>
        <p:spPr>
          <a:xfrm>
            <a:off x="3067565" y="1009405"/>
            <a:ext cx="3017520" cy="2420175"/>
          </a:xfrm>
          <a:prstGeom prst="rect">
            <a:avLst/>
          </a:prstGeom>
          <a:ln>
            <a:noFill/>
          </a:ln>
        </p:spPr>
        <p:txBody>
          <a:bodyPr>
            <a:normAutofit/>
          </a:bodyPr>
          <a:lstStyle>
            <a:lvl1pPr>
              <a:defRPr sz="1351">
                <a:solidFill>
                  <a:srgbClr val="00B0F0"/>
                </a:solidFill>
              </a:defRPr>
            </a:lvl1pPr>
          </a:lstStyle>
          <a:p>
            <a:endParaRPr lang="id-ID"/>
          </a:p>
        </p:txBody>
      </p:sp>
      <p:sp>
        <p:nvSpPr>
          <p:cNvPr id="5" name="Picture Placeholder 3"/>
          <p:cNvSpPr>
            <a:spLocks noGrp="1"/>
          </p:cNvSpPr>
          <p:nvPr userDrawn="1">
            <p:ph type="pic" sz="quarter" idx="13"/>
          </p:nvPr>
        </p:nvSpPr>
        <p:spPr>
          <a:xfrm>
            <a:off x="6119783" y="1009405"/>
            <a:ext cx="3017520" cy="2420175"/>
          </a:xfrm>
          <a:prstGeom prst="rect">
            <a:avLst/>
          </a:prstGeom>
          <a:ln>
            <a:noFill/>
          </a:ln>
        </p:spPr>
        <p:txBody>
          <a:bodyPr>
            <a:normAutofit/>
          </a:bodyPr>
          <a:lstStyle>
            <a:lvl1pPr>
              <a:defRPr sz="1351">
                <a:solidFill>
                  <a:srgbClr val="00B0F0"/>
                </a:solidFill>
              </a:defRPr>
            </a:lvl1pPr>
          </a:lstStyle>
          <a:p>
            <a:endParaRPr lang="id-ID"/>
          </a:p>
        </p:txBody>
      </p:sp>
      <p:sp>
        <p:nvSpPr>
          <p:cNvPr id="10" name="Picture Placeholder 3"/>
          <p:cNvSpPr>
            <a:spLocks noGrp="1"/>
          </p:cNvSpPr>
          <p:nvPr>
            <p:ph type="pic" sz="quarter" idx="14"/>
          </p:nvPr>
        </p:nvSpPr>
        <p:spPr>
          <a:xfrm>
            <a:off x="9174480" y="1009405"/>
            <a:ext cx="3017520" cy="2420175"/>
          </a:xfrm>
          <a:prstGeom prst="rect">
            <a:avLst/>
          </a:prstGeom>
          <a:ln>
            <a:noFill/>
          </a:ln>
        </p:spPr>
        <p:txBody>
          <a:bodyPr>
            <a:normAutofit/>
          </a:bodyPr>
          <a:lstStyle>
            <a:lvl1pPr>
              <a:defRPr sz="1351">
                <a:solidFill>
                  <a:srgbClr val="00B0F0"/>
                </a:solidFill>
              </a:defRPr>
            </a:lvl1pPr>
          </a:lstStyle>
          <a:p>
            <a:endParaRPr lang="id-ID"/>
          </a:p>
        </p:txBody>
      </p:sp>
      <p:sp>
        <p:nvSpPr>
          <p:cNvPr id="7" name="Picture Placeholder 3"/>
          <p:cNvSpPr>
            <a:spLocks noGrp="1"/>
          </p:cNvSpPr>
          <p:nvPr>
            <p:ph type="pic" sz="quarter" idx="16"/>
          </p:nvPr>
        </p:nvSpPr>
        <p:spPr>
          <a:xfrm>
            <a:off x="3066405" y="3409098"/>
            <a:ext cx="3017520" cy="2420175"/>
          </a:xfrm>
          <a:prstGeom prst="rect">
            <a:avLst/>
          </a:prstGeom>
          <a:ln>
            <a:noFill/>
          </a:ln>
        </p:spPr>
        <p:txBody>
          <a:bodyPr>
            <a:normAutofit/>
          </a:bodyPr>
          <a:lstStyle>
            <a:lvl1pPr>
              <a:defRPr sz="1351">
                <a:solidFill>
                  <a:srgbClr val="00B0F0"/>
                </a:solidFill>
              </a:defRPr>
            </a:lvl1pPr>
          </a:lstStyle>
          <a:p>
            <a:endParaRPr lang="id-ID"/>
          </a:p>
        </p:txBody>
      </p:sp>
      <p:sp>
        <p:nvSpPr>
          <p:cNvPr id="8" name="Picture Placeholder 3"/>
          <p:cNvSpPr>
            <a:spLocks noGrp="1"/>
          </p:cNvSpPr>
          <p:nvPr>
            <p:ph type="pic" sz="quarter" idx="17"/>
          </p:nvPr>
        </p:nvSpPr>
        <p:spPr>
          <a:xfrm>
            <a:off x="6118623" y="3409098"/>
            <a:ext cx="3017520" cy="2420175"/>
          </a:xfrm>
          <a:prstGeom prst="rect">
            <a:avLst/>
          </a:prstGeom>
          <a:ln>
            <a:noFill/>
          </a:ln>
        </p:spPr>
        <p:txBody>
          <a:bodyPr>
            <a:normAutofit/>
          </a:bodyPr>
          <a:lstStyle>
            <a:lvl1pPr>
              <a:defRPr sz="1351">
                <a:solidFill>
                  <a:srgbClr val="00B0F0"/>
                </a:solidFill>
              </a:defRPr>
            </a:lvl1pPr>
          </a:lstStyle>
          <a:p>
            <a:endParaRPr lang="id-ID"/>
          </a:p>
        </p:txBody>
      </p:sp>
      <p:sp>
        <p:nvSpPr>
          <p:cNvPr id="9" name="Picture Placeholder 3"/>
          <p:cNvSpPr>
            <a:spLocks noGrp="1"/>
          </p:cNvSpPr>
          <p:nvPr>
            <p:ph type="pic" sz="quarter" idx="18"/>
          </p:nvPr>
        </p:nvSpPr>
        <p:spPr>
          <a:xfrm>
            <a:off x="9174351" y="3409098"/>
            <a:ext cx="3017520" cy="2420175"/>
          </a:xfrm>
          <a:prstGeom prst="rect">
            <a:avLst/>
          </a:prstGeom>
          <a:ln>
            <a:noFill/>
          </a:ln>
        </p:spPr>
        <p:txBody>
          <a:bodyPr>
            <a:normAutofit/>
          </a:bodyPr>
          <a:lstStyle>
            <a:lvl1pPr>
              <a:defRPr sz="1351">
                <a:solidFill>
                  <a:srgbClr val="00B0F0"/>
                </a:solidFill>
              </a:defRPr>
            </a:lvl1pPr>
          </a:lstStyle>
          <a:p>
            <a:endParaRPr lang="id-ID"/>
          </a:p>
        </p:txBody>
      </p:sp>
      <p:sp>
        <p:nvSpPr>
          <p:cNvPr id="14" name="Picture Placeholder 3"/>
          <p:cNvSpPr>
            <a:spLocks noGrp="1"/>
          </p:cNvSpPr>
          <p:nvPr>
            <p:ph type="pic" sz="quarter" idx="19"/>
          </p:nvPr>
        </p:nvSpPr>
        <p:spPr>
          <a:xfrm>
            <a:off x="1159" y="1009405"/>
            <a:ext cx="3017520" cy="2420175"/>
          </a:xfrm>
          <a:prstGeom prst="rect">
            <a:avLst/>
          </a:prstGeom>
          <a:ln>
            <a:noFill/>
          </a:ln>
        </p:spPr>
        <p:txBody>
          <a:bodyPr>
            <a:normAutofit/>
          </a:bodyPr>
          <a:lstStyle>
            <a:lvl1pPr>
              <a:defRPr sz="1351">
                <a:solidFill>
                  <a:srgbClr val="00B0F0"/>
                </a:solidFill>
              </a:defRPr>
            </a:lvl1pPr>
          </a:lstStyle>
          <a:p>
            <a:endParaRPr lang="id-ID"/>
          </a:p>
        </p:txBody>
      </p:sp>
      <p:sp>
        <p:nvSpPr>
          <p:cNvPr id="15" name="Picture Placeholder 3"/>
          <p:cNvSpPr>
            <a:spLocks noGrp="1"/>
          </p:cNvSpPr>
          <p:nvPr>
            <p:ph type="pic" sz="quarter" idx="20"/>
          </p:nvPr>
        </p:nvSpPr>
        <p:spPr>
          <a:xfrm>
            <a:off x="0" y="3409098"/>
            <a:ext cx="3017520" cy="2420175"/>
          </a:xfrm>
          <a:prstGeom prst="rect">
            <a:avLst/>
          </a:prstGeom>
          <a:ln>
            <a:noFill/>
          </a:ln>
        </p:spPr>
        <p:txBody>
          <a:bodyPr>
            <a:normAutofit/>
          </a:bodyPr>
          <a:lstStyle>
            <a:lvl1pPr>
              <a:defRPr sz="1351">
                <a:solidFill>
                  <a:srgbClr val="00B0F0"/>
                </a:solidFill>
              </a:defRPr>
            </a:lvl1pPr>
          </a:lstStyle>
          <a:p>
            <a:endParaRPr lang="id-ID"/>
          </a:p>
        </p:txBody>
      </p:sp>
    </p:spTree>
    <p:extLst>
      <p:ext uri="{BB962C8B-B14F-4D97-AF65-F5344CB8AC3E}">
        <p14:creationId xmlns:p14="http://schemas.microsoft.com/office/powerpoint/2010/main" val="246719646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Content and horizontal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3233" y="1412876"/>
            <a:ext cx="11370779" cy="18721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1231012" y="6356351"/>
            <a:ext cx="4114800" cy="366183"/>
          </a:xfrm>
          <a:prstGeom prst="rect">
            <a:avLst/>
          </a:prstGeom>
        </p:spPr>
        <p:txBody>
          <a:bodyPr/>
          <a:lstStyle/>
          <a:p>
            <a:pPr algn="r" defTabSz="1219170" fontAlgn="base">
              <a:spcBef>
                <a:spcPct val="35000"/>
              </a:spcBef>
              <a:spcAft>
                <a:spcPct val="0"/>
              </a:spcAft>
              <a:buClr>
                <a:srgbClr val="FF140A"/>
              </a:buClr>
            </a:pPr>
            <a:r>
              <a:rPr lang="en-GB">
                <a:solidFill>
                  <a:srgbClr val="000000"/>
                </a:solidFill>
                <a:cs typeface="Arial" charset="0"/>
              </a:rPr>
              <a:t>CONFIDENTIAL</a:t>
            </a:r>
          </a:p>
        </p:txBody>
      </p:sp>
      <p:sp>
        <p:nvSpPr>
          <p:cNvPr id="5" name="Slide Number Placeholder 4"/>
          <p:cNvSpPr>
            <a:spLocks noGrp="1"/>
          </p:cNvSpPr>
          <p:nvPr>
            <p:ph type="sldNum" sz="quarter" idx="11"/>
          </p:nvPr>
        </p:nvSpPr>
        <p:spPr>
          <a:xfrm>
            <a:off x="11341894" y="6539891"/>
            <a:ext cx="548457" cy="179387"/>
          </a:xfrm>
          <a:prstGeom prst="rect">
            <a:avLst/>
          </a:prstGeom>
        </p:spPr>
        <p:txBody>
          <a:bodyPr/>
          <a:lstStyle/>
          <a:p>
            <a:pPr algn="r" defTabSz="1219170" fontAlgn="base">
              <a:spcBef>
                <a:spcPct val="35000"/>
              </a:spcBef>
              <a:spcAft>
                <a:spcPct val="0"/>
              </a:spcAft>
              <a:buClr>
                <a:srgbClr val="FF140A"/>
              </a:buClr>
              <a:defRPr/>
            </a:pPr>
            <a:fld id="{7F579488-64CC-414E-9849-01D10FE0EDE0}" type="slidenum">
              <a:rPr lang="en-GB">
                <a:solidFill>
                  <a:srgbClr val="000000"/>
                </a:solidFill>
                <a:cs typeface="Arial" charset="0"/>
              </a:rPr>
              <a:pPr algn="r" defTabSz="1219170" fontAlgn="base">
                <a:spcBef>
                  <a:spcPct val="35000"/>
                </a:spcBef>
                <a:spcAft>
                  <a:spcPct val="0"/>
                </a:spcAft>
                <a:buClr>
                  <a:srgbClr val="FF140A"/>
                </a:buClr>
                <a:defRPr/>
              </a:pPr>
              <a:t>‹#›</a:t>
            </a:fld>
            <a:endParaRPr lang="en-GB">
              <a:solidFill>
                <a:srgbClr val="000000"/>
              </a:solidFill>
              <a:cs typeface="Arial" charset="0"/>
            </a:endParaRPr>
          </a:p>
        </p:txBody>
      </p:sp>
      <p:sp>
        <p:nvSpPr>
          <p:cNvPr id="7" name="Picture Placeholder 6"/>
          <p:cNvSpPr>
            <a:spLocks noGrp="1"/>
          </p:cNvSpPr>
          <p:nvPr>
            <p:ph type="pic" sz="quarter" idx="12"/>
          </p:nvPr>
        </p:nvSpPr>
        <p:spPr>
          <a:xfrm>
            <a:off x="0" y="3429002"/>
            <a:ext cx="12192000" cy="2879725"/>
          </a:xfrm>
          <a:prstGeom prst="rect">
            <a:avLst/>
          </a:prstGeom>
          <a:solidFill>
            <a:schemeClr val="accent6"/>
          </a:solidFill>
        </p:spPr>
        <p:txBody>
          <a:bodyPr/>
          <a:lstStyle/>
          <a:p>
            <a:endParaRPr lang="en-GB"/>
          </a:p>
        </p:txBody>
      </p:sp>
    </p:spTree>
    <p:extLst>
      <p:ext uri="{BB962C8B-B14F-4D97-AF65-F5344CB8AC3E}">
        <p14:creationId xmlns:p14="http://schemas.microsoft.com/office/powerpoint/2010/main" val="65908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609600" y="1691219"/>
            <a:ext cx="10744200" cy="4485745"/>
          </a:xfrm>
          <a:prstGeom prst="rect">
            <a:avLst/>
          </a:prstGeom>
        </p:spPr>
        <p:txBody>
          <a:bodyPr/>
          <a:lstStyle>
            <a:lvl1pPr marL="174621" indent="-168270">
              <a:spcBef>
                <a:spcPts val="0"/>
              </a:spcBef>
              <a:spcAft>
                <a:spcPts val="600"/>
              </a:spcAft>
              <a:defRPr/>
            </a:lvl1pPr>
            <a:lvl2pPr marL="461951" indent="-234945">
              <a:spcBef>
                <a:spcPts val="0"/>
              </a:spcBef>
              <a:spcAft>
                <a:spcPts val="600"/>
              </a:spcAft>
              <a:defRPr/>
            </a:lvl2pPr>
            <a:lvl3pPr marL="687371" indent="-168270">
              <a:spcBef>
                <a:spcPts val="0"/>
              </a:spcBef>
              <a:spcAft>
                <a:spcPts val="600"/>
              </a:spcAft>
              <a:defRPr/>
            </a:lvl3pPr>
            <a:lvl4pPr marL="974701" indent="-228594">
              <a:spcBef>
                <a:spcPts val="0"/>
              </a:spcBef>
              <a:spcAft>
                <a:spcPts val="600"/>
              </a:spcAft>
              <a:tabLs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Placeholder 8"/>
          <p:cNvSpPr>
            <a:spLocks noGrp="1"/>
          </p:cNvSpPr>
          <p:nvPr>
            <p:ph type="title"/>
          </p:nvPr>
        </p:nvSpPr>
        <p:spPr bwMode="auto">
          <a:xfrm>
            <a:off x="533400" y="230190"/>
            <a:ext cx="110490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218482349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ubtitle, bullets">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63671" y="1335088"/>
            <a:ext cx="11035431" cy="45323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sz="quarter" idx="11"/>
          </p:nvPr>
        </p:nvSpPr>
        <p:spPr>
          <a:xfrm>
            <a:off x="563671" y="762000"/>
            <a:ext cx="11035431" cy="496888"/>
          </a:xfrm>
          <a:prstGeom prst="rect">
            <a:avLst/>
          </a:prstGeom>
        </p:spPr>
        <p:txBody>
          <a:bodyPr/>
          <a:lstStyle>
            <a:lvl1pPr marL="0" indent="0" algn="l">
              <a:buNone/>
              <a:defRPr>
                <a:solidFill>
                  <a:schemeClr val="accent4"/>
                </a:solidFill>
              </a:defRPr>
            </a:lvl1pPr>
          </a:lstStyle>
          <a:p>
            <a:pPr lvl="0"/>
            <a:r>
              <a:rPr lang="en-US"/>
              <a:t>Click to edit Master text styles</a:t>
            </a:r>
          </a:p>
        </p:txBody>
      </p:sp>
      <p:sp>
        <p:nvSpPr>
          <p:cNvPr id="6" name="Title Placeholder 8"/>
          <p:cNvSpPr>
            <a:spLocks noGrp="1"/>
          </p:cNvSpPr>
          <p:nvPr>
            <p:ph type="title"/>
          </p:nvPr>
        </p:nvSpPr>
        <p:spPr bwMode="auto">
          <a:xfrm>
            <a:off x="533400" y="230189"/>
            <a:ext cx="11049000" cy="531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29863996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10566400" y="6172202"/>
            <a:ext cx="508000" cy="246221"/>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defTabSz="1219170" eaLnBrk="1" fontAlgn="base" hangingPunct="1">
              <a:spcBef>
                <a:spcPct val="0"/>
              </a:spcBef>
              <a:spcAft>
                <a:spcPct val="0"/>
              </a:spcAft>
              <a:defRPr/>
            </a:pPr>
            <a:fld id="{BCDAC752-AE4F-4228-8ECD-F987B0504917}" type="slidenum">
              <a:rPr lang="en-US" altLang="en-US" sz="1000" b="1" smtClean="0">
                <a:solidFill>
                  <a:prstClr val="white"/>
                </a:solidFill>
                <a:cs typeface="Arial" charset="0"/>
              </a:rPr>
              <a:pPr defTabSz="1219170" eaLnBrk="1" fontAlgn="base" hangingPunct="1">
                <a:spcBef>
                  <a:spcPct val="0"/>
                </a:spcBef>
                <a:spcAft>
                  <a:spcPct val="0"/>
                </a:spcAft>
                <a:defRPr/>
              </a:pPr>
              <a:t>‹#›</a:t>
            </a:fld>
            <a:endParaRPr lang="en-US" altLang="en-US" sz="1000" b="1">
              <a:solidFill>
                <a:prstClr val="white"/>
              </a:solidFill>
              <a:cs typeface="Arial" charset="0"/>
            </a:endParaRPr>
          </a:p>
        </p:txBody>
      </p:sp>
      <p:sp>
        <p:nvSpPr>
          <p:cNvPr id="3" name="Content Placeholder 2"/>
          <p:cNvSpPr>
            <a:spLocks noGrp="1"/>
          </p:cNvSpPr>
          <p:nvPr>
            <p:ph sz="half" idx="1"/>
          </p:nvPr>
        </p:nvSpPr>
        <p:spPr>
          <a:xfrm>
            <a:off x="563673" y="1335091"/>
            <a:ext cx="5569100" cy="4532311"/>
          </a:xfrm>
          <a:prstGeom prst="rect">
            <a:avLst/>
          </a:prstGeom>
        </p:spPr>
        <p:txBody>
          <a:bodyPr/>
          <a:lstStyle>
            <a:lvl1pPr>
              <a:defRPr sz="2600"/>
            </a:lvl1pPr>
            <a:lvl2pPr marL="514338" indent="-284156">
              <a:defRPr sz="2400"/>
            </a:lvl2pPr>
            <a:lvl3pPr marL="684196" indent="-173034">
              <a:defRPr sz="2000"/>
            </a:lvl3pPr>
            <a:lvl4pPr marL="968350" indent="-228594">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5038" y="1335091"/>
            <a:ext cx="5100661" cy="4532311"/>
          </a:xfrm>
          <a:prstGeom prst="rect">
            <a:avLst/>
          </a:prstGeom>
        </p:spPr>
        <p:txBody>
          <a:bodyPr/>
          <a:lstStyle>
            <a:lvl1pPr>
              <a:defRPr sz="2600"/>
            </a:lvl1pPr>
            <a:lvl2pPr marL="514338" indent="-284156">
              <a:defRPr sz="2400"/>
            </a:lvl2pPr>
            <a:lvl3pPr marL="684196" indent="-173034">
              <a:defRPr sz="2000"/>
            </a:lvl3pPr>
            <a:lvl4pPr marL="968350" indent="-228594">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Box 5"/>
          <p:cNvSpPr txBox="1">
            <a:spLocks noChangeArrowheads="1"/>
          </p:cNvSpPr>
          <p:nvPr userDrawn="1"/>
        </p:nvSpPr>
        <p:spPr bwMode="auto">
          <a:xfrm>
            <a:off x="10566400" y="6172202"/>
            <a:ext cx="508000" cy="246221"/>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defTabSz="1219170" eaLnBrk="1" fontAlgn="base" hangingPunct="1">
              <a:spcBef>
                <a:spcPct val="0"/>
              </a:spcBef>
              <a:spcAft>
                <a:spcPct val="0"/>
              </a:spcAft>
              <a:defRPr/>
            </a:pPr>
            <a:fld id="{BCDAC752-AE4F-4228-8ECD-F987B0504917}" type="slidenum">
              <a:rPr lang="en-US" altLang="en-US" sz="1000" b="1" smtClean="0">
                <a:solidFill>
                  <a:prstClr val="white"/>
                </a:solidFill>
                <a:cs typeface="Arial" charset="0"/>
              </a:rPr>
              <a:pPr defTabSz="1219170" eaLnBrk="1" fontAlgn="base" hangingPunct="1">
                <a:spcBef>
                  <a:spcPct val="0"/>
                </a:spcBef>
                <a:spcAft>
                  <a:spcPct val="0"/>
                </a:spcAft>
                <a:defRPr/>
              </a:pPr>
              <a:t>‹#›</a:t>
            </a:fld>
            <a:endParaRPr lang="en-US" altLang="en-US" sz="1000" b="1">
              <a:solidFill>
                <a:prstClr val="white"/>
              </a:solidFill>
              <a:cs typeface="Arial" charset="0"/>
            </a:endParaRPr>
          </a:p>
        </p:txBody>
      </p:sp>
      <p:sp>
        <p:nvSpPr>
          <p:cNvPr id="7" name="Title Placeholder 8"/>
          <p:cNvSpPr>
            <a:spLocks noGrp="1"/>
          </p:cNvSpPr>
          <p:nvPr>
            <p:ph type="title"/>
          </p:nvPr>
        </p:nvSpPr>
        <p:spPr bwMode="auto">
          <a:xfrm>
            <a:off x="533400" y="230190"/>
            <a:ext cx="110490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205165372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object with bullets">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10566400" y="6172202"/>
            <a:ext cx="508000" cy="246221"/>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defTabSz="1219170" eaLnBrk="1" fontAlgn="base" hangingPunct="1">
              <a:spcBef>
                <a:spcPct val="0"/>
              </a:spcBef>
              <a:spcAft>
                <a:spcPct val="0"/>
              </a:spcAft>
              <a:defRPr/>
            </a:pPr>
            <a:fld id="{BCDAC752-AE4F-4228-8ECD-F987B0504917}" type="slidenum">
              <a:rPr lang="en-US" altLang="en-US" sz="1000" b="1" smtClean="0">
                <a:solidFill>
                  <a:prstClr val="white"/>
                </a:solidFill>
                <a:cs typeface="Arial" charset="0"/>
              </a:rPr>
              <a:pPr defTabSz="1219170" eaLnBrk="1" fontAlgn="base" hangingPunct="1">
                <a:spcBef>
                  <a:spcPct val="0"/>
                </a:spcBef>
                <a:spcAft>
                  <a:spcPct val="0"/>
                </a:spcAft>
                <a:defRPr/>
              </a:pPr>
              <a:t>‹#›</a:t>
            </a:fld>
            <a:endParaRPr lang="en-US" altLang="en-US" sz="1000" b="1">
              <a:solidFill>
                <a:prstClr val="white"/>
              </a:solidFill>
              <a:cs typeface="Arial" charset="0"/>
            </a:endParaRPr>
          </a:p>
        </p:txBody>
      </p:sp>
      <p:sp>
        <p:nvSpPr>
          <p:cNvPr id="3" name="Content Placeholder 2"/>
          <p:cNvSpPr>
            <a:spLocks noGrp="1"/>
          </p:cNvSpPr>
          <p:nvPr>
            <p:ph sz="half" idx="1"/>
          </p:nvPr>
        </p:nvSpPr>
        <p:spPr>
          <a:xfrm>
            <a:off x="563671" y="1335091"/>
            <a:ext cx="5569100" cy="4532311"/>
          </a:xfrm>
          <a:prstGeom prst="rect">
            <a:avLst/>
          </a:prstGeom>
        </p:spPr>
        <p:txBody>
          <a:bodyPr/>
          <a:lstStyle>
            <a:lvl1pPr marL="0" indent="0">
              <a:buNone/>
              <a:defRPr sz="2600"/>
            </a:lvl1pPr>
            <a:lvl2pPr marL="514338" indent="-284156">
              <a:defRPr sz="2400"/>
            </a:lvl2pPr>
            <a:lvl3pPr marL="684196" indent="-173034">
              <a:defRPr sz="2000"/>
            </a:lvl3pPr>
            <a:lvl4pPr marL="968350" indent="-228594">
              <a:defRPr sz="1800"/>
            </a:lvl4pPr>
            <a:lvl5pPr>
              <a:defRPr sz="1800"/>
            </a:lvl5pPr>
            <a:lvl6pPr>
              <a:defRPr sz="1800"/>
            </a:lvl6pPr>
            <a:lvl7pPr>
              <a:defRPr sz="1800"/>
            </a:lvl7pPr>
            <a:lvl8pPr>
              <a:defRPr sz="1800"/>
            </a:lvl8pPr>
            <a:lvl9pPr>
              <a:defRPr sz="1800"/>
            </a:lvl9pPr>
          </a:lstStyle>
          <a:p>
            <a:pPr lvl="0"/>
            <a:r>
              <a:rPr lang="en-US"/>
              <a:t>Click to edit Master text styles</a:t>
            </a:r>
          </a:p>
        </p:txBody>
      </p:sp>
      <p:sp>
        <p:nvSpPr>
          <p:cNvPr id="4" name="Content Placeholder 3"/>
          <p:cNvSpPr>
            <a:spLocks noGrp="1"/>
          </p:cNvSpPr>
          <p:nvPr>
            <p:ph sz="half" idx="2"/>
          </p:nvPr>
        </p:nvSpPr>
        <p:spPr>
          <a:xfrm>
            <a:off x="6454013" y="1335091"/>
            <a:ext cx="5128387" cy="4532311"/>
          </a:xfrm>
          <a:prstGeom prst="rect">
            <a:avLst/>
          </a:prstGeom>
        </p:spPr>
        <p:txBody>
          <a:bodyPr/>
          <a:lstStyle>
            <a:lvl1pPr>
              <a:defRPr sz="2600"/>
            </a:lvl1pPr>
            <a:lvl2pPr marL="514338" indent="-284156">
              <a:defRPr sz="2400"/>
            </a:lvl2pPr>
            <a:lvl3pPr marL="684196" indent="-173034">
              <a:defRPr sz="2000"/>
            </a:lvl3pPr>
            <a:lvl4pPr marL="968350" indent="-228594">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Box 5"/>
          <p:cNvSpPr txBox="1">
            <a:spLocks noChangeArrowheads="1"/>
          </p:cNvSpPr>
          <p:nvPr userDrawn="1"/>
        </p:nvSpPr>
        <p:spPr bwMode="auto">
          <a:xfrm>
            <a:off x="10566400" y="6172202"/>
            <a:ext cx="508000" cy="246221"/>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defTabSz="1219170" eaLnBrk="1" fontAlgn="base" hangingPunct="1">
              <a:spcBef>
                <a:spcPct val="0"/>
              </a:spcBef>
              <a:spcAft>
                <a:spcPct val="0"/>
              </a:spcAft>
              <a:defRPr/>
            </a:pPr>
            <a:fld id="{BCDAC752-AE4F-4228-8ECD-F987B0504917}" type="slidenum">
              <a:rPr lang="en-US" altLang="en-US" sz="1000" b="1" smtClean="0">
                <a:solidFill>
                  <a:prstClr val="white"/>
                </a:solidFill>
                <a:cs typeface="Arial" charset="0"/>
              </a:rPr>
              <a:pPr defTabSz="1219170" eaLnBrk="1" fontAlgn="base" hangingPunct="1">
                <a:spcBef>
                  <a:spcPct val="0"/>
                </a:spcBef>
                <a:spcAft>
                  <a:spcPct val="0"/>
                </a:spcAft>
                <a:defRPr/>
              </a:pPr>
              <a:t>‹#›</a:t>
            </a:fld>
            <a:endParaRPr lang="en-US" altLang="en-US" sz="1000" b="1">
              <a:solidFill>
                <a:prstClr val="white"/>
              </a:solidFill>
              <a:cs typeface="Arial" charset="0"/>
            </a:endParaRPr>
          </a:p>
        </p:txBody>
      </p:sp>
      <p:sp>
        <p:nvSpPr>
          <p:cNvPr id="9" name="Title Placeholder 8"/>
          <p:cNvSpPr>
            <a:spLocks noGrp="1"/>
          </p:cNvSpPr>
          <p:nvPr>
            <p:ph type="title"/>
          </p:nvPr>
        </p:nvSpPr>
        <p:spPr bwMode="auto">
          <a:xfrm>
            <a:off x="533400" y="230190"/>
            <a:ext cx="110490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83010525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mparison w colored heads">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566400" y="6172202"/>
            <a:ext cx="508000" cy="246221"/>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defTabSz="1219170" eaLnBrk="1" fontAlgn="base" hangingPunct="1">
              <a:spcBef>
                <a:spcPct val="0"/>
              </a:spcBef>
              <a:spcAft>
                <a:spcPct val="0"/>
              </a:spcAft>
              <a:defRPr/>
            </a:pPr>
            <a:fld id="{F56A63E4-9D62-4376-8253-D76FD456C3C4}" type="slidenum">
              <a:rPr lang="en-US" altLang="en-US" sz="1000" b="1" smtClean="0">
                <a:solidFill>
                  <a:prstClr val="white"/>
                </a:solidFill>
                <a:cs typeface="Arial" charset="0"/>
              </a:rPr>
              <a:pPr defTabSz="1219170" eaLnBrk="1" fontAlgn="base" hangingPunct="1">
                <a:spcBef>
                  <a:spcPct val="0"/>
                </a:spcBef>
                <a:spcAft>
                  <a:spcPct val="0"/>
                </a:spcAft>
                <a:defRPr/>
              </a:pPr>
              <a:t>‹#›</a:t>
            </a:fld>
            <a:endParaRPr lang="en-US" altLang="en-US" sz="1000" b="1">
              <a:solidFill>
                <a:prstClr val="white"/>
              </a:solidFill>
              <a:cs typeface="Arial" charset="0"/>
            </a:endParaRPr>
          </a:p>
        </p:txBody>
      </p:sp>
      <p:sp>
        <p:nvSpPr>
          <p:cNvPr id="3" name="Text Placeholder 2"/>
          <p:cNvSpPr>
            <a:spLocks noGrp="1"/>
          </p:cNvSpPr>
          <p:nvPr>
            <p:ph type="body" idx="1"/>
          </p:nvPr>
        </p:nvSpPr>
        <p:spPr>
          <a:xfrm>
            <a:off x="563671" y="1335088"/>
            <a:ext cx="5569100" cy="639763"/>
          </a:xfrm>
          <a:prstGeom prst="rect">
            <a:avLst/>
          </a:prstGeom>
          <a:solidFill>
            <a:srgbClr val="8CC63F"/>
          </a:solidFill>
          <a:ln>
            <a:noFill/>
          </a:ln>
        </p:spPr>
        <p:txBody>
          <a:bodyPr lIns="91440" tIns="91440" rIns="91440" bIns="91440" anchor="ctr" anchorCtr="1"/>
          <a:lstStyle>
            <a:lvl1pPr marL="0" indent="0" algn="ctr">
              <a:lnSpc>
                <a:spcPts val="2400"/>
              </a:lnSpc>
              <a:spcBef>
                <a:spcPts val="0"/>
              </a:spcBef>
              <a:buNone/>
              <a:defRPr sz="2400" b="1">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563671" y="2133600"/>
            <a:ext cx="5569100" cy="3733800"/>
          </a:xfrm>
          <a:prstGeom prst="rect">
            <a:avLst/>
          </a:prstGeom>
        </p:spPr>
        <p:txBody>
          <a:bodyPr/>
          <a:lstStyle>
            <a:lvl1pPr marL="174621" indent="-168270">
              <a:defRPr sz="2000"/>
            </a:lvl1pPr>
            <a:lvl2pPr marL="461951" indent="-231769">
              <a:defRPr sz="1800"/>
            </a:lvl2pPr>
            <a:lvl3pPr marL="628635" indent="-173034">
              <a:defRPr sz="1800"/>
            </a:lvl3pPr>
            <a:lvl4pPr marL="803255" indent="-168270">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480344" y="1335088"/>
            <a:ext cx="5107625" cy="639763"/>
          </a:xfrm>
          <a:prstGeom prst="rect">
            <a:avLst/>
          </a:prstGeom>
          <a:solidFill>
            <a:srgbClr val="8CC63F"/>
          </a:solidFill>
          <a:ln>
            <a:noFill/>
          </a:ln>
        </p:spPr>
        <p:txBody>
          <a:bodyPr lIns="91440" tIns="91440" rIns="91440" bIns="91440" anchor="ctr" anchorCtr="1"/>
          <a:lstStyle>
            <a:lvl1pPr marL="0" indent="0" algn="ctr">
              <a:lnSpc>
                <a:spcPts val="2400"/>
              </a:lnSpc>
              <a:spcBef>
                <a:spcPts val="0"/>
              </a:spcBef>
              <a:buNone/>
              <a:defRPr sz="2400" b="1">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80344" y="2133600"/>
            <a:ext cx="5107625" cy="3733800"/>
          </a:xfrm>
          <a:prstGeom prst="rect">
            <a:avLst/>
          </a:prstGeom>
        </p:spPr>
        <p:txBody>
          <a:bodyPr/>
          <a:lstStyle>
            <a:lvl1pPr marL="174621" indent="-168270">
              <a:defRPr sz="2000"/>
            </a:lvl1pPr>
            <a:lvl2pPr marL="461951" indent="-231769">
              <a:defRPr sz="1800"/>
            </a:lvl2pPr>
            <a:lvl3pPr marL="628635" indent="-173034">
              <a:defRPr sz="1800"/>
            </a:lvl3pPr>
            <a:lvl4pPr marL="803255" indent="-168270">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Box 8"/>
          <p:cNvSpPr txBox="1">
            <a:spLocks noChangeArrowheads="1"/>
          </p:cNvSpPr>
          <p:nvPr userDrawn="1"/>
        </p:nvSpPr>
        <p:spPr bwMode="auto">
          <a:xfrm>
            <a:off x="10566400" y="6172202"/>
            <a:ext cx="508000" cy="246221"/>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defTabSz="1219170" eaLnBrk="1" fontAlgn="base" hangingPunct="1">
              <a:spcBef>
                <a:spcPct val="0"/>
              </a:spcBef>
              <a:spcAft>
                <a:spcPct val="0"/>
              </a:spcAft>
              <a:defRPr/>
            </a:pPr>
            <a:fld id="{F56A63E4-9D62-4376-8253-D76FD456C3C4}" type="slidenum">
              <a:rPr lang="en-US" altLang="en-US" sz="1000" b="1" smtClean="0">
                <a:solidFill>
                  <a:prstClr val="white"/>
                </a:solidFill>
                <a:cs typeface="Arial" charset="0"/>
              </a:rPr>
              <a:pPr defTabSz="1219170" eaLnBrk="1" fontAlgn="base" hangingPunct="1">
                <a:spcBef>
                  <a:spcPct val="0"/>
                </a:spcBef>
                <a:spcAft>
                  <a:spcPct val="0"/>
                </a:spcAft>
                <a:defRPr/>
              </a:pPr>
              <a:t>‹#›</a:t>
            </a:fld>
            <a:endParaRPr lang="en-US" altLang="en-US" sz="1000" b="1">
              <a:solidFill>
                <a:prstClr val="white"/>
              </a:solidFill>
              <a:cs typeface="Arial" charset="0"/>
            </a:endParaRPr>
          </a:p>
        </p:txBody>
      </p:sp>
      <p:sp>
        <p:nvSpPr>
          <p:cNvPr id="11" name="Title Placeholder 8"/>
          <p:cNvSpPr>
            <a:spLocks noGrp="1"/>
          </p:cNvSpPr>
          <p:nvPr>
            <p:ph type="title"/>
          </p:nvPr>
        </p:nvSpPr>
        <p:spPr bwMode="auto">
          <a:xfrm>
            <a:off x="533400" y="230190"/>
            <a:ext cx="110490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77446985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Section opener left">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2" y="0"/>
            <a:ext cx="6076945"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02319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754106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D240D8-A3B9-4A79-87D9-793222FF5F04}"/>
              </a:ext>
            </a:extLst>
          </p:cNvPr>
          <p:cNvGraphicFramePr>
            <a:graphicFrameLocks noChangeAspect="1"/>
          </p:cNvGraphicFramePr>
          <p:nvPr userDrawn="1">
            <p:custDataLst>
              <p:tags r:id="rId1"/>
            </p:custDataLst>
            <p:extLst>
              <p:ext uri="{D42A27DB-BD31-4B8C-83A1-F6EECF244321}">
                <p14:modId xmlns:p14="http://schemas.microsoft.com/office/powerpoint/2010/main" val="297294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1DD240D8-A3B9-4A79-87D9-793222FF5F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7AEFEB-62AC-45C6-B355-79A75F1E5183}"/>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lnSpc>
                <a:spcPct val="1000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1020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10" name="Picture 9">
            <a:extLst>
              <a:ext uri="{FF2B5EF4-FFF2-40B4-BE49-F238E27FC236}">
                <a16:creationId xmlns:a16="http://schemas.microsoft.com/office/drawing/2014/main" id="{A7223796-9D27-D842-A6F6-90F61BB1E65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09360" y="457200"/>
            <a:ext cx="1968500" cy="635000"/>
          </a:xfrm>
          <a:prstGeom prst="rect">
            <a:avLst/>
          </a:prstGeom>
        </p:spPr>
      </p:pic>
    </p:spTree>
    <p:extLst>
      <p:ext uri="{BB962C8B-B14F-4D97-AF65-F5344CB8AC3E}">
        <p14:creationId xmlns:p14="http://schemas.microsoft.com/office/powerpoint/2010/main" val="329439370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Section opener bottom">
    <p:spTree>
      <p:nvGrpSpPr>
        <p:cNvPr id="1" name=""/>
        <p:cNvGrpSpPr/>
        <p:nvPr/>
      </p:nvGrpSpPr>
      <p:grpSpPr>
        <a:xfrm>
          <a:off x="0" y="0"/>
          <a:ext cx="0" cy="0"/>
          <a:chOff x="0" y="0"/>
          <a:chExt cx="0" cy="0"/>
        </a:xfrm>
      </p:grpSpPr>
      <p:sp>
        <p:nvSpPr>
          <p:cNvPr id="4" name="Picture Placeholder 8"/>
          <p:cNvSpPr>
            <a:spLocks noGrp="1"/>
          </p:cNvSpPr>
          <p:nvPr>
            <p:ph type="pic" sz="quarter" idx="10"/>
          </p:nvPr>
        </p:nvSpPr>
        <p:spPr>
          <a:xfrm>
            <a:off x="0" y="4278085"/>
            <a:ext cx="12192000" cy="2579915"/>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Title Placeholder 18"/>
          <p:cNvSpPr>
            <a:spLocks noGrp="1"/>
          </p:cNvSpPr>
          <p:nvPr>
            <p:ph type="title"/>
          </p:nvPr>
        </p:nvSpPr>
        <p:spPr>
          <a:xfrm>
            <a:off x="609601" y="1892893"/>
            <a:ext cx="10964465" cy="1325033"/>
          </a:xfrm>
          <a:prstGeom prst="rect">
            <a:avLst/>
          </a:prstGeom>
        </p:spPr>
        <p:txBody>
          <a:bodyPr vert="horz" lIns="91440" tIns="45720" rIns="91440" bIns="45720" rtlCol="0" anchor="t">
            <a:normAutofit/>
          </a:bodyPr>
          <a:lstStyle>
            <a:lvl1pPr>
              <a:lnSpc>
                <a:spcPts val="4800"/>
              </a:lnSpc>
              <a:defRPr/>
            </a:lvl1pPr>
          </a:lstStyle>
          <a:p>
            <a:r>
              <a:rPr lang="en-US"/>
              <a:t>Click to edit Master title style</a:t>
            </a:r>
          </a:p>
        </p:txBody>
      </p:sp>
      <p:sp>
        <p:nvSpPr>
          <p:cNvPr id="8"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9"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7"/>
            <a:ext cx="765552" cy="206703"/>
          </a:xfrm>
          <a:prstGeom prst="rect">
            <a:avLst/>
          </a:prstGeom>
        </p:spPr>
      </p:pic>
      <p:cxnSp>
        <p:nvCxnSpPr>
          <p:cNvPr id="11" name="Straight Connector 10"/>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3952388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Image at right, thin">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8323760" y="0"/>
            <a:ext cx="3868240" cy="6858000"/>
          </a:xfrm>
          <a:prstGeom prst="rect">
            <a:avLst/>
          </a:prstGeom>
          <a:solidFill>
            <a:schemeClr val="bg1">
              <a:lumMod val="95000"/>
            </a:schemeClr>
          </a:solidFill>
        </p:spPr>
        <p:txBody>
          <a:bodyPr>
            <a:normAutofit/>
          </a:bodyPr>
          <a:lstStyle>
            <a:lvl1pPr>
              <a:defRPr sz="1400"/>
            </a:lvl1pPr>
          </a:lstStyle>
          <a:p>
            <a:r>
              <a:rPr lang="en-US"/>
              <a:t>Drag picture to placeholder or click icon to add</a:t>
            </a:r>
          </a:p>
        </p:txBody>
      </p:sp>
      <p:sp>
        <p:nvSpPr>
          <p:cNvPr id="8"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47124887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292352"/>
            <a:ext cx="5210223" cy="3550726"/>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8" name="Picture 7">
            <a:extLst>
              <a:ext uri="{FF2B5EF4-FFF2-40B4-BE49-F238E27FC236}">
                <a16:creationId xmlns:a16="http://schemas.microsoft.com/office/drawing/2014/main" id="{FFB454A8-248D-0947-9C79-0456FFBAC775}"/>
              </a:ext>
            </a:extLst>
          </p:cNvPr>
          <p:cNvPicPr>
            <a:picLocks noChangeAspect="1"/>
          </p:cNvPicPr>
          <p:nvPr userDrawn="1"/>
        </p:nvPicPr>
        <p:blipFill>
          <a:blip r:embed="rId2"/>
          <a:stretch>
            <a:fillRect/>
          </a:stretch>
        </p:blipFill>
        <p:spPr>
          <a:xfrm>
            <a:off x="6309360" y="457200"/>
            <a:ext cx="723900" cy="635000"/>
          </a:xfrm>
          <a:prstGeom prst="rect">
            <a:avLst/>
          </a:prstGeom>
        </p:spPr>
      </p:pic>
    </p:spTree>
    <p:extLst>
      <p:ext uri="{BB962C8B-B14F-4D97-AF65-F5344CB8AC3E}">
        <p14:creationId xmlns:p14="http://schemas.microsoft.com/office/powerpoint/2010/main" val="16435441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457200" y="1188720"/>
            <a:ext cx="112776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340130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96994811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202934218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55081937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287F1-E03D-43E8-802F-394EC3D8F6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CA0A1B-F46E-4C84-A904-DC525232DB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82D745-61D9-480C-BE05-A913E29C5D35}"/>
              </a:ext>
            </a:extLst>
          </p:cNvPr>
          <p:cNvSpPr>
            <a:spLocks noGrp="1"/>
          </p:cNvSpPr>
          <p:nvPr>
            <p:ph type="dt" sz="half" idx="10"/>
          </p:nvPr>
        </p:nvSpPr>
        <p:spPr/>
        <p:txBody>
          <a:bodyPr/>
          <a:lstStyle/>
          <a:p>
            <a:fld id="{2F602057-3498-4AA0-971C-220FDCD17305}" type="datetimeFigureOut">
              <a:rPr lang="en-US" smtClean="0"/>
              <a:t>12/10/2025</a:t>
            </a:fld>
            <a:endParaRPr lang="en-US"/>
          </a:p>
        </p:txBody>
      </p:sp>
      <p:sp>
        <p:nvSpPr>
          <p:cNvPr id="5" name="Footer Placeholder 4">
            <a:extLst>
              <a:ext uri="{FF2B5EF4-FFF2-40B4-BE49-F238E27FC236}">
                <a16:creationId xmlns:a16="http://schemas.microsoft.com/office/drawing/2014/main" id="{90405993-0971-443A-8165-8D36874F58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CC1BA4-3BF1-4D4C-9DAB-C8B9D63C11C3}"/>
              </a:ext>
            </a:extLst>
          </p:cNvPr>
          <p:cNvSpPr>
            <a:spLocks noGrp="1"/>
          </p:cNvSpPr>
          <p:nvPr>
            <p:ph type="sldNum" sz="quarter" idx="12"/>
          </p:nvPr>
        </p:nvSpPr>
        <p:spPr/>
        <p:txBody>
          <a:bodyPr/>
          <a:lstStyle/>
          <a:p>
            <a:fld id="{91EC3FFB-8BE1-4E5C-80C5-2AD668AB8A10}" type="slidenum">
              <a:rPr lang="en-US" smtClean="0"/>
              <a:t>‹#›</a:t>
            </a:fld>
            <a:endParaRPr lang="en-US"/>
          </a:p>
        </p:txBody>
      </p:sp>
    </p:spTree>
    <p:extLst>
      <p:ext uri="{BB962C8B-B14F-4D97-AF65-F5344CB8AC3E}">
        <p14:creationId xmlns:p14="http://schemas.microsoft.com/office/powerpoint/2010/main" val="277534485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53B03-9BEB-4E63-9BD4-51C36606CA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1753E08-42F7-49D4-84E0-8D5E7EA76768}"/>
              </a:ext>
            </a:extLst>
          </p:cNvPr>
          <p:cNvSpPr>
            <a:spLocks noGrp="1"/>
          </p:cNvSpPr>
          <p:nvPr>
            <p:ph type="dt" sz="half" idx="10"/>
          </p:nvPr>
        </p:nvSpPr>
        <p:spPr/>
        <p:txBody>
          <a:bodyPr/>
          <a:lstStyle/>
          <a:p>
            <a:fld id="{2F602057-3498-4AA0-971C-220FDCD17305}" type="datetimeFigureOut">
              <a:rPr lang="en-US" smtClean="0"/>
              <a:t>12/10/2025</a:t>
            </a:fld>
            <a:endParaRPr lang="en-US"/>
          </a:p>
        </p:txBody>
      </p:sp>
      <p:sp>
        <p:nvSpPr>
          <p:cNvPr id="4" name="Footer Placeholder 3">
            <a:extLst>
              <a:ext uri="{FF2B5EF4-FFF2-40B4-BE49-F238E27FC236}">
                <a16:creationId xmlns:a16="http://schemas.microsoft.com/office/drawing/2014/main" id="{09CEE6C8-C32A-469E-B0F8-9B0E510780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36D892-C96E-49AD-94FA-D86D1C6C8699}"/>
              </a:ext>
            </a:extLst>
          </p:cNvPr>
          <p:cNvSpPr>
            <a:spLocks noGrp="1"/>
          </p:cNvSpPr>
          <p:nvPr>
            <p:ph type="sldNum" sz="quarter" idx="12"/>
          </p:nvPr>
        </p:nvSpPr>
        <p:spPr/>
        <p:txBody>
          <a:bodyPr/>
          <a:lstStyle/>
          <a:p>
            <a:fld id="{91EC3FFB-8BE1-4E5C-80C5-2AD668AB8A10}" type="slidenum">
              <a:rPr lang="en-US" smtClean="0"/>
              <a:t>‹#›</a:t>
            </a:fld>
            <a:endParaRPr lang="en-US"/>
          </a:p>
        </p:txBody>
      </p:sp>
    </p:spTree>
    <p:extLst>
      <p:ext uri="{BB962C8B-B14F-4D97-AF65-F5344CB8AC3E}">
        <p14:creationId xmlns:p14="http://schemas.microsoft.com/office/powerpoint/2010/main" val="67423474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Cmm-Panoramic-Half-Top-2">
  <p:cSld name="Cmm-Panoramic-Half-Top-2">
    <p:bg>
      <p:bgPr>
        <a:solidFill>
          <a:schemeClr val="lt2"/>
        </a:solidFill>
        <a:effectLst/>
      </p:bgPr>
    </p:bg>
    <p:spTree>
      <p:nvGrpSpPr>
        <p:cNvPr id="1" name="Shape 227"/>
        <p:cNvGrpSpPr/>
        <p:nvPr/>
      </p:nvGrpSpPr>
      <p:grpSpPr>
        <a:xfrm>
          <a:off x="0" y="0"/>
          <a:ext cx="0" cy="0"/>
          <a:chOff x="0" y="0"/>
          <a:chExt cx="0" cy="0"/>
        </a:xfrm>
      </p:grpSpPr>
      <p:pic>
        <p:nvPicPr>
          <p:cNvPr id="21" name="Google Shape;394;p22">
            <a:extLst>
              <a:ext uri="{FF2B5EF4-FFF2-40B4-BE49-F238E27FC236}">
                <a16:creationId xmlns:a16="http://schemas.microsoft.com/office/drawing/2014/main" id="{BD2DE0C1-1DFD-43CF-BB33-870CE141BC1C}"/>
              </a:ext>
            </a:extLst>
          </p:cNvPr>
          <p:cNvPicPr preferRelativeResize="0"/>
          <p:nvPr userDrawn="1"/>
        </p:nvPicPr>
        <p:blipFill rotWithShape="1">
          <a:blip r:embed="rId2">
            <a:alphaModFix/>
            <a:extLst>
              <a:ext uri="{28A0092B-C50C-407E-A947-70E740481C1C}">
                <a14:useLocalDpi xmlns:a14="http://schemas.microsoft.com/office/drawing/2010/main"/>
              </a:ext>
            </a:extLst>
          </a:blip>
          <a:srcRect l="799" t="1261" r="35061" b="70143"/>
          <a:stretch/>
        </p:blipFill>
        <p:spPr>
          <a:xfrm>
            <a:off x="1" y="9427"/>
            <a:ext cx="12192000" cy="3619893"/>
          </a:xfrm>
          <a:prstGeom prst="rect">
            <a:avLst/>
          </a:prstGeom>
          <a:noFill/>
          <a:ln>
            <a:noFill/>
          </a:ln>
        </p:spPr>
      </p:pic>
    </p:spTree>
    <p:extLst>
      <p:ext uri="{BB962C8B-B14F-4D97-AF65-F5344CB8AC3E}">
        <p14:creationId xmlns:p14="http://schemas.microsoft.com/office/powerpoint/2010/main" val="883915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10" name="Picture 9">
            <a:extLst>
              <a:ext uri="{FF2B5EF4-FFF2-40B4-BE49-F238E27FC236}">
                <a16:creationId xmlns:a16="http://schemas.microsoft.com/office/drawing/2014/main" id="{35AC75FC-5A2F-9441-9CA6-4413A12AFBB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09360" y="457200"/>
            <a:ext cx="2082800" cy="635000"/>
          </a:xfrm>
          <a:prstGeom prst="rect">
            <a:avLst/>
          </a:prstGeom>
        </p:spPr>
      </p:pic>
    </p:spTree>
    <p:extLst>
      <p:ext uri="{BB962C8B-B14F-4D97-AF65-F5344CB8AC3E}">
        <p14:creationId xmlns:p14="http://schemas.microsoft.com/office/powerpoint/2010/main" val="309312623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Cmm-Grey-1">
  <p:cSld name="Cmm-Grey-1">
    <p:bg>
      <p:bgPr>
        <a:solidFill>
          <a:schemeClr val="lt2"/>
        </a:solidFill>
        <a:effectLst/>
      </p:bgPr>
    </p:bg>
    <p:spTree>
      <p:nvGrpSpPr>
        <p:cNvPr id="1" name="Shape 76"/>
        <p:cNvGrpSpPr/>
        <p:nvPr/>
      </p:nvGrpSpPr>
      <p:grpSpPr>
        <a:xfrm>
          <a:off x="0" y="0"/>
          <a:ext cx="0" cy="0"/>
          <a:chOff x="0" y="0"/>
          <a:chExt cx="0" cy="0"/>
        </a:xfrm>
      </p:grpSpPr>
    </p:spTree>
    <p:extLst>
      <p:ext uri="{BB962C8B-B14F-4D97-AF65-F5344CB8AC3E}">
        <p14:creationId xmlns:p14="http://schemas.microsoft.com/office/powerpoint/2010/main" val="353905222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Cmm-White-2">
  <p:cSld name="Cmm-White-2">
    <p:spTree>
      <p:nvGrpSpPr>
        <p:cNvPr id="1" name="Shape 23"/>
        <p:cNvGrpSpPr/>
        <p:nvPr/>
      </p:nvGrpSpPr>
      <p:grpSpPr>
        <a:xfrm>
          <a:off x="0" y="0"/>
          <a:ext cx="0" cy="0"/>
          <a:chOff x="0" y="0"/>
          <a:chExt cx="0" cy="0"/>
        </a:xfrm>
      </p:grpSpPr>
    </p:spTree>
    <p:extLst>
      <p:ext uri="{BB962C8B-B14F-4D97-AF65-F5344CB8AC3E}">
        <p14:creationId xmlns:p14="http://schemas.microsoft.com/office/powerpoint/2010/main" val="66132503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312065892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Section opener bottom">
    <p:spTree>
      <p:nvGrpSpPr>
        <p:cNvPr id="1" name=""/>
        <p:cNvGrpSpPr/>
        <p:nvPr/>
      </p:nvGrpSpPr>
      <p:grpSpPr>
        <a:xfrm>
          <a:off x="0" y="0"/>
          <a:ext cx="0" cy="0"/>
          <a:chOff x="0" y="0"/>
          <a:chExt cx="0" cy="0"/>
        </a:xfrm>
      </p:grpSpPr>
      <p:sp>
        <p:nvSpPr>
          <p:cNvPr id="4" name="Picture Placeholder 8"/>
          <p:cNvSpPr>
            <a:spLocks noGrp="1"/>
          </p:cNvSpPr>
          <p:nvPr>
            <p:ph type="pic" sz="quarter" idx="10"/>
          </p:nvPr>
        </p:nvSpPr>
        <p:spPr>
          <a:xfrm>
            <a:off x="0" y="4278085"/>
            <a:ext cx="12192000" cy="2579915"/>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Title Placeholder 18"/>
          <p:cNvSpPr>
            <a:spLocks noGrp="1"/>
          </p:cNvSpPr>
          <p:nvPr>
            <p:ph type="title"/>
          </p:nvPr>
        </p:nvSpPr>
        <p:spPr>
          <a:xfrm>
            <a:off x="609601" y="1892893"/>
            <a:ext cx="10964465" cy="1325033"/>
          </a:xfrm>
          <a:prstGeom prst="rect">
            <a:avLst/>
          </a:prstGeom>
        </p:spPr>
        <p:txBody>
          <a:bodyPr vert="horz" lIns="91440" tIns="45720" rIns="91440" bIns="45720" rtlCol="0" anchor="t">
            <a:normAutofit/>
          </a:bodyPr>
          <a:lstStyle>
            <a:lvl1pPr>
              <a:lnSpc>
                <a:spcPts val="4800"/>
              </a:lnSpc>
              <a:defRPr/>
            </a:lvl1pPr>
          </a:lstStyle>
          <a:p>
            <a:r>
              <a:rPr lang="en-US"/>
              <a:t>Click to edit Master title style</a:t>
            </a:r>
          </a:p>
        </p:txBody>
      </p:sp>
      <p:sp>
        <p:nvSpPr>
          <p:cNvPr id="8"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9"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b="50000"/>
          <a:stretch/>
        </p:blipFill>
        <p:spPr>
          <a:xfrm>
            <a:off x="10565109" y="6622967"/>
            <a:ext cx="765552" cy="206703"/>
          </a:xfrm>
          <a:prstGeom prst="rect">
            <a:avLst/>
          </a:prstGeom>
        </p:spPr>
      </p:pic>
      <p:cxnSp>
        <p:nvCxnSpPr>
          <p:cNvPr id="11" name="Straight Connector 10"/>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86486466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Bulleted Text">
    <p:spTree>
      <p:nvGrpSpPr>
        <p:cNvPr id="1" name=""/>
        <p:cNvGrpSpPr/>
        <p:nvPr/>
      </p:nvGrpSpPr>
      <p:grpSpPr>
        <a:xfrm>
          <a:off x="0" y="0"/>
          <a:ext cx="0" cy="0"/>
          <a:chOff x="0" y="0"/>
          <a:chExt cx="0" cy="0"/>
        </a:xfrm>
      </p:grpSpPr>
      <p:sp>
        <p:nvSpPr>
          <p:cNvPr id="2"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lvl1pPr>
              <a:lnSpc>
                <a:spcPts val="4800"/>
              </a:lnSpc>
              <a:defRPr/>
            </a:lvl1pPr>
          </a:lstStyle>
          <a:p>
            <a:r>
              <a:rPr lang="en-US"/>
              <a:t>Click to edit Master title style</a:t>
            </a:r>
            <a:endParaRPr lang="en-US" dirty="0"/>
          </a:p>
        </p:txBody>
      </p:sp>
      <p:sp>
        <p:nvSpPr>
          <p:cNvPr id="4" name="Text Placeholder 3"/>
          <p:cNvSpPr>
            <a:spLocks noGrp="1"/>
          </p:cNvSpPr>
          <p:nvPr>
            <p:ph type="body" sz="quarter" idx="11"/>
          </p:nvPr>
        </p:nvSpPr>
        <p:spPr>
          <a:xfrm>
            <a:off x="609600" y="1901825"/>
            <a:ext cx="10972801" cy="4425950"/>
          </a:xfrm>
          <a:prstGeom prst="rect">
            <a:avLst/>
          </a:prstGeom>
        </p:spPr>
        <p:txBody>
          <a:bodyPr>
            <a:normAutofit/>
          </a:bodyPr>
          <a:lstStyle>
            <a:lvl1pPr>
              <a:lnSpc>
                <a:spcPct val="100000"/>
              </a:lnSpc>
              <a:defRPr sz="1800"/>
            </a:lvl1pPr>
            <a:lvl2pPr>
              <a:lnSpc>
                <a:spcPct val="100000"/>
              </a:lnSpc>
              <a:defRPr sz="1800"/>
            </a:lvl2pPr>
            <a:lvl3pPr>
              <a:lnSpc>
                <a:spcPct val="100000"/>
              </a:lnSpc>
              <a:defRPr sz="1600"/>
            </a:lvl3pPr>
            <a:lvl4pPr>
              <a:lnSpc>
                <a:spcPct val="100000"/>
              </a:lnSpc>
              <a:defRPr sz="16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2681326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53672462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334038002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252983861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Full screen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r>
              <a:rPr lang="en-US"/>
              <a:t>Click icon to add picture</a:t>
            </a:r>
          </a:p>
        </p:txBody>
      </p:sp>
      <p:sp>
        <p:nvSpPr>
          <p:cNvPr id="12"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97429607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4247300" y="1"/>
            <a:ext cx="7975544" cy="6892026"/>
          </a:xfrm>
          <a:custGeom>
            <a:avLst/>
            <a:gdLst>
              <a:gd name="connsiteX0" fmla="*/ 0 w 6081485"/>
              <a:gd name="connsiteY0" fmla="*/ 0 h 6861773"/>
              <a:gd name="connsiteX1" fmla="*/ 6081485 w 6081485"/>
              <a:gd name="connsiteY1" fmla="*/ 0 h 6861773"/>
              <a:gd name="connsiteX2" fmla="*/ 6081485 w 6081485"/>
              <a:gd name="connsiteY2" fmla="*/ 6861773 h 6861773"/>
              <a:gd name="connsiteX3" fmla="*/ 0 w 6081485"/>
              <a:gd name="connsiteY3" fmla="*/ 6861773 h 6861773"/>
              <a:gd name="connsiteX4" fmla="*/ 0 w 6081485"/>
              <a:gd name="connsiteY4" fmla="*/ 0 h 6861773"/>
              <a:gd name="connsiteX0" fmla="*/ 1828800 w 7910285"/>
              <a:gd name="connsiteY0" fmla="*/ 0 h 6872924"/>
              <a:gd name="connsiteX1" fmla="*/ 7910285 w 7910285"/>
              <a:gd name="connsiteY1" fmla="*/ 0 h 6872924"/>
              <a:gd name="connsiteX2" fmla="*/ 7910285 w 7910285"/>
              <a:gd name="connsiteY2" fmla="*/ 6861773 h 6872924"/>
              <a:gd name="connsiteX3" fmla="*/ 0 w 7910285"/>
              <a:gd name="connsiteY3" fmla="*/ 6872924 h 6872924"/>
              <a:gd name="connsiteX4" fmla="*/ 1828800 w 7910285"/>
              <a:gd name="connsiteY4" fmla="*/ 0 h 6872924"/>
              <a:gd name="connsiteX0" fmla="*/ 2598234 w 7910285"/>
              <a:gd name="connsiteY0" fmla="*/ 0 h 6884075"/>
              <a:gd name="connsiteX1" fmla="*/ 7910285 w 7910285"/>
              <a:gd name="connsiteY1" fmla="*/ 11151 h 6884075"/>
              <a:gd name="connsiteX2" fmla="*/ 7910285 w 7910285"/>
              <a:gd name="connsiteY2" fmla="*/ 6872924 h 6884075"/>
              <a:gd name="connsiteX3" fmla="*/ 0 w 7910285"/>
              <a:gd name="connsiteY3" fmla="*/ 6884075 h 6884075"/>
              <a:gd name="connsiteX4" fmla="*/ 2598234 w 7910285"/>
              <a:gd name="connsiteY4" fmla="*/ 0 h 6884075"/>
              <a:gd name="connsiteX0" fmla="*/ 2497873 w 7910285"/>
              <a:gd name="connsiteY0" fmla="*/ 0 h 6872924"/>
              <a:gd name="connsiteX1" fmla="*/ 7910285 w 7910285"/>
              <a:gd name="connsiteY1" fmla="*/ 0 h 6872924"/>
              <a:gd name="connsiteX2" fmla="*/ 7910285 w 7910285"/>
              <a:gd name="connsiteY2" fmla="*/ 6861773 h 6872924"/>
              <a:gd name="connsiteX3" fmla="*/ 0 w 7910285"/>
              <a:gd name="connsiteY3" fmla="*/ 6872924 h 6872924"/>
              <a:gd name="connsiteX4" fmla="*/ 2497873 w 7910285"/>
              <a:gd name="connsiteY4" fmla="*/ 0 h 6872924"/>
              <a:gd name="connsiteX0" fmla="*/ 2531327 w 7943739"/>
              <a:gd name="connsiteY0" fmla="*/ 0 h 6884075"/>
              <a:gd name="connsiteX1" fmla="*/ 7943739 w 7943739"/>
              <a:gd name="connsiteY1" fmla="*/ 0 h 6884075"/>
              <a:gd name="connsiteX2" fmla="*/ 7943739 w 7943739"/>
              <a:gd name="connsiteY2" fmla="*/ 6861773 h 6884075"/>
              <a:gd name="connsiteX3" fmla="*/ 0 w 7943739"/>
              <a:gd name="connsiteY3" fmla="*/ 6884075 h 6884075"/>
              <a:gd name="connsiteX4" fmla="*/ 2531327 w 7943739"/>
              <a:gd name="connsiteY4" fmla="*/ 0 h 6884075"/>
              <a:gd name="connsiteX0" fmla="*/ 2563132 w 7975544"/>
              <a:gd name="connsiteY0" fmla="*/ 0 h 6892026"/>
              <a:gd name="connsiteX1" fmla="*/ 7975544 w 7975544"/>
              <a:gd name="connsiteY1" fmla="*/ 0 h 6892026"/>
              <a:gd name="connsiteX2" fmla="*/ 7975544 w 7975544"/>
              <a:gd name="connsiteY2" fmla="*/ 6861773 h 6892026"/>
              <a:gd name="connsiteX3" fmla="*/ 0 w 7975544"/>
              <a:gd name="connsiteY3" fmla="*/ 6892026 h 6892026"/>
              <a:gd name="connsiteX4" fmla="*/ 2563132 w 7975544"/>
              <a:gd name="connsiteY4" fmla="*/ 0 h 6892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5544" h="6892026">
                <a:moveTo>
                  <a:pt x="2563132" y="0"/>
                </a:moveTo>
                <a:lnTo>
                  <a:pt x="7975544" y="0"/>
                </a:lnTo>
                <a:lnTo>
                  <a:pt x="7975544" y="6861773"/>
                </a:lnTo>
                <a:lnTo>
                  <a:pt x="0" y="6892026"/>
                </a:lnTo>
                <a:lnTo>
                  <a:pt x="2563132" y="0"/>
                </a:lnTo>
                <a:close/>
              </a:path>
            </a:pathLst>
          </a:cu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494046" y="3900551"/>
            <a:ext cx="3963472"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494046" y="4222183"/>
            <a:ext cx="3963472"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494046" y="677136"/>
            <a:ext cx="4869692" cy="2043762"/>
          </a:xfrm>
        </p:spPr>
        <p:txBody>
          <a:bodyPr anchor="t">
            <a:normAutofit/>
          </a:bodyPr>
          <a:lstStyle>
            <a:lvl1pPr fontAlgn="b">
              <a:lnSpc>
                <a:spcPts val="4400"/>
              </a:lnSpc>
              <a:defRPr sz="4800" b="1" i="0" spc="-15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494046" y="3422220"/>
            <a:ext cx="3963472" cy="442368"/>
          </a:xfrm>
          <a:prstGeom prst="rect">
            <a:avLst/>
          </a:prstGeom>
        </p:spPr>
        <p:txBody>
          <a:bodyPr anchor="t"/>
          <a:lstStyle>
            <a:lvl1pPr marL="0" indent="0">
              <a:lnSpc>
                <a:spcPts val="2400"/>
              </a:lnSpc>
              <a:buNone/>
              <a:defRPr sz="2400"/>
            </a:lvl1pPr>
          </a:lstStyle>
          <a:p>
            <a:pPr lvl="0"/>
            <a:r>
              <a:rPr lang="en-US"/>
              <a:t>Presenter Name</a:t>
            </a:r>
          </a:p>
        </p:txBody>
      </p:sp>
      <p:pic>
        <p:nvPicPr>
          <p:cNvPr id="8" name="Picture 7">
            <a:extLst>
              <a:ext uri="{FF2B5EF4-FFF2-40B4-BE49-F238E27FC236}">
                <a16:creationId xmlns:a16="http://schemas.microsoft.com/office/drawing/2014/main" id="{FFB454A8-248D-0947-9C79-0456FFBAC775}"/>
              </a:ext>
            </a:extLst>
          </p:cNvPr>
          <p:cNvPicPr>
            <a:picLocks noChangeAspect="1"/>
          </p:cNvPicPr>
          <p:nvPr/>
        </p:nvPicPr>
        <p:blipFill>
          <a:blip r:embed="rId2"/>
          <a:stretch>
            <a:fillRect/>
          </a:stretch>
        </p:blipFill>
        <p:spPr>
          <a:xfrm>
            <a:off x="683616" y="5307980"/>
            <a:ext cx="995088" cy="872884"/>
          </a:xfrm>
          <a:prstGeom prst="rect">
            <a:avLst/>
          </a:prstGeom>
        </p:spPr>
      </p:pic>
      <p:pic>
        <p:nvPicPr>
          <p:cNvPr id="5" name="Picture 4">
            <a:extLst>
              <a:ext uri="{FF2B5EF4-FFF2-40B4-BE49-F238E27FC236}">
                <a16:creationId xmlns:a16="http://schemas.microsoft.com/office/drawing/2014/main" id="{6C6B960A-8D6D-9848-A633-18CF720557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8312" y="677136"/>
            <a:ext cx="2130852" cy="5311069"/>
          </a:xfrm>
          <a:prstGeom prst="rect">
            <a:avLst/>
          </a:prstGeom>
        </p:spPr>
      </p:pic>
      <p:pic>
        <p:nvPicPr>
          <p:cNvPr id="10" name="Picture 9">
            <a:extLst>
              <a:ext uri="{FF2B5EF4-FFF2-40B4-BE49-F238E27FC236}">
                <a16:creationId xmlns:a16="http://schemas.microsoft.com/office/drawing/2014/main" id="{A969A323-BE0B-A640-AC3A-B9CB05E768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57518" y="4799017"/>
            <a:ext cx="2000683" cy="2000683"/>
          </a:xfrm>
          <a:prstGeom prst="rect">
            <a:avLst/>
          </a:prstGeom>
        </p:spPr>
      </p:pic>
      <p:pic>
        <p:nvPicPr>
          <p:cNvPr id="11" name="Picture 10">
            <a:extLst>
              <a:ext uri="{FF2B5EF4-FFF2-40B4-BE49-F238E27FC236}">
                <a16:creationId xmlns:a16="http://schemas.microsoft.com/office/drawing/2014/main" id="{366DA403-B149-46F2-A28F-1A7A53F430F7}"/>
              </a:ext>
            </a:extLst>
          </p:cNvPr>
          <p:cNvPicPr>
            <a:picLocks noChangeAspect="1"/>
          </p:cNvPicPr>
          <p:nvPr userDrawn="1"/>
        </p:nvPicPr>
        <p:blipFill>
          <a:blip r:embed="rId2"/>
          <a:stretch>
            <a:fillRect/>
          </a:stretch>
        </p:blipFill>
        <p:spPr>
          <a:xfrm>
            <a:off x="683616" y="5307980"/>
            <a:ext cx="995088" cy="872884"/>
          </a:xfrm>
          <a:prstGeom prst="rect">
            <a:avLst/>
          </a:prstGeom>
        </p:spPr>
      </p:pic>
      <p:pic>
        <p:nvPicPr>
          <p:cNvPr id="16" name="Picture 15">
            <a:extLst>
              <a:ext uri="{FF2B5EF4-FFF2-40B4-BE49-F238E27FC236}">
                <a16:creationId xmlns:a16="http://schemas.microsoft.com/office/drawing/2014/main" id="{B09FF292-6182-484F-BA4E-2C49E4D865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98312" y="677136"/>
            <a:ext cx="2130852" cy="5311069"/>
          </a:xfrm>
          <a:prstGeom prst="rect">
            <a:avLst/>
          </a:prstGeom>
        </p:spPr>
      </p:pic>
      <p:pic>
        <p:nvPicPr>
          <p:cNvPr id="17" name="Picture 16">
            <a:extLst>
              <a:ext uri="{FF2B5EF4-FFF2-40B4-BE49-F238E27FC236}">
                <a16:creationId xmlns:a16="http://schemas.microsoft.com/office/drawing/2014/main" id="{B8703A64-26A3-4A93-8D1C-27D92DA0802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57518" y="4799017"/>
            <a:ext cx="2000683" cy="2000683"/>
          </a:xfrm>
          <a:prstGeom prst="rect">
            <a:avLst/>
          </a:prstGeom>
        </p:spPr>
      </p:pic>
    </p:spTree>
    <p:extLst>
      <p:ext uri="{BB962C8B-B14F-4D97-AF65-F5344CB8AC3E}">
        <p14:creationId xmlns:p14="http://schemas.microsoft.com/office/powerpoint/2010/main" val="246935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10" name="Picture 9">
            <a:extLst>
              <a:ext uri="{FF2B5EF4-FFF2-40B4-BE49-F238E27FC236}">
                <a16:creationId xmlns:a16="http://schemas.microsoft.com/office/drawing/2014/main" id="{FBA3E9D6-23D6-A64E-8688-5748E17DFD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09360" y="457200"/>
            <a:ext cx="2438400" cy="635000"/>
          </a:xfrm>
          <a:prstGeom prst="rect">
            <a:avLst/>
          </a:prstGeom>
        </p:spPr>
      </p:pic>
    </p:spTree>
    <p:extLst>
      <p:ext uri="{BB962C8B-B14F-4D97-AF65-F5344CB8AC3E}">
        <p14:creationId xmlns:p14="http://schemas.microsoft.com/office/powerpoint/2010/main" val="195929241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62766254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3607282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81137277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Full screen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r>
              <a:rPr lang="en-US" dirty="0"/>
              <a:t>Click icon to add picture</a:t>
            </a:r>
          </a:p>
        </p:txBody>
      </p:sp>
      <p:sp>
        <p:nvSpPr>
          <p:cNvPr id="12"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dirty="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dirty="0">
              <a:solidFill>
                <a:srgbClr val="FFFFFF"/>
              </a:solidFill>
            </a:endParaRPr>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35134556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1231012" y="377077"/>
            <a:ext cx="9308651" cy="890587"/>
          </a:xfrm>
        </p:spPr>
        <p:txBody>
          <a:bodyPr/>
          <a:lstStyle/>
          <a:p>
            <a:r>
              <a:rPr lang="en-US"/>
              <a:t>Click to edit Master title style</a:t>
            </a:r>
          </a:p>
        </p:txBody>
      </p:sp>
      <p:sp>
        <p:nvSpPr>
          <p:cNvPr id="3" name="Content Placeholder 2"/>
          <p:cNvSpPr>
            <a:spLocks noGrp="1"/>
          </p:cNvSpPr>
          <p:nvPr>
            <p:ph idx="1"/>
          </p:nvPr>
        </p:nvSpPr>
        <p:spPr>
          <a:xfrm>
            <a:off x="1234020" y="1778000"/>
            <a:ext cx="10621097" cy="44554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11290300" y="6375258"/>
            <a:ext cx="742952" cy="357812"/>
          </a:xfrm>
          <a:prstGeom prst="rect">
            <a:avLst/>
          </a:prstGeom>
        </p:spPr>
        <p:txBody>
          <a:bodyPr anchor="b" anchorCtr="0"/>
          <a:lstStyle>
            <a:lvl1pPr algn="r">
              <a:defRPr sz="1600">
                <a:solidFill>
                  <a:schemeClr val="bg1">
                    <a:lumMod val="50000"/>
                  </a:schemeClr>
                </a:solidFill>
              </a:defRPr>
            </a:lvl1pPr>
          </a:lstStyle>
          <a:p>
            <a:fld id="{8A661967-8D01-4D8A-8FD0-86F83ECE6BD1}" type="slidenum">
              <a:rPr lang="en-US" smtClean="0">
                <a:solidFill>
                  <a:srgbClr val="FFFFFF">
                    <a:lumMod val="50000"/>
                  </a:srgbClr>
                </a:solidFill>
              </a:rPr>
              <a:pPr/>
              <a:t>‹#›</a:t>
            </a:fld>
            <a:endParaRPr lang="en-US" dirty="0">
              <a:solidFill>
                <a:srgbClr val="FFFFFF">
                  <a:lumMod val="50000"/>
                </a:srgbClr>
              </a:solidFill>
            </a:endParaRPr>
          </a:p>
        </p:txBody>
      </p:sp>
      <p:sp>
        <p:nvSpPr>
          <p:cNvPr id="7" name="Footer Placeholder 4"/>
          <p:cNvSpPr>
            <a:spLocks noGrp="1"/>
          </p:cNvSpPr>
          <p:nvPr>
            <p:ph type="ftr" sz="quarter" idx="3"/>
          </p:nvPr>
        </p:nvSpPr>
        <p:spPr>
          <a:xfrm>
            <a:off x="1231012" y="6356351"/>
            <a:ext cx="4114800" cy="366183"/>
          </a:xfrm>
          <a:prstGeom prst="rect">
            <a:avLst/>
          </a:prstGeom>
        </p:spPr>
        <p:txBody>
          <a:bodyPr vert="horz" lIns="0" tIns="45720" rIns="91440" bIns="45720" rtlCol="0" anchor="b" anchorCtr="0"/>
          <a:lstStyle>
            <a:lvl1pPr algn="ctr">
              <a:defRPr sz="1333">
                <a:solidFill>
                  <a:schemeClr val="tx1">
                    <a:tint val="75000"/>
                  </a:schemeClr>
                </a:solidFill>
              </a:defRPr>
            </a:lvl1pPr>
          </a:lstStyle>
          <a:p>
            <a:pPr algn="l"/>
            <a:r>
              <a:rPr lang="en-US" dirty="0">
                <a:solidFill>
                  <a:srgbClr val="000000">
                    <a:tint val="75000"/>
                  </a:srgbClr>
                </a:solidFill>
              </a:rPr>
              <a:t>Insert Data Classification</a:t>
            </a:r>
          </a:p>
        </p:txBody>
      </p:sp>
    </p:spTree>
    <p:extLst>
      <p:ext uri="{BB962C8B-B14F-4D97-AF65-F5344CB8AC3E}">
        <p14:creationId xmlns:p14="http://schemas.microsoft.com/office/powerpoint/2010/main" val="276975999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cxnSp>
        <p:nvCxnSpPr>
          <p:cNvPr id="7" name="Straight Connector 6"/>
          <p:cNvCxnSpPr/>
          <p:nvPr userDrawn="1"/>
        </p:nvCxnSpPr>
        <p:spPr>
          <a:xfrm>
            <a:off x="6050643"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2"/>
            <a:ext cx="6081485" cy="6861773"/>
          </a:xfrm>
          <a:prstGeom prst="rect">
            <a:avLst/>
          </a:prstGeom>
          <a:solidFill>
            <a:schemeClr val="bg1">
              <a:lumMod val="95000"/>
            </a:schemeClr>
          </a:solidFill>
        </p:spPr>
        <p:txBody>
          <a:bodyPr>
            <a:normAutofit/>
          </a:bodyPr>
          <a:lstStyle>
            <a:lvl1pPr>
              <a:defRPr sz="1051" baseline="0"/>
            </a:lvl1pPr>
          </a:lstStyle>
          <a:p>
            <a:r>
              <a:rPr lang="en-US" dirty="0"/>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5" y="6117741"/>
            <a:ext cx="5210175" cy="327025"/>
          </a:xfrm>
          <a:prstGeom prst="rect">
            <a:avLst/>
          </a:prstGeom>
        </p:spPr>
        <p:txBody>
          <a:bodyPr anchor="t"/>
          <a:lstStyle>
            <a:lvl1pPr marL="0" indent="0">
              <a:lnSpc>
                <a:spcPct val="100000"/>
              </a:lnSpc>
              <a:buNone/>
              <a:defRPr sz="1051"/>
            </a:lvl1pPr>
            <a:lvl2pPr marL="342883" indent="0">
              <a:buNone/>
              <a:defRPr sz="1051"/>
            </a:lvl2pPr>
            <a:lvl3pPr marL="685766" indent="0">
              <a:buNone/>
              <a:defRPr sz="1051"/>
            </a:lvl3pPr>
            <a:lvl4pPr marL="1028649" indent="0">
              <a:buNone/>
              <a:defRPr sz="1051"/>
            </a:lvl4pPr>
            <a:lvl5pPr marL="1371532" indent="0">
              <a:buNone/>
              <a:defRPr sz="1051"/>
            </a:lvl5pPr>
          </a:lstStyle>
          <a:p>
            <a:pPr lvl="0"/>
            <a:r>
              <a:rPr lang="en-US" dirty="0"/>
              <a:t>Date</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5" y="1346573"/>
            <a:ext cx="5210223" cy="3496507"/>
          </a:xfrm>
        </p:spPr>
        <p:txBody>
          <a:bodyPr anchor="b">
            <a:normAutofit/>
          </a:bodyPr>
          <a:lstStyle>
            <a:lvl1pPr fontAlgn="b">
              <a:lnSpc>
                <a:spcPts val="3600"/>
              </a:lnSpc>
              <a:defRPr sz="3600" b="1" i="0">
                <a:latin typeface="Arial Black" panose="020B0604020202020204" pitchFamily="34" charset="0"/>
                <a:cs typeface="Arial Black" panose="020B0604020202020204" pitchFamily="34" charset="0"/>
              </a:defRPr>
            </a:lvl1pPr>
          </a:lstStyle>
          <a:p>
            <a:r>
              <a:rPr lang="en-US" dirty="0"/>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5" y="4869065"/>
            <a:ext cx="5210175" cy="994305"/>
          </a:xfrm>
          <a:prstGeom prst="rect">
            <a:avLst/>
          </a:prstGeom>
        </p:spPr>
        <p:txBody>
          <a:bodyPr anchor="t"/>
          <a:lstStyle>
            <a:lvl1pPr marL="0" indent="0">
              <a:lnSpc>
                <a:spcPts val="1800"/>
              </a:lnSpc>
              <a:buNone/>
              <a:defRPr sz="1800"/>
            </a:lvl1pPr>
          </a:lstStyle>
          <a:p>
            <a:pPr lvl="0"/>
            <a:r>
              <a:rPr lang="en-US" dirty="0"/>
              <a:t>Presenter Name</a:t>
            </a:r>
          </a:p>
        </p:txBody>
      </p:sp>
      <p:pic>
        <p:nvPicPr>
          <p:cNvPr id="11" name="Picture 10">
            <a:extLst>
              <a:ext uri="{FF2B5EF4-FFF2-40B4-BE49-F238E27FC236}">
                <a16:creationId xmlns:a16="http://schemas.microsoft.com/office/drawing/2014/main" id="{C5541E66-9854-4601-B4CD-25405FF6B47A}"/>
              </a:ext>
            </a:extLst>
          </p:cNvPr>
          <p:cNvPicPr>
            <a:picLocks noChangeAspect="1"/>
          </p:cNvPicPr>
          <p:nvPr userDrawn="1"/>
        </p:nvPicPr>
        <p:blipFill>
          <a:blip r:embed="rId2"/>
          <a:stretch>
            <a:fillRect/>
          </a:stretch>
        </p:blipFill>
        <p:spPr>
          <a:xfrm>
            <a:off x="6309364" y="38103"/>
            <a:ext cx="985605" cy="739204"/>
          </a:xfrm>
          <a:prstGeom prst="rect">
            <a:avLst/>
          </a:prstGeom>
        </p:spPr>
      </p:pic>
    </p:spTree>
    <p:extLst>
      <p:ext uri="{BB962C8B-B14F-4D97-AF65-F5344CB8AC3E}">
        <p14:creationId xmlns:p14="http://schemas.microsoft.com/office/powerpoint/2010/main" val="129673136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90300" y="6375259"/>
            <a:ext cx="742952" cy="357812"/>
          </a:xfrm>
          <a:prstGeom prst="rect">
            <a:avLst/>
          </a:prstGeom>
        </p:spPr>
        <p:txBody>
          <a:bodyPr anchor="b" anchorCtr="0"/>
          <a:lstStyle>
            <a:lvl1pPr algn="r">
              <a:defRPr sz="1600">
                <a:solidFill>
                  <a:schemeClr val="bg1">
                    <a:lumMod val="50000"/>
                  </a:schemeClr>
                </a:solidFill>
              </a:defRPr>
            </a:lvl1pPr>
          </a:lstStyle>
          <a:p>
            <a:fld id="{8A661967-8D01-4D8A-8FD0-86F83ECE6BD1}" type="slidenum">
              <a:rPr lang="en-US" smtClean="0">
                <a:solidFill>
                  <a:srgbClr val="FFFFFF">
                    <a:lumMod val="50000"/>
                  </a:srgbClr>
                </a:solidFill>
              </a:rPr>
              <a:pPr/>
              <a:t>‹#›</a:t>
            </a:fld>
            <a:endParaRPr lang="en-US" dirty="0">
              <a:solidFill>
                <a:srgbClr val="FFFFFF">
                  <a:lumMod val="50000"/>
                </a:srgbClr>
              </a:solidFill>
            </a:endParaRPr>
          </a:p>
        </p:txBody>
      </p:sp>
      <p:sp>
        <p:nvSpPr>
          <p:cNvPr id="4" name="Footer Placeholder 4"/>
          <p:cNvSpPr>
            <a:spLocks noGrp="1"/>
          </p:cNvSpPr>
          <p:nvPr>
            <p:ph type="ftr" sz="quarter" idx="3"/>
          </p:nvPr>
        </p:nvSpPr>
        <p:spPr>
          <a:xfrm>
            <a:off x="1231012" y="6356353"/>
            <a:ext cx="4114800" cy="366183"/>
          </a:xfrm>
          <a:prstGeom prst="rect">
            <a:avLst/>
          </a:prstGeom>
        </p:spPr>
        <p:txBody>
          <a:bodyPr vert="horz" lIns="0" tIns="45720" rIns="91440" bIns="45720" rtlCol="0" anchor="b" anchorCtr="0"/>
          <a:lstStyle>
            <a:lvl1pPr algn="ctr">
              <a:defRPr sz="1333">
                <a:solidFill>
                  <a:schemeClr val="tx1">
                    <a:tint val="75000"/>
                  </a:schemeClr>
                </a:solidFill>
              </a:defRPr>
            </a:lvl1pPr>
          </a:lstStyle>
          <a:p>
            <a:pPr algn="l"/>
            <a:r>
              <a:rPr lang="en-US" dirty="0">
                <a:solidFill>
                  <a:srgbClr val="000000">
                    <a:tint val="75000"/>
                  </a:srgbClr>
                </a:solidFill>
              </a:rPr>
              <a:t>Insert Data Classification</a:t>
            </a:r>
          </a:p>
        </p:txBody>
      </p:sp>
    </p:spTree>
    <p:extLst>
      <p:ext uri="{BB962C8B-B14F-4D97-AF65-F5344CB8AC3E}">
        <p14:creationId xmlns:p14="http://schemas.microsoft.com/office/powerpoint/2010/main" val="400935320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dirty="0"/>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292352"/>
            <a:ext cx="5210223" cy="3550726"/>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dirty="0"/>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dirty="0"/>
              <a:t>Presenter Name</a:t>
            </a:r>
          </a:p>
        </p:txBody>
      </p:sp>
      <p:pic>
        <p:nvPicPr>
          <p:cNvPr id="8" name="Picture 7">
            <a:extLst>
              <a:ext uri="{FF2B5EF4-FFF2-40B4-BE49-F238E27FC236}">
                <a16:creationId xmlns:a16="http://schemas.microsoft.com/office/drawing/2014/main" id="{FFB454A8-248D-0947-9C79-0456FFBAC775}"/>
              </a:ext>
            </a:extLst>
          </p:cNvPr>
          <p:cNvPicPr>
            <a:picLocks noChangeAspect="1"/>
          </p:cNvPicPr>
          <p:nvPr userDrawn="1"/>
        </p:nvPicPr>
        <p:blipFill>
          <a:blip r:embed="rId2"/>
          <a:stretch>
            <a:fillRect/>
          </a:stretch>
        </p:blipFill>
        <p:spPr>
          <a:xfrm>
            <a:off x="6309360" y="457200"/>
            <a:ext cx="723900" cy="635000"/>
          </a:xfrm>
          <a:prstGeom prst="rect">
            <a:avLst/>
          </a:prstGeom>
        </p:spPr>
      </p:pic>
    </p:spTree>
    <p:extLst>
      <p:ext uri="{BB962C8B-B14F-4D97-AF65-F5344CB8AC3E}">
        <p14:creationId xmlns:p14="http://schemas.microsoft.com/office/powerpoint/2010/main" val="308213044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972244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15187" y="1712259"/>
            <a:ext cx="10731500" cy="440167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17111" y="1001343"/>
            <a:ext cx="10892367" cy="503237"/>
          </a:xfrm>
        </p:spPr>
        <p:txBody>
          <a:bodyPr>
            <a:no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40354119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5" name="Title 32">
            <a:extLst>
              <a:ext uri="{FF2B5EF4-FFF2-40B4-BE49-F238E27FC236}">
                <a16:creationId xmlns:a16="http://schemas.microsoft.com/office/drawing/2014/main" id="{370D13C0-1A33-7C49-B2FC-9B3C93EED0B7}"/>
              </a:ext>
            </a:extLst>
          </p:cNvPr>
          <p:cNvSpPr>
            <a:spLocks noGrp="1"/>
          </p:cNvSpPr>
          <p:nvPr>
            <p:ph type="ctrTitle" hasCustomPrompt="1"/>
          </p:nvPr>
        </p:nvSpPr>
        <p:spPr>
          <a:xfrm>
            <a:off x="6309360" y="1292352"/>
            <a:ext cx="5210223" cy="3550726"/>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1" name="Subtitle 2">
            <a:extLst>
              <a:ext uri="{FF2B5EF4-FFF2-40B4-BE49-F238E27FC236}">
                <a16:creationId xmlns:a16="http://schemas.microsoft.com/office/drawing/2014/main" id="{B85D6215-A59C-1B4A-ACD9-F168EF58A4D1}"/>
              </a:ext>
            </a:extLst>
          </p:cNvPr>
          <p:cNvSpPr txBox="1">
            <a:spLocks/>
          </p:cNvSpPr>
          <p:nvPr userDrawn="1"/>
        </p:nvSpPr>
        <p:spPr>
          <a:xfrm>
            <a:off x="1174965" y="4533127"/>
            <a:ext cx="4914123" cy="1148830"/>
          </a:xfrm>
          <a:prstGeom prst="rect">
            <a:avLst/>
          </a:prstGeom>
        </p:spPr>
        <p:txBody>
          <a:bodyPr anchor="ctr">
            <a:normAutofit/>
          </a:bodyPr>
          <a:lstStyle>
            <a:lvl1pPr marL="0" indent="0" algn="l" defTabSz="914400" rtl="0" eaLnBrk="1" latinLnBrk="0" hangingPunct="1">
              <a:lnSpc>
                <a:spcPct val="100000"/>
              </a:lnSpc>
              <a:spcBef>
                <a:spcPts val="1000"/>
              </a:spcBef>
              <a:buFont typeface="Wingdings" charset="2"/>
              <a:buNone/>
              <a:defRPr sz="2667" b="0" i="0" kern="1200">
                <a:solidFill>
                  <a:schemeClr val="tx1"/>
                </a:solidFill>
                <a:latin typeface="Arial" charset="0"/>
                <a:ea typeface="Arial" charset="0"/>
                <a:cs typeface="Arial" charset="0"/>
              </a:defRPr>
            </a:lvl1pPr>
            <a:lvl2pPr marL="457189"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rial" charset="0"/>
                <a:ea typeface="Arial" charset="0"/>
                <a:cs typeface="Arial" charset="0"/>
              </a:defRPr>
            </a:lvl2pPr>
            <a:lvl3pPr marL="914377" indent="0" algn="ctr" defTabSz="914400" rtl="0" eaLnBrk="1" latinLnBrk="0" hangingPunct="1">
              <a:lnSpc>
                <a:spcPct val="90000"/>
              </a:lnSpc>
              <a:spcBef>
                <a:spcPts val="500"/>
              </a:spcBef>
              <a:buFont typeface="LucidaGrande" charset="0"/>
              <a:buNone/>
              <a:defRPr sz="1800" b="0" i="0" kern="1200">
                <a:solidFill>
                  <a:schemeClr val="tx1"/>
                </a:solidFill>
                <a:latin typeface="Arial" charset="0"/>
                <a:ea typeface="Arial" charset="0"/>
                <a:cs typeface="Arial" charset="0"/>
              </a:defRPr>
            </a:lvl3pPr>
            <a:lvl4pPr marL="1371566" indent="0" algn="ctr" defTabSz="914400" rtl="0" eaLnBrk="1" latinLnBrk="0" hangingPunct="1">
              <a:lnSpc>
                <a:spcPct val="90000"/>
              </a:lnSpc>
              <a:spcBef>
                <a:spcPts val="500"/>
              </a:spcBef>
              <a:buSzPct val="80000"/>
              <a:buFont typeface="Courier New" charset="0"/>
              <a:buNone/>
              <a:defRPr sz="1600" b="0" i="0" kern="1200">
                <a:solidFill>
                  <a:schemeClr val="tx1"/>
                </a:solidFill>
                <a:latin typeface="Arial" charset="0"/>
                <a:ea typeface="Arial" charset="0"/>
                <a:cs typeface="Arial" charset="0"/>
              </a:defRPr>
            </a:lvl4pPr>
            <a:lvl5pPr marL="1828754"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charset="0"/>
                <a:ea typeface="Arial" charset="0"/>
                <a:cs typeface="Arial" charset="0"/>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a:solidFill>
                <a:srgbClr val="000000"/>
              </a:solidFill>
            </a:endParaRPr>
          </a:p>
        </p:txBody>
      </p:sp>
      <p:sp>
        <p:nvSpPr>
          <p:cNvPr id="14" name="Text Placeholder 13">
            <a:extLst>
              <a:ext uri="{FF2B5EF4-FFF2-40B4-BE49-F238E27FC236}">
                <a16:creationId xmlns:a16="http://schemas.microsoft.com/office/drawing/2014/main" id="{F7C4B312-D0C1-2A4B-BC5A-3FCFB3A1CC21}"/>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sp>
        <p:nvSpPr>
          <p:cNvPr id="18" name="Text Placeholder 17">
            <a:extLst>
              <a:ext uri="{FF2B5EF4-FFF2-40B4-BE49-F238E27FC236}">
                <a16:creationId xmlns:a16="http://schemas.microsoft.com/office/drawing/2014/main" id="{FB08434F-D71C-2B4F-99AE-EA6706E1B6B1}"/>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22" name="Text Placeholder 15">
            <a:extLst>
              <a:ext uri="{FF2B5EF4-FFF2-40B4-BE49-F238E27FC236}">
                <a16:creationId xmlns:a16="http://schemas.microsoft.com/office/drawing/2014/main" id="{3EE99D1F-3AFC-B649-9FB5-477FF69699EE}"/>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pic>
        <p:nvPicPr>
          <p:cNvPr id="8" name="Picture 7">
            <a:extLst>
              <a:ext uri="{FF2B5EF4-FFF2-40B4-BE49-F238E27FC236}">
                <a16:creationId xmlns:a16="http://schemas.microsoft.com/office/drawing/2014/main" id="{FFB454A8-248D-0947-9C79-0456FFBAC7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09360" y="457200"/>
            <a:ext cx="723900" cy="635000"/>
          </a:xfrm>
          <a:prstGeom prst="rect">
            <a:avLst/>
          </a:prstGeom>
        </p:spPr>
      </p:pic>
      <p:grpSp>
        <p:nvGrpSpPr>
          <p:cNvPr id="3" name="Group 2"/>
          <p:cNvGrpSpPr/>
          <p:nvPr userDrawn="1"/>
        </p:nvGrpSpPr>
        <p:grpSpPr>
          <a:xfrm>
            <a:off x="0" y="1"/>
            <a:ext cx="7192537" cy="6857999"/>
            <a:chOff x="0" y="1"/>
            <a:chExt cx="7192537" cy="6857999"/>
          </a:xfrm>
        </p:grpSpPr>
        <p:pic>
          <p:nvPicPr>
            <p:cNvPr id="21" name="Picture 20">
              <a:extLst>
                <a:ext uri="{FF2B5EF4-FFF2-40B4-BE49-F238E27FC236}">
                  <a16:creationId xmlns:a16="http://schemas.microsoft.com/office/drawing/2014/main" id="{8EF0663D-696D-1141-AC1E-24CA1F276D4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1"/>
              <a:ext cx="6089088" cy="6857999"/>
            </a:xfrm>
            <a:prstGeom prst="rect">
              <a:avLst/>
            </a:prstGeom>
          </p:spPr>
        </p:pic>
        <p:sp>
          <p:nvSpPr>
            <p:cNvPr id="2" name="Rectangle 1"/>
            <p:cNvSpPr/>
            <p:nvPr userDrawn="1"/>
          </p:nvSpPr>
          <p:spPr>
            <a:xfrm>
              <a:off x="6188927" y="278780"/>
              <a:ext cx="1003610" cy="8920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a:solidFill>
                  <a:srgbClr val="FFFFFF"/>
                </a:solidFill>
              </a:endParaRPr>
            </a:p>
          </p:txBody>
        </p:sp>
      </p:grpSp>
    </p:spTree>
    <p:extLst>
      <p:ext uri="{BB962C8B-B14F-4D97-AF65-F5344CB8AC3E}">
        <p14:creationId xmlns:p14="http://schemas.microsoft.com/office/powerpoint/2010/main" val="119347239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53067" y="1430338"/>
            <a:ext cx="5190067" cy="42941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46333" y="1430338"/>
            <a:ext cx="5190067" cy="42941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1644653" y="6330949"/>
            <a:ext cx="1991783" cy="476251"/>
          </a:xfrm>
          <a:prstGeom prst="rect">
            <a:avLst/>
          </a:prstGeo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E498D3B-1CF8-4DF5-B595-169056BFF0DB}" type="datetime1">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0/2025</a:t>
            </a:fld>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Footer Placeholder 5"/>
          <p:cNvSpPr>
            <a:spLocks noGrp="1" noChangeArrowheads="1"/>
          </p:cNvSpPr>
          <p:nvPr>
            <p:ph type="ftr" sz="quarter" idx="11"/>
          </p:nvPr>
        </p:nvSpPr>
        <p:spPr>
          <a:xfrm>
            <a:off x="1231012" y="6356351"/>
            <a:ext cx="4114800" cy="366183"/>
          </a:xfrm>
          <a:prstGeom prst="rect">
            <a:avLst/>
          </a:prstGeo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Cummins Confidential</a:t>
            </a:r>
          </a:p>
        </p:txBody>
      </p:sp>
      <p:sp>
        <p:nvSpPr>
          <p:cNvPr id="7" name="Slide Number Placeholder 6"/>
          <p:cNvSpPr>
            <a:spLocks noGrp="1" noChangeArrowheads="1"/>
          </p:cNvSpPr>
          <p:nvPr>
            <p:ph type="sldNum" sz="quarter" idx="12"/>
          </p:nvPr>
        </p:nvSpPr>
        <p:spPr>
          <a:xfrm>
            <a:off x="11290300" y="6375258"/>
            <a:ext cx="742952" cy="357812"/>
          </a:xfrm>
          <a:prstGeom prst="rect">
            <a:avLst/>
          </a:prstGeo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DAAB005-E2BF-4BA9-B9CA-29DBBB8C3547}" type="slidenum">
              <a:rPr kumimoji="0" lang="en-US" altLang="en-US" sz="1800" b="0"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alt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8311804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_Flex bottom">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045E6E0-BED7-4D40-DB1C-123938ECE4C5}"/>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18748"/>
          <a:stretch/>
        </p:blipFill>
        <p:spPr>
          <a:xfrm>
            <a:off x="5784423" y="511964"/>
            <a:ext cx="6407578" cy="6346036"/>
          </a:xfrm>
          <a:prstGeom prst="rect">
            <a:avLst/>
          </a:prstGeom>
        </p:spPr>
      </p:pic>
      <p:sp>
        <p:nvSpPr>
          <p:cNvPr id="4" name="Picture Placeholder 8">
            <a:extLst>
              <a:ext uri="{FF2B5EF4-FFF2-40B4-BE49-F238E27FC236}">
                <a16:creationId xmlns:a16="http://schemas.microsoft.com/office/drawing/2014/main" id="{5A7C3B64-FAAE-429E-55CB-4BD39D5FEB1D}"/>
              </a:ext>
            </a:extLst>
          </p:cNvPr>
          <p:cNvSpPr>
            <a:spLocks noGrp="1"/>
          </p:cNvSpPr>
          <p:nvPr>
            <p:ph type="pic" sz="quarter" idx="14"/>
          </p:nvPr>
        </p:nvSpPr>
        <p:spPr>
          <a:xfrm>
            <a:off x="6096000" y="0"/>
            <a:ext cx="6096000" cy="6858000"/>
          </a:xfrm>
          <a:prstGeom prst="rect">
            <a:avLst/>
          </a:prstGeom>
          <a:noFill/>
        </p:spPr>
        <p:txBody>
          <a:bodyPr anchor="ctr">
            <a:normAutofit/>
          </a:bodyPr>
          <a:lstStyle>
            <a:lvl1pPr marL="0" indent="0" algn="ctr">
              <a:buNone/>
              <a:defRPr sz="1100" baseline="0">
                <a:solidFill>
                  <a:schemeClr val="tx1"/>
                </a:solidFill>
              </a:defRPr>
            </a:lvl1pPr>
          </a:lstStyle>
          <a:p>
            <a:pPr marL="0" marR="0" lvl="0" indent="0" algn="ctr" defTabSz="914400" rtl="0" eaLnBrk="1" fontAlgn="auto" latinLnBrk="0" hangingPunct="1">
              <a:lnSpc>
                <a:spcPct val="90000"/>
              </a:lnSpc>
              <a:spcBef>
                <a:spcPts val="1000"/>
              </a:spcBef>
              <a:spcAft>
                <a:spcPts val="0"/>
              </a:spcAft>
              <a:buClrTx/>
              <a:buSzTx/>
              <a:buFont typeface="Wingdings" charset="2"/>
              <a:buNone/>
              <a:tabLst/>
              <a:defRPr/>
            </a:pPr>
            <a:r>
              <a:rPr lang="en-US" altLang="zh-CN"/>
              <a:t>Click icon to add picture</a:t>
            </a:r>
            <a:endParaRPr lang="en-US"/>
          </a:p>
        </p:txBody>
      </p:sp>
      <p:sp>
        <p:nvSpPr>
          <p:cNvPr id="2" name="Title 32">
            <a:extLst>
              <a:ext uri="{FF2B5EF4-FFF2-40B4-BE49-F238E27FC236}">
                <a16:creationId xmlns:a16="http://schemas.microsoft.com/office/drawing/2014/main" id="{64D8C557-EAA2-30AD-E37D-8A1C6C097469}"/>
              </a:ext>
            </a:extLst>
          </p:cNvPr>
          <p:cNvSpPr>
            <a:spLocks noGrp="1"/>
          </p:cNvSpPr>
          <p:nvPr>
            <p:ph type="ctrTitle" hasCustomPrompt="1"/>
          </p:nvPr>
        </p:nvSpPr>
        <p:spPr>
          <a:xfrm>
            <a:off x="574199" y="2167711"/>
            <a:ext cx="5210223" cy="2236215"/>
          </a:xfrm>
          <a:prstGeom prst="rect">
            <a:avLst/>
          </a:prstGeom>
        </p:spPr>
        <p:txBody>
          <a:bodyPr anchor="b">
            <a:normAutofit/>
          </a:bodyPr>
          <a:lstStyle>
            <a:lvl1pPr fontAlgn="b">
              <a:lnSpc>
                <a:spcPct val="80000"/>
              </a:lnSpc>
              <a:defRPr sz="4600" b="1" i="0">
                <a:latin typeface="Aptos" panose="020B0004020202020204" pitchFamily="34" charset="0"/>
                <a:cs typeface="Arial Black" panose="020B0604020202020204" pitchFamily="34" charset="0"/>
              </a:defRPr>
            </a:lvl1pPr>
          </a:lstStyle>
          <a:p>
            <a:r>
              <a:rPr lang="en-US"/>
              <a:t>Presentation title</a:t>
            </a:r>
          </a:p>
        </p:txBody>
      </p:sp>
      <p:sp>
        <p:nvSpPr>
          <p:cNvPr id="5" name="Text Placeholder 13">
            <a:extLst>
              <a:ext uri="{FF2B5EF4-FFF2-40B4-BE49-F238E27FC236}">
                <a16:creationId xmlns:a16="http://schemas.microsoft.com/office/drawing/2014/main" id="{4B4FD652-3719-5FF0-C2EB-153E5D7874AA}"/>
              </a:ext>
            </a:extLst>
          </p:cNvPr>
          <p:cNvSpPr>
            <a:spLocks noGrp="1"/>
          </p:cNvSpPr>
          <p:nvPr>
            <p:ph type="body" sz="quarter" idx="16" hasCustomPrompt="1"/>
          </p:nvPr>
        </p:nvSpPr>
        <p:spPr>
          <a:xfrm>
            <a:off x="574427" y="4643346"/>
            <a:ext cx="5210175" cy="612221"/>
          </a:xfrm>
          <a:prstGeom prst="rect">
            <a:avLst/>
          </a:prstGeom>
        </p:spPr>
        <p:txBody>
          <a:bodyPr anchor="t"/>
          <a:lstStyle>
            <a:lvl1pPr marL="0" indent="0">
              <a:lnSpc>
                <a:spcPct val="90000"/>
              </a:lnSpc>
              <a:buNone/>
              <a:defRPr sz="2000">
                <a:latin typeface="Aptos" panose="020B0004020202020204" pitchFamily="34" charset="0"/>
              </a:defRPr>
            </a:lvl1pPr>
          </a:lstStyle>
          <a:p>
            <a:pPr lvl="0"/>
            <a:r>
              <a:rPr lang="en-US"/>
              <a:t>Presenter Name</a:t>
            </a:r>
          </a:p>
        </p:txBody>
      </p:sp>
      <p:sp>
        <p:nvSpPr>
          <p:cNvPr id="9" name="Text Placeholder 15">
            <a:extLst>
              <a:ext uri="{FF2B5EF4-FFF2-40B4-BE49-F238E27FC236}">
                <a16:creationId xmlns:a16="http://schemas.microsoft.com/office/drawing/2014/main" id="{9E991D37-D75A-9F3F-0E6E-8F5FB7B85DE3}"/>
              </a:ext>
            </a:extLst>
          </p:cNvPr>
          <p:cNvSpPr>
            <a:spLocks noGrp="1"/>
          </p:cNvSpPr>
          <p:nvPr>
            <p:ph type="body" sz="quarter" idx="17" hasCustomPrompt="1"/>
          </p:nvPr>
        </p:nvSpPr>
        <p:spPr>
          <a:xfrm>
            <a:off x="574247" y="5947084"/>
            <a:ext cx="3563413" cy="327025"/>
          </a:xfrm>
          <a:prstGeom prst="rect">
            <a:avLst/>
          </a:prstGeom>
        </p:spPr>
        <p:txBody>
          <a:bodyPr anchor="t"/>
          <a:lstStyle>
            <a:lvl1pPr marL="0" indent="0">
              <a:lnSpc>
                <a:spcPct val="100000"/>
              </a:lnSpc>
              <a:buNone/>
              <a:defRPr sz="1400">
                <a:latin typeface="Aptos" panose="020B0004020202020204" pitchFamily="34" charset="0"/>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0" name="Text Placeholder 17">
            <a:extLst>
              <a:ext uri="{FF2B5EF4-FFF2-40B4-BE49-F238E27FC236}">
                <a16:creationId xmlns:a16="http://schemas.microsoft.com/office/drawing/2014/main" id="{5D8CD01E-5F7D-8A04-64E6-74345D645BC3}"/>
              </a:ext>
            </a:extLst>
          </p:cNvPr>
          <p:cNvSpPr>
            <a:spLocks noGrp="1"/>
          </p:cNvSpPr>
          <p:nvPr>
            <p:ph type="body" sz="quarter" idx="18" hasCustomPrompt="1"/>
          </p:nvPr>
        </p:nvSpPr>
        <p:spPr>
          <a:xfrm>
            <a:off x="574247" y="6346036"/>
            <a:ext cx="3563413" cy="252490"/>
          </a:xfrm>
          <a:prstGeom prst="rect">
            <a:avLst/>
          </a:prstGeom>
        </p:spPr>
        <p:txBody>
          <a:bodyPr anchor="b"/>
          <a:lstStyle>
            <a:lvl1pPr marL="0" indent="0">
              <a:buNone/>
              <a:defRPr sz="1000" i="1">
                <a:solidFill>
                  <a:schemeClr val="bg1">
                    <a:lumMod val="50000"/>
                  </a:schemeClr>
                </a:solidFill>
                <a:latin typeface="Aptos" panose="020B00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FORMATION CLASSIFICATION</a:t>
            </a:r>
          </a:p>
        </p:txBody>
      </p:sp>
      <p:pic>
        <p:nvPicPr>
          <p:cNvPr id="11" name="Picture 10">
            <a:extLst>
              <a:ext uri="{FF2B5EF4-FFF2-40B4-BE49-F238E27FC236}">
                <a16:creationId xmlns:a16="http://schemas.microsoft.com/office/drawing/2014/main" id="{7E18A74C-A740-5F64-B8A7-D904FBEB5ECA}"/>
              </a:ext>
            </a:extLst>
          </p:cNvPr>
          <p:cNvPicPr>
            <a:picLocks noChangeAspect="1"/>
          </p:cNvPicPr>
          <p:nvPr userDrawn="1"/>
        </p:nvPicPr>
        <p:blipFill>
          <a:blip r:embed="rId4"/>
          <a:stretch>
            <a:fillRect/>
          </a:stretch>
        </p:blipFill>
        <p:spPr>
          <a:xfrm>
            <a:off x="677069" y="523240"/>
            <a:ext cx="928698" cy="814647"/>
          </a:xfrm>
          <a:prstGeom prst="rect">
            <a:avLst/>
          </a:prstGeom>
        </p:spPr>
      </p:pic>
      <p:cxnSp>
        <p:nvCxnSpPr>
          <p:cNvPr id="13" name="Straight Connector 12">
            <a:extLst>
              <a:ext uri="{FF2B5EF4-FFF2-40B4-BE49-F238E27FC236}">
                <a16:creationId xmlns:a16="http://schemas.microsoft.com/office/drawing/2014/main" id="{B4CD24FD-C178-14A5-3B0A-B49D9A2AA2F8}"/>
              </a:ext>
            </a:extLst>
          </p:cNvPr>
          <p:cNvCxnSpPr>
            <a:cxnSpLocks/>
          </p:cNvCxnSpPr>
          <p:nvPr userDrawn="1"/>
        </p:nvCxnSpPr>
        <p:spPr>
          <a:xfrm>
            <a:off x="677069" y="4521924"/>
            <a:ext cx="523081"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960696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_photo left">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B44FE306-FE67-77B7-54A2-F96D53234948}"/>
              </a:ext>
            </a:extLst>
          </p:cNvPr>
          <p:cNvSpPr>
            <a:spLocks noGrp="1"/>
          </p:cNvSpPr>
          <p:nvPr>
            <p:ph type="pic" sz="quarter" idx="14"/>
          </p:nvPr>
        </p:nvSpPr>
        <p:spPr>
          <a:xfrm>
            <a:off x="-19859" y="-12700"/>
            <a:ext cx="5715567" cy="6890906"/>
          </a:xfrm>
          <a:prstGeom prst="rect">
            <a:avLst/>
          </a:prstGeom>
          <a:solidFill>
            <a:schemeClr val="bg1">
              <a:lumMod val="95000"/>
            </a:schemeClr>
          </a:solidFill>
        </p:spPr>
        <p:txBody>
          <a:bodyPr wrap="square" anchor="ctr">
            <a:noAutofit/>
          </a:bodyPr>
          <a:lstStyle>
            <a:lvl1pPr marL="0" indent="0" algn="ctr">
              <a:buNone/>
              <a:defRPr sz="1100" baseline="0">
                <a:solidFill>
                  <a:schemeClr val="tx1"/>
                </a:solidFill>
              </a:defRPr>
            </a:lvl1pPr>
          </a:lstStyle>
          <a:p>
            <a:pPr marL="0" marR="0" lvl="0" indent="0" algn="ctr" defTabSz="914400" rtl="0" eaLnBrk="1" fontAlgn="auto" latinLnBrk="0" hangingPunct="1">
              <a:lnSpc>
                <a:spcPct val="90000"/>
              </a:lnSpc>
              <a:spcBef>
                <a:spcPts val="1000"/>
              </a:spcBef>
              <a:spcAft>
                <a:spcPts val="0"/>
              </a:spcAft>
              <a:buClrTx/>
              <a:buSzTx/>
              <a:buFont typeface="Wingdings" charset="2"/>
              <a:buNone/>
              <a:tabLst/>
              <a:defRPr/>
            </a:pPr>
            <a:r>
              <a:rPr lang="en-US" altLang="zh-CN"/>
              <a:t>Click icon to add picture</a:t>
            </a:r>
            <a:endParaRPr lang="en-US"/>
          </a:p>
        </p:txBody>
      </p:sp>
      <p:sp>
        <p:nvSpPr>
          <p:cNvPr id="4" name="Text Placeholder 15">
            <a:extLst>
              <a:ext uri="{FF2B5EF4-FFF2-40B4-BE49-F238E27FC236}">
                <a16:creationId xmlns:a16="http://schemas.microsoft.com/office/drawing/2014/main" id="{44962AD2-F6B8-182C-B2CB-766C810ACB52}"/>
              </a:ext>
            </a:extLst>
          </p:cNvPr>
          <p:cNvSpPr>
            <a:spLocks noGrp="1"/>
          </p:cNvSpPr>
          <p:nvPr>
            <p:ph type="body" sz="quarter" idx="17" hasCustomPrompt="1"/>
          </p:nvPr>
        </p:nvSpPr>
        <p:spPr>
          <a:xfrm>
            <a:off x="6277028" y="6072579"/>
            <a:ext cx="5210175" cy="327025"/>
          </a:xfrm>
          <a:prstGeom prst="rect">
            <a:avLst/>
          </a:prstGeom>
        </p:spPr>
        <p:txBody>
          <a:bodyPr anchor="t"/>
          <a:lstStyle>
            <a:lvl1pPr marL="0" indent="0">
              <a:lnSpc>
                <a:spcPct val="100000"/>
              </a:lnSpc>
              <a:buNone/>
              <a:defRPr sz="1400">
                <a:latin typeface="Aptos" panose="020B0004020202020204" pitchFamily="34" charset="0"/>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5" name="Text Placeholder 17">
            <a:extLst>
              <a:ext uri="{FF2B5EF4-FFF2-40B4-BE49-F238E27FC236}">
                <a16:creationId xmlns:a16="http://schemas.microsoft.com/office/drawing/2014/main" id="{EB93B515-AEB3-2E07-20AF-62D1BB584F6A}"/>
              </a:ext>
            </a:extLst>
          </p:cNvPr>
          <p:cNvSpPr>
            <a:spLocks noGrp="1"/>
          </p:cNvSpPr>
          <p:nvPr>
            <p:ph type="body" sz="quarter" idx="18" hasCustomPrompt="1"/>
          </p:nvPr>
        </p:nvSpPr>
        <p:spPr>
          <a:xfrm>
            <a:off x="6277028" y="6471531"/>
            <a:ext cx="5210175" cy="252490"/>
          </a:xfrm>
          <a:prstGeom prst="rect">
            <a:avLst/>
          </a:prstGeom>
        </p:spPr>
        <p:txBody>
          <a:bodyPr anchor="b"/>
          <a:lstStyle>
            <a:lvl1pPr marL="0" indent="0">
              <a:buNone/>
              <a:defRPr sz="1000" i="1">
                <a:solidFill>
                  <a:schemeClr val="bg1">
                    <a:lumMod val="50000"/>
                  </a:schemeClr>
                </a:solidFill>
                <a:latin typeface="Aptos" panose="020B00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FORMATION CLASSIFICATION</a:t>
            </a:r>
          </a:p>
        </p:txBody>
      </p:sp>
      <p:sp>
        <p:nvSpPr>
          <p:cNvPr id="6" name="Title 32">
            <a:extLst>
              <a:ext uri="{FF2B5EF4-FFF2-40B4-BE49-F238E27FC236}">
                <a16:creationId xmlns:a16="http://schemas.microsoft.com/office/drawing/2014/main" id="{2D373642-40BE-8E63-1135-B050071190E1}"/>
              </a:ext>
            </a:extLst>
          </p:cNvPr>
          <p:cNvSpPr>
            <a:spLocks noGrp="1"/>
          </p:cNvSpPr>
          <p:nvPr>
            <p:ph type="ctrTitle" hasCustomPrompt="1"/>
          </p:nvPr>
        </p:nvSpPr>
        <p:spPr>
          <a:xfrm>
            <a:off x="6277028" y="2581361"/>
            <a:ext cx="5210223" cy="2236215"/>
          </a:xfrm>
          <a:prstGeom prst="rect">
            <a:avLst/>
          </a:prstGeom>
        </p:spPr>
        <p:txBody>
          <a:bodyPr anchor="b">
            <a:normAutofit/>
          </a:bodyPr>
          <a:lstStyle>
            <a:lvl1pPr fontAlgn="b">
              <a:lnSpc>
                <a:spcPct val="80000"/>
              </a:lnSpc>
              <a:defRPr sz="4600" b="1" i="0">
                <a:latin typeface="Aptos" panose="020B0004020202020204" pitchFamily="34" charset="0"/>
                <a:cs typeface="Arial Black" panose="020B0604020202020204" pitchFamily="34" charset="0"/>
              </a:defRPr>
            </a:lvl1pPr>
          </a:lstStyle>
          <a:p>
            <a:r>
              <a:rPr lang="en-US"/>
              <a:t>Presentation title</a:t>
            </a:r>
          </a:p>
        </p:txBody>
      </p:sp>
      <p:sp>
        <p:nvSpPr>
          <p:cNvPr id="7" name="Text Placeholder 13">
            <a:extLst>
              <a:ext uri="{FF2B5EF4-FFF2-40B4-BE49-F238E27FC236}">
                <a16:creationId xmlns:a16="http://schemas.microsoft.com/office/drawing/2014/main" id="{4FA1C8A3-0CE9-D41C-3AB0-A24058BD23C1}"/>
              </a:ext>
            </a:extLst>
          </p:cNvPr>
          <p:cNvSpPr>
            <a:spLocks noGrp="1"/>
          </p:cNvSpPr>
          <p:nvPr>
            <p:ph type="body" sz="quarter" idx="16" hasCustomPrompt="1"/>
          </p:nvPr>
        </p:nvSpPr>
        <p:spPr>
          <a:xfrm>
            <a:off x="6277028" y="4830977"/>
            <a:ext cx="5210175" cy="994305"/>
          </a:xfrm>
          <a:prstGeom prst="rect">
            <a:avLst/>
          </a:prstGeom>
        </p:spPr>
        <p:txBody>
          <a:bodyPr anchor="t"/>
          <a:lstStyle>
            <a:lvl1pPr marL="0" indent="0">
              <a:lnSpc>
                <a:spcPct val="90000"/>
              </a:lnSpc>
              <a:buNone/>
              <a:defRPr sz="2000">
                <a:latin typeface="Aptos" panose="020B0004020202020204" pitchFamily="34" charset="0"/>
              </a:defRPr>
            </a:lvl1pPr>
          </a:lstStyle>
          <a:p>
            <a:pPr lvl="0"/>
            <a:r>
              <a:rPr lang="en-US"/>
              <a:t>Presenter Name</a:t>
            </a:r>
          </a:p>
        </p:txBody>
      </p:sp>
      <p:pic>
        <p:nvPicPr>
          <p:cNvPr id="10" name="Picture 9">
            <a:extLst>
              <a:ext uri="{FF2B5EF4-FFF2-40B4-BE49-F238E27FC236}">
                <a16:creationId xmlns:a16="http://schemas.microsoft.com/office/drawing/2014/main" id="{181B377E-5833-0EE9-5EED-46CA8DC7DCC2}"/>
              </a:ext>
            </a:extLst>
          </p:cNvPr>
          <p:cNvPicPr>
            <a:picLocks noChangeAspect="1"/>
          </p:cNvPicPr>
          <p:nvPr userDrawn="1"/>
        </p:nvPicPr>
        <p:blipFill>
          <a:blip r:embed="rId2"/>
          <a:stretch>
            <a:fillRect/>
          </a:stretch>
        </p:blipFill>
        <p:spPr>
          <a:xfrm>
            <a:off x="6403382" y="435818"/>
            <a:ext cx="928698" cy="814647"/>
          </a:xfrm>
          <a:prstGeom prst="rect">
            <a:avLst/>
          </a:prstGeom>
        </p:spPr>
      </p:pic>
    </p:spTree>
    <p:extLst>
      <p:ext uri="{BB962C8B-B14F-4D97-AF65-F5344CB8AC3E}">
        <p14:creationId xmlns:p14="http://schemas.microsoft.com/office/powerpoint/2010/main" val="281697413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losing_red_build-outline">
    <p:spTree>
      <p:nvGrpSpPr>
        <p:cNvPr id="1" name=""/>
        <p:cNvGrpSpPr/>
        <p:nvPr/>
      </p:nvGrpSpPr>
      <p:grpSpPr>
        <a:xfrm>
          <a:off x="0" y="0"/>
          <a:ext cx="0" cy="0"/>
          <a:chOff x="0" y="0"/>
          <a:chExt cx="0" cy="0"/>
        </a:xfrm>
      </p:grpSpPr>
      <p:pic>
        <p:nvPicPr>
          <p:cNvPr id="5" name="Picture 4" descr="A red background with lines&#10;&#10;Description automatically generated">
            <a:extLst>
              <a:ext uri="{FF2B5EF4-FFF2-40B4-BE49-F238E27FC236}">
                <a16:creationId xmlns:a16="http://schemas.microsoft.com/office/drawing/2014/main" id="{D1A9A8B3-B495-7E1E-3CC2-908F7DADCC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630" y="-14991"/>
            <a:ext cx="12252960" cy="6899476"/>
          </a:xfrm>
          <a:prstGeom prst="rect">
            <a:avLst/>
          </a:prstGeom>
        </p:spPr>
      </p:pic>
      <p:sp>
        <p:nvSpPr>
          <p:cNvPr id="21" name="Title 1">
            <a:extLst>
              <a:ext uri="{FF2B5EF4-FFF2-40B4-BE49-F238E27FC236}">
                <a16:creationId xmlns:a16="http://schemas.microsoft.com/office/drawing/2014/main" id="{2355B8EB-24B5-68D3-1038-20B1A4FA9581}"/>
              </a:ext>
            </a:extLst>
          </p:cNvPr>
          <p:cNvSpPr>
            <a:spLocks noGrp="1"/>
          </p:cNvSpPr>
          <p:nvPr>
            <p:ph type="title" hasCustomPrompt="1"/>
          </p:nvPr>
        </p:nvSpPr>
        <p:spPr>
          <a:xfrm>
            <a:off x="651933" y="4909185"/>
            <a:ext cx="10888133" cy="1136050"/>
          </a:xfrm>
          <a:prstGeom prst="rect">
            <a:avLst/>
          </a:prstGeom>
        </p:spPr>
        <p:txBody>
          <a:bodyPr anchor="ctr" anchorCtr="0">
            <a:normAutofit/>
          </a:bodyPr>
          <a:lstStyle>
            <a:lvl1pPr algn="ctr">
              <a:lnSpc>
                <a:spcPct val="100000"/>
              </a:lnSpc>
              <a:defRPr sz="2400" b="0">
                <a:solidFill>
                  <a:schemeClr val="bg1"/>
                </a:solidFill>
                <a:latin typeface="Aptos" panose="020B0004020202020204" pitchFamily="34" charset="0"/>
              </a:defRPr>
            </a:lvl1pPr>
          </a:lstStyle>
          <a:p>
            <a:r>
              <a:rPr lang="en-US"/>
              <a:t>Call to action text here</a:t>
            </a:r>
          </a:p>
        </p:txBody>
      </p:sp>
      <p:pic>
        <p:nvPicPr>
          <p:cNvPr id="2" name="Picture 1">
            <a:extLst>
              <a:ext uri="{FF2B5EF4-FFF2-40B4-BE49-F238E27FC236}">
                <a16:creationId xmlns:a16="http://schemas.microsoft.com/office/drawing/2014/main" id="{1F2A981D-EABB-2759-BA66-12AC22380C0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5666"/>
          <a:stretch/>
        </p:blipFill>
        <p:spPr>
          <a:xfrm>
            <a:off x="4947379" y="2400823"/>
            <a:ext cx="2287557" cy="2056353"/>
          </a:xfrm>
          <a:prstGeom prst="rect">
            <a:avLst/>
          </a:prstGeom>
        </p:spPr>
      </p:pic>
    </p:spTree>
    <p:extLst>
      <p:ext uri="{BB962C8B-B14F-4D97-AF65-F5344CB8AC3E}">
        <p14:creationId xmlns:p14="http://schemas.microsoft.com/office/powerpoint/2010/main" val="349570821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2B462374-77DB-9D7C-773B-D302A2B86C80}"/>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151916706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428D1C9C-BE46-4A54-416E-FBE7F327FADC}"/>
              </a:ext>
            </a:extLst>
          </p:cNvPr>
          <p:cNvSpPr>
            <a:spLocks noGrp="1"/>
          </p:cNvSpPr>
          <p:nvPr>
            <p:ph type="body" sz="quarter" idx="10" hasCustomPrompt="1"/>
          </p:nvPr>
        </p:nvSpPr>
        <p:spPr>
          <a:xfrm>
            <a:off x="585500" y="291579"/>
            <a:ext cx="11035000"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5" name="Text Placeholder 11">
            <a:extLst>
              <a:ext uri="{FF2B5EF4-FFF2-40B4-BE49-F238E27FC236}">
                <a16:creationId xmlns:a16="http://schemas.microsoft.com/office/drawing/2014/main" id="{C6862878-47E4-2EA9-5168-968A02CF51DE}"/>
              </a:ext>
            </a:extLst>
          </p:cNvPr>
          <p:cNvSpPr>
            <a:spLocks noGrp="1"/>
          </p:cNvSpPr>
          <p:nvPr>
            <p:ph type="body" sz="quarter" idx="11"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162832293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A17D037B-58C8-FBB2-716F-FB244C695B76}"/>
              </a:ext>
            </a:extLst>
          </p:cNvPr>
          <p:cNvSpPr>
            <a:spLocks noGrp="1"/>
          </p:cNvSpPr>
          <p:nvPr>
            <p:ph type="body" sz="quarter" idx="10" hasCustomPrompt="1"/>
          </p:nvPr>
        </p:nvSpPr>
        <p:spPr>
          <a:xfrm>
            <a:off x="585500" y="291579"/>
            <a:ext cx="11035000"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2" name="Content Placeholder 10">
            <a:extLst>
              <a:ext uri="{FF2B5EF4-FFF2-40B4-BE49-F238E27FC236}">
                <a16:creationId xmlns:a16="http://schemas.microsoft.com/office/drawing/2014/main" id="{E5C3A557-0696-5BC9-22D4-C1F15B1F51C4}"/>
              </a:ext>
            </a:extLst>
          </p:cNvPr>
          <p:cNvSpPr>
            <a:spLocks noGrp="1"/>
          </p:cNvSpPr>
          <p:nvPr>
            <p:ph sz="quarter" idx="11" hasCustomPrompt="1"/>
          </p:nvPr>
        </p:nvSpPr>
        <p:spPr>
          <a:xfrm>
            <a:off x="585788" y="1623317"/>
            <a:ext cx="11034712" cy="4548883"/>
          </a:xfrm>
          <a:prstGeom prst="rect">
            <a:avLst/>
          </a:prstGeom>
        </p:spPr>
        <p:txBody>
          <a:bodyPr/>
          <a:lstStyle>
            <a:lvl1pPr marL="0" indent="0">
              <a:buFont typeface="Wingdings" pitchFamily="2" charset="2"/>
              <a:buNone/>
              <a:defRPr sz="1800">
                <a:latin typeface="Aptos" panose="020B0004020202020204" pitchFamily="34" charset="0"/>
              </a:defRPr>
            </a:lvl1pPr>
            <a:lvl2pPr marL="685800" indent="-228600">
              <a:buFont typeface="Wingdings" pitchFamily="2" charset="2"/>
              <a:buChar char="§"/>
              <a:defRPr sz="1800">
                <a:latin typeface="Aptos" panose="020B0004020202020204" pitchFamily="34" charset="0"/>
              </a:defRPr>
            </a:lvl2pPr>
            <a:lvl3pPr marL="1143000" indent="-228600">
              <a:buFont typeface="Wingdings" pitchFamily="2" charset="2"/>
              <a:buChar char="§"/>
              <a:defRPr sz="1800">
                <a:latin typeface="Aptos" panose="020B0004020202020204" pitchFamily="34" charset="0"/>
              </a:defRPr>
            </a:lvl3pPr>
            <a:lvl4pPr>
              <a:defRPr sz="1800">
                <a:latin typeface="Aptos" panose="020B0004020202020204" pitchFamily="34" charset="0"/>
              </a:defRPr>
            </a:lvl4pPr>
            <a:lvl5pPr marL="2057400" indent="-228600">
              <a:buFont typeface="Arial" panose="020B0604020202020204" pitchFamily="34" charset="0"/>
              <a:buChar char="•"/>
              <a:defRPr sz="1800">
                <a:latin typeface="Aptos" panose="020B0004020202020204" pitchFamily="34" charset="0"/>
              </a:defRPr>
            </a:lvl5pPr>
          </a:lstStyle>
          <a:p>
            <a:pPr lvl="0"/>
            <a:r>
              <a:rPr lang="en-US"/>
              <a:t>Text</a:t>
            </a:r>
          </a:p>
        </p:txBody>
      </p:sp>
      <p:sp>
        <p:nvSpPr>
          <p:cNvPr id="3" name="Text Placeholder 11">
            <a:extLst>
              <a:ext uri="{FF2B5EF4-FFF2-40B4-BE49-F238E27FC236}">
                <a16:creationId xmlns:a16="http://schemas.microsoft.com/office/drawing/2014/main" id="{815259F0-583E-B29F-F0BC-B6559B52B271}"/>
              </a:ext>
            </a:extLst>
          </p:cNvPr>
          <p:cNvSpPr>
            <a:spLocks noGrp="1"/>
          </p:cNvSpPr>
          <p:nvPr>
            <p:ph type="body" sz="quarter" idx="12"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268119763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A17D037B-58C8-FBB2-716F-FB244C695B76}"/>
              </a:ext>
            </a:extLst>
          </p:cNvPr>
          <p:cNvSpPr>
            <a:spLocks noGrp="1"/>
          </p:cNvSpPr>
          <p:nvPr>
            <p:ph type="body" sz="quarter" idx="10" hasCustomPrompt="1"/>
          </p:nvPr>
        </p:nvSpPr>
        <p:spPr>
          <a:xfrm>
            <a:off x="585500" y="291579"/>
            <a:ext cx="11035000"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2" name="Content Placeholder 10">
            <a:extLst>
              <a:ext uri="{FF2B5EF4-FFF2-40B4-BE49-F238E27FC236}">
                <a16:creationId xmlns:a16="http://schemas.microsoft.com/office/drawing/2014/main" id="{E5C3A557-0696-5BC9-22D4-C1F15B1F51C4}"/>
              </a:ext>
            </a:extLst>
          </p:cNvPr>
          <p:cNvSpPr>
            <a:spLocks noGrp="1"/>
          </p:cNvSpPr>
          <p:nvPr>
            <p:ph sz="quarter" idx="11" hasCustomPrompt="1"/>
          </p:nvPr>
        </p:nvSpPr>
        <p:spPr>
          <a:xfrm>
            <a:off x="585788" y="1623317"/>
            <a:ext cx="11034712" cy="4548883"/>
          </a:xfrm>
          <a:prstGeom prst="rect">
            <a:avLst/>
          </a:prstGeom>
        </p:spPr>
        <p:txBody>
          <a:bodyPr numCol="2" spcCol="457200"/>
          <a:lstStyle>
            <a:lvl1pPr marL="0" indent="0">
              <a:buFont typeface="Wingdings" pitchFamily="2" charset="2"/>
              <a:buNone/>
              <a:defRPr sz="1800">
                <a:latin typeface="Aptos" panose="020B0004020202020204" pitchFamily="34" charset="0"/>
              </a:defRPr>
            </a:lvl1pPr>
            <a:lvl2pPr marL="685800" indent="-228600">
              <a:buFont typeface="Wingdings" pitchFamily="2" charset="2"/>
              <a:buChar char="§"/>
              <a:defRPr sz="1800">
                <a:latin typeface="Aptos" panose="020B0004020202020204" pitchFamily="34" charset="0"/>
              </a:defRPr>
            </a:lvl2pPr>
            <a:lvl3pPr marL="1143000" indent="-228600">
              <a:buFont typeface="Wingdings" pitchFamily="2" charset="2"/>
              <a:buChar char="§"/>
              <a:defRPr sz="1800">
                <a:latin typeface="Aptos" panose="020B0004020202020204" pitchFamily="34" charset="0"/>
              </a:defRPr>
            </a:lvl3pPr>
            <a:lvl4pPr>
              <a:defRPr sz="1800">
                <a:latin typeface="Aptos" panose="020B0004020202020204" pitchFamily="34" charset="0"/>
              </a:defRPr>
            </a:lvl4pPr>
            <a:lvl5pPr marL="2057400" indent="-228600">
              <a:buFont typeface="Arial" panose="020B0604020202020204" pitchFamily="34" charset="0"/>
              <a:buChar char="•"/>
              <a:defRPr sz="1800">
                <a:latin typeface="Aptos" panose="020B0004020202020204" pitchFamily="34" charset="0"/>
              </a:defRPr>
            </a:lvl5pPr>
          </a:lstStyle>
          <a:p>
            <a:pPr lvl="0"/>
            <a:r>
              <a:rPr lang="en-US"/>
              <a:t>Text</a:t>
            </a:r>
          </a:p>
        </p:txBody>
      </p:sp>
      <p:sp>
        <p:nvSpPr>
          <p:cNvPr id="3" name="Text Placeholder 11">
            <a:extLst>
              <a:ext uri="{FF2B5EF4-FFF2-40B4-BE49-F238E27FC236}">
                <a16:creationId xmlns:a16="http://schemas.microsoft.com/office/drawing/2014/main" id="{9701E983-79B5-2BE5-EAA9-AC2E102043A6}"/>
              </a:ext>
            </a:extLst>
          </p:cNvPr>
          <p:cNvSpPr>
            <a:spLocks noGrp="1"/>
          </p:cNvSpPr>
          <p:nvPr>
            <p:ph type="body" sz="quarter" idx="12"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11814494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text box_bullets">
    <p:spTree>
      <p:nvGrpSpPr>
        <p:cNvPr id="1" name=""/>
        <p:cNvGrpSpPr/>
        <p:nvPr/>
      </p:nvGrpSpPr>
      <p:grpSpPr>
        <a:xfrm>
          <a:off x="0" y="0"/>
          <a:ext cx="0" cy="0"/>
          <a:chOff x="0" y="0"/>
          <a:chExt cx="0" cy="0"/>
        </a:xfrm>
      </p:grpSpPr>
      <p:sp>
        <p:nvSpPr>
          <p:cNvPr id="3" name="Content Placeholder 10">
            <a:extLst>
              <a:ext uri="{FF2B5EF4-FFF2-40B4-BE49-F238E27FC236}">
                <a16:creationId xmlns:a16="http://schemas.microsoft.com/office/drawing/2014/main" id="{418FF483-ADA8-6A92-0BD8-2BD42B1F4AE5}"/>
              </a:ext>
            </a:extLst>
          </p:cNvPr>
          <p:cNvSpPr>
            <a:spLocks noGrp="1"/>
          </p:cNvSpPr>
          <p:nvPr>
            <p:ph sz="quarter" idx="11" hasCustomPrompt="1"/>
          </p:nvPr>
        </p:nvSpPr>
        <p:spPr>
          <a:xfrm>
            <a:off x="585788" y="1615389"/>
            <a:ext cx="5352168" cy="4548883"/>
          </a:xfrm>
          <a:prstGeom prst="rect">
            <a:avLst/>
          </a:prstGeom>
        </p:spPr>
        <p:txBody>
          <a:bodyPr numCol="1" spcCol="228600"/>
          <a:lstStyle>
            <a:lvl1pPr marL="285750" indent="-285750">
              <a:buFont typeface="Wingdings" pitchFamily="2" charset="2"/>
              <a:buChar char="§"/>
              <a:defRPr sz="1800">
                <a:latin typeface="Aptos" panose="020B0004020202020204" pitchFamily="34" charset="0"/>
              </a:defRPr>
            </a:lvl1pPr>
            <a:lvl2pPr marL="685800" indent="-228600">
              <a:buFont typeface="Wingdings" pitchFamily="2" charset="2"/>
              <a:buChar char="§"/>
              <a:defRPr sz="1800">
                <a:latin typeface="Aptos" panose="020B0004020202020204" pitchFamily="34" charset="0"/>
              </a:defRPr>
            </a:lvl2pPr>
            <a:lvl3pPr marL="1143000" indent="-228600">
              <a:buFont typeface="Wingdings" pitchFamily="2" charset="2"/>
              <a:buChar char="§"/>
              <a:defRPr sz="1800">
                <a:latin typeface="Aptos" panose="020B0004020202020204" pitchFamily="34" charset="0"/>
              </a:defRPr>
            </a:lvl3pPr>
            <a:lvl4pPr marL="1600200" indent="-228600">
              <a:buFont typeface="Wingdings" pitchFamily="2" charset="2"/>
              <a:buChar char="§"/>
              <a:defRPr sz="1800">
                <a:latin typeface="Aptos" panose="020B0004020202020204" pitchFamily="34" charset="0"/>
              </a:defRPr>
            </a:lvl4pPr>
            <a:lvl5pPr marL="2057400" indent="-228600">
              <a:buFont typeface="Wingdings" pitchFamily="2" charset="2"/>
              <a:buChar char="§"/>
              <a:defRPr sz="1800">
                <a:latin typeface="Aptos" panose="020B0004020202020204" pitchFamily="34" charset="0"/>
              </a:defRPr>
            </a:lvl5pPr>
          </a:lstStyle>
          <a:p>
            <a:pPr lvl="0"/>
            <a:r>
              <a:rPr lang="en-US"/>
              <a:t>Text</a:t>
            </a:r>
          </a:p>
        </p:txBody>
      </p:sp>
      <p:sp>
        <p:nvSpPr>
          <p:cNvPr id="5" name="Text Placeholder 6">
            <a:extLst>
              <a:ext uri="{FF2B5EF4-FFF2-40B4-BE49-F238E27FC236}">
                <a16:creationId xmlns:a16="http://schemas.microsoft.com/office/drawing/2014/main" id="{F629D3AD-8178-91BD-9112-8714006726E9}"/>
              </a:ext>
            </a:extLst>
          </p:cNvPr>
          <p:cNvSpPr>
            <a:spLocks noGrp="1"/>
          </p:cNvSpPr>
          <p:nvPr>
            <p:ph type="body" sz="quarter" idx="10" hasCustomPrompt="1"/>
          </p:nvPr>
        </p:nvSpPr>
        <p:spPr>
          <a:xfrm>
            <a:off x="585500" y="291579"/>
            <a:ext cx="11035000" cy="1184960"/>
          </a:xfrm>
          <a:prstGeom prst="rect">
            <a:avLst/>
          </a:prstGeom>
        </p:spPr>
        <p:txBody>
          <a:bodyPr rIns="91440"/>
          <a:lstStyle>
            <a:lvl1pPr marL="0" indent="0">
              <a:lnSpc>
                <a:spcPct val="80000"/>
              </a:lnSpc>
              <a:buFontTx/>
              <a:buNone/>
              <a:defRPr sz="3400" b="1"/>
            </a:lvl1pPr>
          </a:lstStyle>
          <a:p>
            <a:r>
              <a:rPr lang="en-US"/>
              <a:t>Title </a:t>
            </a:r>
          </a:p>
        </p:txBody>
      </p:sp>
      <p:sp>
        <p:nvSpPr>
          <p:cNvPr id="8" name="Content Placeholder 7">
            <a:extLst>
              <a:ext uri="{FF2B5EF4-FFF2-40B4-BE49-F238E27FC236}">
                <a16:creationId xmlns:a16="http://schemas.microsoft.com/office/drawing/2014/main" id="{382D04E7-D033-F519-6AF1-1A613D0E116A}"/>
              </a:ext>
            </a:extLst>
          </p:cNvPr>
          <p:cNvSpPr>
            <a:spLocks noGrp="1"/>
          </p:cNvSpPr>
          <p:nvPr>
            <p:ph sz="quarter" idx="13" hasCustomPrompt="1"/>
          </p:nvPr>
        </p:nvSpPr>
        <p:spPr>
          <a:xfrm>
            <a:off x="6275388" y="1616075"/>
            <a:ext cx="5353050" cy="4548188"/>
          </a:xfrm>
          <a:prstGeom prst="rect">
            <a:avLst/>
          </a:prstGeom>
        </p:spPr>
        <p:txBody>
          <a:bodyPr/>
          <a:lstStyle>
            <a:lvl1pPr marL="285750" indent="-285750">
              <a:buFont typeface="Wingdings" pitchFamily="2" charset="2"/>
              <a:buChar char="§"/>
              <a:defRPr>
                <a:latin typeface="Aptos" panose="020B0004020202020204" pitchFamily="34" charset="0"/>
              </a:defRPr>
            </a:lvl1pPr>
            <a:lvl2pPr marL="685800" indent="-228600">
              <a:buFont typeface="Wingdings" pitchFamily="2" charset="2"/>
              <a:buChar char="§"/>
              <a:defRPr>
                <a:latin typeface="Aptos" panose="020B0004020202020204" pitchFamily="34" charset="0"/>
              </a:defRPr>
            </a:lvl2pPr>
            <a:lvl3pPr marL="1143000" indent="-228600">
              <a:buFont typeface="Wingdings" pitchFamily="2" charset="2"/>
              <a:buChar char="§"/>
              <a:defRPr>
                <a:latin typeface="Aptos" panose="020B0004020202020204" pitchFamily="34" charset="0"/>
              </a:defRPr>
            </a:lvl3pPr>
            <a:lvl4pPr>
              <a:defRPr sz="1800">
                <a:latin typeface="Aptos" panose="020B0004020202020204" pitchFamily="34" charset="0"/>
              </a:defRPr>
            </a:lvl4pPr>
            <a:lvl5pPr>
              <a:defRPr sz="1800">
                <a:latin typeface="Aptos" panose="020B0004020202020204" pitchFamily="34" charset="0"/>
              </a:defRPr>
            </a:lvl5pPr>
          </a:lstStyle>
          <a:p>
            <a:pPr lvl="0"/>
            <a:r>
              <a:rPr lang="en-US"/>
              <a:t>Text</a:t>
            </a:r>
          </a:p>
        </p:txBody>
      </p:sp>
      <p:sp>
        <p:nvSpPr>
          <p:cNvPr id="2" name="Text Placeholder 11">
            <a:extLst>
              <a:ext uri="{FF2B5EF4-FFF2-40B4-BE49-F238E27FC236}">
                <a16:creationId xmlns:a16="http://schemas.microsoft.com/office/drawing/2014/main" id="{883F5D7C-08DF-EA5F-3655-7A5B30D56D71}"/>
              </a:ext>
            </a:extLst>
          </p:cNvPr>
          <p:cNvSpPr>
            <a:spLocks noGrp="1"/>
          </p:cNvSpPr>
          <p:nvPr>
            <p:ph type="body" sz="quarter" idx="14"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4031283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_image left">
    <p:spTree>
      <p:nvGrpSpPr>
        <p:cNvPr id="1" name=""/>
        <p:cNvGrpSpPr/>
        <p:nvPr/>
      </p:nvGrpSpPr>
      <p:grpSpPr>
        <a:xfrm>
          <a:off x="0" y="0"/>
          <a:ext cx="0" cy="0"/>
          <a:chOff x="0" y="0"/>
          <a:chExt cx="0" cy="0"/>
        </a:xfrm>
      </p:grpSpPr>
      <p:pic>
        <p:nvPicPr>
          <p:cNvPr id="3" name="Picture 2" descr="A white background with lines&#10;&#10;Description automatically generated">
            <a:extLst>
              <a:ext uri="{FF2B5EF4-FFF2-40B4-BE49-F238E27FC236}">
                <a16:creationId xmlns:a16="http://schemas.microsoft.com/office/drawing/2014/main" id="{BBED2E0F-C75D-0FB0-6105-E1B0887EF9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0109"/>
          <a:stretch/>
        </p:blipFill>
        <p:spPr>
          <a:xfrm rot="10800000">
            <a:off x="0" y="0"/>
            <a:ext cx="12197318" cy="3429000"/>
          </a:xfrm>
          <a:prstGeom prst="rect">
            <a:avLst/>
          </a:prstGeom>
        </p:spPr>
      </p:pic>
      <p:cxnSp>
        <p:nvCxnSpPr>
          <p:cNvPr id="15" name="Straight Connector 14"/>
          <p:cNvCxnSpPr/>
          <p:nvPr userDrawn="1"/>
        </p:nvCxnSpPr>
        <p:spPr>
          <a:xfrm>
            <a:off x="10741367" y="750118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13">
            <a:extLst>
              <a:ext uri="{FF2B5EF4-FFF2-40B4-BE49-F238E27FC236}">
                <a16:creationId xmlns:a16="http://schemas.microsoft.com/office/drawing/2014/main" id="{582BC42E-337D-DFB9-68B3-8D77AE8AB3E2}"/>
              </a:ext>
            </a:extLst>
          </p:cNvPr>
          <p:cNvSpPr>
            <a:spLocks noGrp="1"/>
          </p:cNvSpPr>
          <p:nvPr>
            <p:ph type="body" sz="quarter" idx="16" hasCustomPrompt="1"/>
          </p:nvPr>
        </p:nvSpPr>
        <p:spPr>
          <a:xfrm>
            <a:off x="587761" y="4765607"/>
            <a:ext cx="7813290" cy="716536"/>
          </a:xfrm>
          <a:prstGeom prst="rect">
            <a:avLst/>
          </a:prstGeom>
        </p:spPr>
        <p:txBody>
          <a:bodyPr anchor="t"/>
          <a:lstStyle>
            <a:lvl1pPr marL="0" indent="0">
              <a:lnSpc>
                <a:spcPts val="2400"/>
              </a:lnSpc>
              <a:buNone/>
              <a:defRPr sz="2000">
                <a:latin typeface="Aptos" panose="020B0004020202020204" pitchFamily="34" charset="0"/>
              </a:defRPr>
            </a:lvl1pPr>
          </a:lstStyle>
          <a:p>
            <a:pPr>
              <a:lnSpc>
                <a:spcPct val="100000"/>
              </a:lnSpc>
            </a:pPr>
            <a:r>
              <a:rPr lang="en-US" sz="2000" b="0"/>
              <a:t>Subhead title for section</a:t>
            </a:r>
          </a:p>
        </p:txBody>
      </p:sp>
      <p:sp>
        <p:nvSpPr>
          <p:cNvPr id="2" name="Title 1">
            <a:extLst>
              <a:ext uri="{FF2B5EF4-FFF2-40B4-BE49-F238E27FC236}">
                <a16:creationId xmlns:a16="http://schemas.microsoft.com/office/drawing/2014/main" id="{84A34E95-7407-00FF-8392-D2C166709ACF}"/>
              </a:ext>
            </a:extLst>
          </p:cNvPr>
          <p:cNvSpPr>
            <a:spLocks noGrp="1"/>
          </p:cNvSpPr>
          <p:nvPr>
            <p:ph type="title" hasCustomPrompt="1"/>
          </p:nvPr>
        </p:nvSpPr>
        <p:spPr>
          <a:xfrm>
            <a:off x="587760" y="3613660"/>
            <a:ext cx="7813290" cy="1159307"/>
          </a:xfrm>
          <a:prstGeom prst="rect">
            <a:avLst/>
          </a:prstGeom>
        </p:spPr>
        <p:txBody>
          <a:bodyPr rIns="914400" anchor="b" anchorCtr="0">
            <a:normAutofit/>
          </a:bodyPr>
          <a:lstStyle>
            <a:lvl1pPr>
              <a:lnSpc>
                <a:spcPct val="80000"/>
              </a:lnSpc>
              <a:defRPr sz="3400">
                <a:latin typeface="Aptos" panose="020B0004020202020204" pitchFamily="34" charset="0"/>
              </a:defRPr>
            </a:lvl1pPr>
          </a:lstStyle>
          <a:p>
            <a:r>
              <a:rPr lang="en-US"/>
              <a:t>Section title</a:t>
            </a:r>
          </a:p>
        </p:txBody>
      </p:sp>
      <p:sp>
        <p:nvSpPr>
          <p:cNvPr id="6" name="Round Same Side Corner Rectangle 5">
            <a:extLst>
              <a:ext uri="{FF2B5EF4-FFF2-40B4-BE49-F238E27FC236}">
                <a16:creationId xmlns:a16="http://schemas.microsoft.com/office/drawing/2014/main" id="{5BFFF836-895A-08CC-3A71-172327C5F84F}"/>
              </a:ext>
            </a:extLst>
          </p:cNvPr>
          <p:cNvSpPr/>
          <p:nvPr userDrawn="1"/>
        </p:nvSpPr>
        <p:spPr>
          <a:xfrm rot="5400000">
            <a:off x="-10274" y="4250463"/>
            <a:ext cx="395856" cy="395856"/>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1">
            <a:extLst>
              <a:ext uri="{FF2B5EF4-FFF2-40B4-BE49-F238E27FC236}">
                <a16:creationId xmlns:a16="http://schemas.microsoft.com/office/drawing/2014/main" id="{DA043BB1-5599-20A4-8DF3-3836BAFC345A}"/>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22873316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5" name="Title 32">
            <a:extLst>
              <a:ext uri="{FF2B5EF4-FFF2-40B4-BE49-F238E27FC236}">
                <a16:creationId xmlns:a16="http://schemas.microsoft.com/office/drawing/2014/main" id="{370D13C0-1A33-7C49-B2FC-9B3C93EED0B7}"/>
              </a:ext>
            </a:extLst>
          </p:cNvPr>
          <p:cNvSpPr>
            <a:spLocks noGrp="1"/>
          </p:cNvSpPr>
          <p:nvPr>
            <p:ph type="ctrTitle" hasCustomPrompt="1"/>
          </p:nvPr>
        </p:nvSpPr>
        <p:spPr>
          <a:xfrm>
            <a:off x="6309360" y="1292352"/>
            <a:ext cx="5210223" cy="3550726"/>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1" name="Subtitle 2">
            <a:extLst>
              <a:ext uri="{FF2B5EF4-FFF2-40B4-BE49-F238E27FC236}">
                <a16:creationId xmlns:a16="http://schemas.microsoft.com/office/drawing/2014/main" id="{B85D6215-A59C-1B4A-ACD9-F168EF58A4D1}"/>
              </a:ext>
            </a:extLst>
          </p:cNvPr>
          <p:cNvSpPr txBox="1">
            <a:spLocks/>
          </p:cNvSpPr>
          <p:nvPr userDrawn="1"/>
        </p:nvSpPr>
        <p:spPr>
          <a:xfrm>
            <a:off x="1174965" y="4533127"/>
            <a:ext cx="4914123" cy="1148830"/>
          </a:xfrm>
          <a:prstGeom prst="rect">
            <a:avLst/>
          </a:prstGeom>
        </p:spPr>
        <p:txBody>
          <a:bodyPr anchor="ctr">
            <a:normAutofit/>
          </a:bodyPr>
          <a:lstStyle>
            <a:lvl1pPr marL="0" indent="0" algn="l" defTabSz="914400" rtl="0" eaLnBrk="1" latinLnBrk="0" hangingPunct="1">
              <a:lnSpc>
                <a:spcPct val="100000"/>
              </a:lnSpc>
              <a:spcBef>
                <a:spcPts val="1000"/>
              </a:spcBef>
              <a:buFont typeface="Wingdings" charset="2"/>
              <a:buNone/>
              <a:defRPr sz="2667" b="0" i="0" kern="1200">
                <a:solidFill>
                  <a:schemeClr val="tx1"/>
                </a:solidFill>
                <a:latin typeface="Arial" charset="0"/>
                <a:ea typeface="Arial" charset="0"/>
                <a:cs typeface="Arial" charset="0"/>
              </a:defRPr>
            </a:lvl1pPr>
            <a:lvl2pPr marL="457189"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rial" charset="0"/>
                <a:ea typeface="Arial" charset="0"/>
                <a:cs typeface="Arial" charset="0"/>
              </a:defRPr>
            </a:lvl2pPr>
            <a:lvl3pPr marL="914377" indent="0" algn="ctr" defTabSz="914400" rtl="0" eaLnBrk="1" latinLnBrk="0" hangingPunct="1">
              <a:lnSpc>
                <a:spcPct val="90000"/>
              </a:lnSpc>
              <a:spcBef>
                <a:spcPts val="500"/>
              </a:spcBef>
              <a:buFont typeface="LucidaGrande" charset="0"/>
              <a:buNone/>
              <a:defRPr sz="1800" b="0" i="0" kern="1200">
                <a:solidFill>
                  <a:schemeClr val="tx1"/>
                </a:solidFill>
                <a:latin typeface="Arial" charset="0"/>
                <a:ea typeface="Arial" charset="0"/>
                <a:cs typeface="Arial" charset="0"/>
              </a:defRPr>
            </a:lvl3pPr>
            <a:lvl4pPr marL="1371566" indent="0" algn="ctr" defTabSz="914400" rtl="0" eaLnBrk="1" latinLnBrk="0" hangingPunct="1">
              <a:lnSpc>
                <a:spcPct val="90000"/>
              </a:lnSpc>
              <a:spcBef>
                <a:spcPts val="500"/>
              </a:spcBef>
              <a:buSzPct val="80000"/>
              <a:buFont typeface="Courier New" charset="0"/>
              <a:buNone/>
              <a:defRPr sz="1600" b="0" i="0" kern="1200">
                <a:solidFill>
                  <a:schemeClr val="tx1"/>
                </a:solidFill>
                <a:latin typeface="Arial" charset="0"/>
                <a:ea typeface="Arial" charset="0"/>
                <a:cs typeface="Arial" charset="0"/>
              </a:defRPr>
            </a:lvl4pPr>
            <a:lvl5pPr marL="1828754"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charset="0"/>
                <a:ea typeface="Arial" charset="0"/>
                <a:cs typeface="Arial" charset="0"/>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a:solidFill>
                <a:srgbClr val="000000"/>
              </a:solidFill>
            </a:endParaRPr>
          </a:p>
        </p:txBody>
      </p:sp>
      <p:sp>
        <p:nvSpPr>
          <p:cNvPr id="14" name="Text Placeholder 13">
            <a:extLst>
              <a:ext uri="{FF2B5EF4-FFF2-40B4-BE49-F238E27FC236}">
                <a16:creationId xmlns:a16="http://schemas.microsoft.com/office/drawing/2014/main" id="{F7C4B312-D0C1-2A4B-BC5A-3FCFB3A1CC21}"/>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sp>
        <p:nvSpPr>
          <p:cNvPr id="18" name="Text Placeholder 17">
            <a:extLst>
              <a:ext uri="{FF2B5EF4-FFF2-40B4-BE49-F238E27FC236}">
                <a16:creationId xmlns:a16="http://schemas.microsoft.com/office/drawing/2014/main" id="{FB08434F-D71C-2B4F-99AE-EA6706E1B6B1}"/>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22" name="Text Placeholder 15">
            <a:extLst>
              <a:ext uri="{FF2B5EF4-FFF2-40B4-BE49-F238E27FC236}">
                <a16:creationId xmlns:a16="http://schemas.microsoft.com/office/drawing/2014/main" id="{3EE99D1F-3AFC-B649-9FB5-477FF69699EE}"/>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pic>
        <p:nvPicPr>
          <p:cNvPr id="8" name="Picture 7">
            <a:extLst>
              <a:ext uri="{FF2B5EF4-FFF2-40B4-BE49-F238E27FC236}">
                <a16:creationId xmlns:a16="http://schemas.microsoft.com/office/drawing/2014/main" id="{FFB454A8-248D-0947-9C79-0456FFBAC7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09360" y="457200"/>
            <a:ext cx="723900" cy="635000"/>
          </a:xfrm>
          <a:prstGeom prst="rect">
            <a:avLst/>
          </a:prstGeom>
        </p:spPr>
      </p:pic>
      <p:grpSp>
        <p:nvGrpSpPr>
          <p:cNvPr id="4" name="Group 3"/>
          <p:cNvGrpSpPr/>
          <p:nvPr userDrawn="1"/>
        </p:nvGrpSpPr>
        <p:grpSpPr>
          <a:xfrm>
            <a:off x="0" y="-1"/>
            <a:ext cx="7192537" cy="6861773"/>
            <a:chOff x="0" y="-1"/>
            <a:chExt cx="7192537" cy="6861773"/>
          </a:xfrm>
        </p:grpSpPr>
        <p:sp>
          <p:nvSpPr>
            <p:cNvPr id="2" name="Rectangle 1"/>
            <p:cNvSpPr/>
            <p:nvPr userDrawn="1"/>
          </p:nvSpPr>
          <p:spPr>
            <a:xfrm>
              <a:off x="6188927" y="278780"/>
              <a:ext cx="1003610" cy="8920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a:solidFill>
                  <a:srgbClr val="FFFFFF"/>
                </a:solidFill>
              </a:endParaRPr>
            </a:p>
          </p:txBody>
        </p:sp>
        <p:pic>
          <p:nvPicPr>
            <p:cNvPr id="13" name="Picture Placeholder 6"/>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0" y="-1"/>
              <a:ext cx="6081485" cy="6861773"/>
            </a:xfrm>
            <a:prstGeom prst="rect">
              <a:avLst/>
            </a:prstGeom>
          </p:spPr>
        </p:pic>
      </p:grpSp>
    </p:spTree>
    <p:extLst>
      <p:ext uri="{BB962C8B-B14F-4D97-AF65-F5344CB8AC3E}">
        <p14:creationId xmlns:p14="http://schemas.microsoft.com/office/powerpoint/2010/main" val="140291409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_flex_blue ">
    <p:spTree>
      <p:nvGrpSpPr>
        <p:cNvPr id="1" name=""/>
        <p:cNvGrpSpPr/>
        <p:nvPr/>
      </p:nvGrpSpPr>
      <p:grpSpPr>
        <a:xfrm>
          <a:off x="0" y="0"/>
          <a:ext cx="0" cy="0"/>
          <a:chOff x="0" y="0"/>
          <a:chExt cx="0" cy="0"/>
        </a:xfrm>
      </p:grpSpPr>
      <p:sp>
        <p:nvSpPr>
          <p:cNvPr id="3" name="Round Single Corner Rectangle 2">
            <a:extLst>
              <a:ext uri="{FF2B5EF4-FFF2-40B4-BE49-F238E27FC236}">
                <a16:creationId xmlns:a16="http://schemas.microsoft.com/office/drawing/2014/main" id="{077B400E-D4A9-95D6-78AF-CE23695E51A3}"/>
              </a:ext>
            </a:extLst>
          </p:cNvPr>
          <p:cNvSpPr/>
          <p:nvPr userDrawn="1"/>
        </p:nvSpPr>
        <p:spPr>
          <a:xfrm>
            <a:off x="0" y="2121744"/>
            <a:ext cx="11704320" cy="4217670"/>
          </a:xfrm>
          <a:prstGeom prst="round1Rect">
            <a:avLst>
              <a:gd name="adj" fmla="val 1437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79120" y="2617554"/>
            <a:ext cx="8192921" cy="1325563"/>
          </a:xfrm>
          <a:prstGeom prst="rect">
            <a:avLst/>
          </a:prstGeom>
        </p:spPr>
        <p:txBody>
          <a:bodyPr anchor="b">
            <a:normAutofit/>
          </a:bodyPr>
          <a:lstStyle>
            <a:lvl1pPr>
              <a:lnSpc>
                <a:spcPct val="80000"/>
              </a:lnSpc>
              <a:defRPr sz="3400">
                <a:solidFill>
                  <a:schemeClr val="tx1"/>
                </a:solidFill>
                <a:latin typeface="Aptos" panose="020B0004020202020204" pitchFamily="34" charset="0"/>
              </a:defRPr>
            </a:lvl1pPr>
          </a:lstStyle>
          <a:p>
            <a:r>
              <a:rPr lang="en-US"/>
              <a:t>Section title</a:t>
            </a:r>
          </a:p>
        </p:txBody>
      </p:sp>
      <p:sp>
        <p:nvSpPr>
          <p:cNvPr id="14" name="Text Placeholder 13">
            <a:extLst>
              <a:ext uri="{FF2B5EF4-FFF2-40B4-BE49-F238E27FC236}">
                <a16:creationId xmlns:a16="http://schemas.microsoft.com/office/drawing/2014/main" id="{862A837B-3EE9-9BC5-8EE4-29A295B9E74E}"/>
              </a:ext>
            </a:extLst>
          </p:cNvPr>
          <p:cNvSpPr>
            <a:spLocks noGrp="1"/>
          </p:cNvSpPr>
          <p:nvPr>
            <p:ph type="body" sz="quarter" idx="16" hasCustomPrompt="1"/>
          </p:nvPr>
        </p:nvSpPr>
        <p:spPr>
          <a:xfrm>
            <a:off x="579120" y="4230579"/>
            <a:ext cx="3438725" cy="396285"/>
          </a:xfrm>
          <a:prstGeom prst="rect">
            <a:avLst/>
          </a:prstGeom>
        </p:spPr>
        <p:txBody>
          <a:bodyPr anchor="t"/>
          <a:lstStyle>
            <a:lvl1pPr marL="0" indent="0">
              <a:lnSpc>
                <a:spcPts val="2400"/>
              </a:lnSpc>
              <a:buNone/>
              <a:defRPr sz="1800" b="1">
                <a:latin typeface="Aptos" panose="020B0004020202020204" pitchFamily="34" charset="0"/>
              </a:defRPr>
            </a:lvl1pPr>
          </a:lstStyle>
          <a:p>
            <a:pPr>
              <a:lnSpc>
                <a:spcPct val="100000"/>
              </a:lnSpc>
            </a:pPr>
            <a:r>
              <a:rPr lang="en-US" sz="2000" b="0"/>
              <a:t>Insert text</a:t>
            </a:r>
          </a:p>
        </p:txBody>
      </p:sp>
      <p:sp>
        <p:nvSpPr>
          <p:cNvPr id="6" name="Text Placeholder 13">
            <a:extLst>
              <a:ext uri="{FF2B5EF4-FFF2-40B4-BE49-F238E27FC236}">
                <a16:creationId xmlns:a16="http://schemas.microsoft.com/office/drawing/2014/main" id="{56528EBD-FD04-8E11-E1DA-8D39BC7FD78C}"/>
              </a:ext>
            </a:extLst>
          </p:cNvPr>
          <p:cNvSpPr>
            <a:spLocks noGrp="1"/>
          </p:cNvSpPr>
          <p:nvPr>
            <p:ph type="body" sz="quarter" idx="17" hasCustomPrompt="1"/>
          </p:nvPr>
        </p:nvSpPr>
        <p:spPr>
          <a:xfrm>
            <a:off x="4265134" y="4230579"/>
            <a:ext cx="3438725" cy="396285"/>
          </a:xfrm>
          <a:prstGeom prst="rect">
            <a:avLst/>
          </a:prstGeom>
        </p:spPr>
        <p:txBody>
          <a:bodyPr anchor="t"/>
          <a:lstStyle>
            <a:lvl1pPr marL="0" indent="0">
              <a:lnSpc>
                <a:spcPts val="2400"/>
              </a:lnSpc>
              <a:buNone/>
              <a:defRPr sz="1800" b="1">
                <a:latin typeface="Aptos" panose="020B0004020202020204" pitchFamily="34" charset="0"/>
              </a:defRPr>
            </a:lvl1pPr>
          </a:lstStyle>
          <a:p>
            <a:pPr>
              <a:lnSpc>
                <a:spcPct val="100000"/>
              </a:lnSpc>
            </a:pPr>
            <a:r>
              <a:rPr lang="en-US" sz="2000" b="0"/>
              <a:t>Insert text</a:t>
            </a:r>
          </a:p>
        </p:txBody>
      </p:sp>
      <p:sp>
        <p:nvSpPr>
          <p:cNvPr id="5" name="Text Placeholder 4">
            <a:extLst>
              <a:ext uri="{FF2B5EF4-FFF2-40B4-BE49-F238E27FC236}">
                <a16:creationId xmlns:a16="http://schemas.microsoft.com/office/drawing/2014/main" id="{53D1278E-64B1-0209-FB40-5B22FD4C56DC}"/>
              </a:ext>
            </a:extLst>
          </p:cNvPr>
          <p:cNvSpPr>
            <a:spLocks noGrp="1"/>
          </p:cNvSpPr>
          <p:nvPr>
            <p:ph type="body" sz="quarter" idx="18" hasCustomPrompt="1"/>
          </p:nvPr>
        </p:nvSpPr>
        <p:spPr>
          <a:xfrm>
            <a:off x="571500" y="4754564"/>
            <a:ext cx="3446463" cy="1223328"/>
          </a:xfrm>
          <a:prstGeom prst="rect">
            <a:avLst/>
          </a:prstGeom>
        </p:spPr>
        <p:txBody>
          <a:bodyPr>
            <a:normAutofit/>
          </a:bodyPr>
          <a:lstStyle>
            <a:lvl1pPr marL="0" indent="0">
              <a:buNone/>
              <a:defRPr sz="1200"/>
            </a:lvl1pPr>
          </a:lstStyle>
          <a:p>
            <a:pPr lvl="0"/>
            <a:r>
              <a:rPr lang="en-US"/>
              <a:t>Body text</a:t>
            </a:r>
          </a:p>
        </p:txBody>
      </p:sp>
      <p:sp>
        <p:nvSpPr>
          <p:cNvPr id="7" name="Text Placeholder 4">
            <a:extLst>
              <a:ext uri="{FF2B5EF4-FFF2-40B4-BE49-F238E27FC236}">
                <a16:creationId xmlns:a16="http://schemas.microsoft.com/office/drawing/2014/main" id="{6945DE25-F12E-8634-06C5-CD9A22DD7C4F}"/>
              </a:ext>
            </a:extLst>
          </p:cNvPr>
          <p:cNvSpPr>
            <a:spLocks noGrp="1"/>
          </p:cNvSpPr>
          <p:nvPr>
            <p:ph type="body" sz="quarter" idx="19" hasCustomPrompt="1"/>
          </p:nvPr>
        </p:nvSpPr>
        <p:spPr>
          <a:xfrm>
            <a:off x="4265134" y="4754563"/>
            <a:ext cx="3446463" cy="1223328"/>
          </a:xfrm>
          <a:prstGeom prst="rect">
            <a:avLst/>
          </a:prstGeom>
        </p:spPr>
        <p:txBody>
          <a:bodyPr>
            <a:normAutofit/>
          </a:bodyPr>
          <a:lstStyle>
            <a:lvl1pPr marL="0" indent="0">
              <a:buNone/>
              <a:defRPr sz="1200"/>
            </a:lvl1pPr>
          </a:lstStyle>
          <a:p>
            <a:pPr lvl="0"/>
            <a:r>
              <a:rPr lang="en-US"/>
              <a:t>Body text</a:t>
            </a:r>
          </a:p>
        </p:txBody>
      </p:sp>
      <p:grpSp>
        <p:nvGrpSpPr>
          <p:cNvPr id="10" name="Group 9">
            <a:extLst>
              <a:ext uri="{FF2B5EF4-FFF2-40B4-BE49-F238E27FC236}">
                <a16:creationId xmlns:a16="http://schemas.microsoft.com/office/drawing/2014/main" id="{8F5728D3-58A0-D1F2-671B-1F66A8784290}"/>
              </a:ext>
            </a:extLst>
          </p:cNvPr>
          <p:cNvGrpSpPr>
            <a:grpSpLocks noChangeAspect="1"/>
          </p:cNvGrpSpPr>
          <p:nvPr userDrawn="1"/>
        </p:nvGrpSpPr>
        <p:grpSpPr>
          <a:xfrm>
            <a:off x="10927257" y="6488501"/>
            <a:ext cx="720091" cy="109404"/>
            <a:chOff x="8670176" y="6598728"/>
            <a:chExt cx="724928" cy="110139"/>
          </a:xfrm>
        </p:grpSpPr>
        <p:sp>
          <p:nvSpPr>
            <p:cNvPr id="11" name="Freeform 10">
              <a:extLst>
                <a:ext uri="{FF2B5EF4-FFF2-40B4-BE49-F238E27FC236}">
                  <a16:creationId xmlns:a16="http://schemas.microsoft.com/office/drawing/2014/main" id="{16EFF3AA-372B-63FC-6986-1BD7FEC4A45A}"/>
                </a:ext>
              </a:extLst>
            </p:cNvPr>
            <p:cNvSpPr/>
            <p:nvPr/>
          </p:nvSpPr>
          <p:spPr>
            <a:xfrm>
              <a:off x="8774500" y="6630582"/>
              <a:ext cx="85113" cy="78163"/>
            </a:xfrm>
            <a:custGeom>
              <a:avLst/>
              <a:gdLst>
                <a:gd name="connsiteX0" fmla="*/ 41348 w 85113"/>
                <a:gd name="connsiteY0" fmla="*/ 60277 h 78163"/>
                <a:gd name="connsiteX1" fmla="*/ 29771 w 85113"/>
                <a:gd name="connsiteY1" fmla="*/ 44840 h 78163"/>
                <a:gd name="connsiteX2" fmla="*/ 29771 w 85113"/>
                <a:gd name="connsiteY2" fmla="*/ 123 h 78163"/>
                <a:gd name="connsiteX3" fmla="*/ 0 w 85113"/>
                <a:gd name="connsiteY3" fmla="*/ 123 h 78163"/>
                <a:gd name="connsiteX4" fmla="*/ 0 w 85113"/>
                <a:gd name="connsiteY4" fmla="*/ 50966 h 78163"/>
                <a:gd name="connsiteX5" fmla="*/ 29516 w 85113"/>
                <a:gd name="connsiteY5" fmla="*/ 78164 h 78163"/>
                <a:gd name="connsiteX6" fmla="*/ 54325 w 85113"/>
                <a:gd name="connsiteY6" fmla="*/ 67505 h 78163"/>
                <a:gd name="connsiteX7" fmla="*/ 54834 w 85113"/>
                <a:gd name="connsiteY7" fmla="*/ 75958 h 78163"/>
                <a:gd name="connsiteX8" fmla="*/ 85114 w 85113"/>
                <a:gd name="connsiteY8" fmla="*/ 75958 h 78163"/>
                <a:gd name="connsiteX9" fmla="*/ 84096 w 85113"/>
                <a:gd name="connsiteY9" fmla="*/ 56479 h 78163"/>
                <a:gd name="connsiteX10" fmla="*/ 84096 w 85113"/>
                <a:gd name="connsiteY10" fmla="*/ 0 h 78163"/>
                <a:gd name="connsiteX11" fmla="*/ 54325 w 85113"/>
                <a:gd name="connsiteY11" fmla="*/ 0 h 78163"/>
                <a:gd name="connsiteX12" fmla="*/ 54325 w 85113"/>
                <a:gd name="connsiteY12" fmla="*/ 43615 h 78163"/>
                <a:gd name="connsiteX13" fmla="*/ 41475 w 85113"/>
                <a:gd name="connsiteY13" fmla="*/ 60154 h 7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113" h="78163">
                  <a:moveTo>
                    <a:pt x="41348" y="60277"/>
                  </a:moveTo>
                  <a:cubicBezTo>
                    <a:pt x="32061" y="60277"/>
                    <a:pt x="30152" y="52313"/>
                    <a:pt x="29771" y="44840"/>
                  </a:cubicBezTo>
                  <a:lnTo>
                    <a:pt x="29771" y="123"/>
                  </a:lnTo>
                  <a:cubicBezTo>
                    <a:pt x="29771" y="123"/>
                    <a:pt x="0" y="123"/>
                    <a:pt x="0" y="123"/>
                  </a:cubicBezTo>
                  <a:lnTo>
                    <a:pt x="0" y="50966"/>
                  </a:lnTo>
                  <a:cubicBezTo>
                    <a:pt x="0" y="67627"/>
                    <a:pt x="12595" y="78164"/>
                    <a:pt x="29516" y="78164"/>
                  </a:cubicBezTo>
                  <a:cubicBezTo>
                    <a:pt x="39694" y="78164"/>
                    <a:pt x="47455" y="75101"/>
                    <a:pt x="54325" y="67505"/>
                  </a:cubicBezTo>
                  <a:lnTo>
                    <a:pt x="54834" y="75958"/>
                  </a:lnTo>
                  <a:lnTo>
                    <a:pt x="85114" y="75958"/>
                  </a:lnTo>
                  <a:cubicBezTo>
                    <a:pt x="84350" y="67750"/>
                    <a:pt x="84223" y="63217"/>
                    <a:pt x="84096" y="56479"/>
                  </a:cubicBezTo>
                  <a:lnTo>
                    <a:pt x="84096" y="0"/>
                  </a:lnTo>
                  <a:cubicBezTo>
                    <a:pt x="84096" y="0"/>
                    <a:pt x="54325" y="0"/>
                    <a:pt x="54325" y="0"/>
                  </a:cubicBezTo>
                  <a:lnTo>
                    <a:pt x="54325" y="43615"/>
                  </a:lnTo>
                  <a:cubicBezTo>
                    <a:pt x="54325" y="44595"/>
                    <a:pt x="56234" y="60154"/>
                    <a:pt x="41475" y="60154"/>
                  </a:cubicBezTo>
                </a:path>
              </a:pathLst>
            </a:custGeom>
            <a:solidFill>
              <a:srgbClr val="231F20"/>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AC036F7-A964-B025-01FF-983A55E78DDF}"/>
                </a:ext>
              </a:extLst>
            </p:cNvPr>
            <p:cNvSpPr/>
            <p:nvPr/>
          </p:nvSpPr>
          <p:spPr>
            <a:xfrm>
              <a:off x="8866866" y="6628620"/>
              <a:ext cx="139311" cy="78042"/>
            </a:xfrm>
            <a:custGeom>
              <a:avLst/>
              <a:gdLst>
                <a:gd name="connsiteX0" fmla="*/ 29389 w 139311"/>
                <a:gd name="connsiteY0" fmla="*/ 2084 h 78042"/>
                <a:gd name="connsiteX1" fmla="*/ 0 w 139311"/>
                <a:gd name="connsiteY1" fmla="*/ 2084 h 78042"/>
                <a:gd name="connsiteX2" fmla="*/ 1018 w 139311"/>
                <a:gd name="connsiteY2" fmla="*/ 21563 h 78042"/>
                <a:gd name="connsiteX3" fmla="*/ 1018 w 139311"/>
                <a:gd name="connsiteY3" fmla="*/ 78042 h 78042"/>
                <a:gd name="connsiteX4" fmla="*/ 30788 w 139311"/>
                <a:gd name="connsiteY4" fmla="*/ 78042 h 78042"/>
                <a:gd name="connsiteX5" fmla="*/ 30788 w 139311"/>
                <a:gd name="connsiteY5" fmla="*/ 34427 h 78042"/>
                <a:gd name="connsiteX6" fmla="*/ 43765 w 139311"/>
                <a:gd name="connsiteY6" fmla="*/ 17888 h 78042"/>
                <a:gd name="connsiteX7" fmla="*/ 55343 w 139311"/>
                <a:gd name="connsiteY7" fmla="*/ 33325 h 78042"/>
                <a:gd name="connsiteX8" fmla="*/ 55343 w 139311"/>
                <a:gd name="connsiteY8" fmla="*/ 78042 h 78042"/>
                <a:gd name="connsiteX9" fmla="*/ 85114 w 139311"/>
                <a:gd name="connsiteY9" fmla="*/ 78042 h 78042"/>
                <a:gd name="connsiteX10" fmla="*/ 85114 w 139311"/>
                <a:gd name="connsiteY10" fmla="*/ 34427 h 78042"/>
                <a:gd name="connsiteX11" fmla="*/ 97963 w 139311"/>
                <a:gd name="connsiteY11" fmla="*/ 18011 h 78042"/>
                <a:gd name="connsiteX12" fmla="*/ 109541 w 139311"/>
                <a:gd name="connsiteY12" fmla="*/ 33447 h 78042"/>
                <a:gd name="connsiteX13" fmla="*/ 109541 w 139311"/>
                <a:gd name="connsiteY13" fmla="*/ 78042 h 78042"/>
                <a:gd name="connsiteX14" fmla="*/ 139312 w 139311"/>
                <a:gd name="connsiteY14" fmla="*/ 78042 h 78042"/>
                <a:gd name="connsiteX15" fmla="*/ 139312 w 139311"/>
                <a:gd name="connsiteY15" fmla="*/ 27322 h 78042"/>
                <a:gd name="connsiteX16" fmla="*/ 109795 w 139311"/>
                <a:gd name="connsiteY16" fmla="*/ 1 h 78042"/>
                <a:gd name="connsiteX17" fmla="*/ 81679 w 139311"/>
                <a:gd name="connsiteY17" fmla="*/ 14580 h 78042"/>
                <a:gd name="connsiteX18" fmla="*/ 58015 w 139311"/>
                <a:gd name="connsiteY18" fmla="*/ 491 h 78042"/>
                <a:gd name="connsiteX19" fmla="*/ 30280 w 139311"/>
                <a:gd name="connsiteY19" fmla="*/ 14948 h 78042"/>
                <a:gd name="connsiteX20" fmla="*/ 30025 w 139311"/>
                <a:gd name="connsiteY20" fmla="*/ 14948 h 78042"/>
                <a:gd name="connsiteX21" fmla="*/ 29516 w 139311"/>
                <a:gd name="connsiteY21" fmla="*/ 2329 h 7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311" h="78042">
                  <a:moveTo>
                    <a:pt x="29389" y="2084"/>
                  </a:moveTo>
                  <a:lnTo>
                    <a:pt x="0" y="2084"/>
                  </a:lnTo>
                  <a:cubicBezTo>
                    <a:pt x="763" y="10292"/>
                    <a:pt x="1018" y="14825"/>
                    <a:pt x="1018" y="21563"/>
                  </a:cubicBezTo>
                  <a:lnTo>
                    <a:pt x="1018" y="78042"/>
                  </a:lnTo>
                  <a:cubicBezTo>
                    <a:pt x="1018" y="78042"/>
                    <a:pt x="30788" y="78042"/>
                    <a:pt x="30788" y="78042"/>
                  </a:cubicBezTo>
                  <a:lnTo>
                    <a:pt x="30788" y="34427"/>
                  </a:lnTo>
                  <a:cubicBezTo>
                    <a:pt x="30788" y="33570"/>
                    <a:pt x="28880" y="17888"/>
                    <a:pt x="43765" y="17888"/>
                  </a:cubicBezTo>
                  <a:cubicBezTo>
                    <a:pt x="53053" y="17888"/>
                    <a:pt x="54961" y="25851"/>
                    <a:pt x="55343" y="33325"/>
                  </a:cubicBezTo>
                  <a:lnTo>
                    <a:pt x="55343" y="78042"/>
                  </a:lnTo>
                  <a:cubicBezTo>
                    <a:pt x="55343" y="78042"/>
                    <a:pt x="85114" y="78042"/>
                    <a:pt x="85114" y="78042"/>
                  </a:cubicBezTo>
                  <a:lnTo>
                    <a:pt x="85114" y="34427"/>
                  </a:lnTo>
                  <a:cubicBezTo>
                    <a:pt x="85114" y="33570"/>
                    <a:pt x="83205" y="18011"/>
                    <a:pt x="97963" y="18011"/>
                  </a:cubicBezTo>
                  <a:cubicBezTo>
                    <a:pt x="107251" y="18011"/>
                    <a:pt x="109159" y="25974"/>
                    <a:pt x="109541" y="33447"/>
                  </a:cubicBezTo>
                  <a:lnTo>
                    <a:pt x="109541" y="78042"/>
                  </a:lnTo>
                  <a:cubicBezTo>
                    <a:pt x="109541" y="78042"/>
                    <a:pt x="139312" y="78042"/>
                    <a:pt x="139312" y="78042"/>
                  </a:cubicBezTo>
                  <a:lnTo>
                    <a:pt x="139312" y="27322"/>
                  </a:lnTo>
                  <a:cubicBezTo>
                    <a:pt x="139312" y="10537"/>
                    <a:pt x="126716" y="-121"/>
                    <a:pt x="109795" y="1"/>
                  </a:cubicBezTo>
                  <a:cubicBezTo>
                    <a:pt x="97963" y="369"/>
                    <a:pt x="87022" y="5514"/>
                    <a:pt x="81679" y="14580"/>
                  </a:cubicBezTo>
                  <a:cubicBezTo>
                    <a:pt x="78371" y="5392"/>
                    <a:pt x="67557" y="491"/>
                    <a:pt x="58015" y="491"/>
                  </a:cubicBezTo>
                  <a:cubicBezTo>
                    <a:pt x="46183" y="491"/>
                    <a:pt x="35750" y="4412"/>
                    <a:pt x="30280" y="14948"/>
                  </a:cubicBezTo>
                  <a:lnTo>
                    <a:pt x="30025" y="14948"/>
                  </a:lnTo>
                  <a:lnTo>
                    <a:pt x="29516" y="2329"/>
                  </a:lnTo>
                  <a:close/>
                </a:path>
              </a:pathLst>
            </a:custGeom>
            <a:solidFill>
              <a:srgbClr val="231F20"/>
            </a:solidFill>
            <a:ln w="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DD055D0C-809A-8555-44B4-C65E2F6A17BC}"/>
                </a:ext>
              </a:extLst>
            </p:cNvPr>
            <p:cNvSpPr/>
            <p:nvPr/>
          </p:nvSpPr>
          <p:spPr>
            <a:xfrm>
              <a:off x="8670176" y="6598728"/>
              <a:ext cx="96691" cy="107934"/>
            </a:xfrm>
            <a:custGeom>
              <a:avLst/>
              <a:gdLst>
                <a:gd name="connsiteX0" fmla="*/ 60686 w 96691"/>
                <a:gd name="connsiteY0" fmla="*/ 30751 h 107934"/>
                <a:gd name="connsiteX1" fmla="*/ 96691 w 96691"/>
                <a:gd name="connsiteY1" fmla="*/ 30751 h 107934"/>
                <a:gd name="connsiteX2" fmla="*/ 96691 w 96691"/>
                <a:gd name="connsiteY2" fmla="*/ 0 h 107934"/>
                <a:gd name="connsiteX3" fmla="*/ 56106 w 96691"/>
                <a:gd name="connsiteY3" fmla="*/ 0 h 107934"/>
                <a:gd name="connsiteX4" fmla="*/ 0 w 96691"/>
                <a:gd name="connsiteY4" fmla="*/ 53906 h 107934"/>
                <a:gd name="connsiteX5" fmla="*/ 55979 w 96691"/>
                <a:gd name="connsiteY5" fmla="*/ 107935 h 107934"/>
                <a:gd name="connsiteX6" fmla="*/ 96691 w 96691"/>
                <a:gd name="connsiteY6" fmla="*/ 107935 h 107934"/>
                <a:gd name="connsiteX7" fmla="*/ 96691 w 96691"/>
                <a:gd name="connsiteY7" fmla="*/ 77184 h 107934"/>
                <a:gd name="connsiteX8" fmla="*/ 60432 w 96691"/>
                <a:gd name="connsiteY8" fmla="*/ 77184 h 107934"/>
                <a:gd name="connsiteX9" fmla="*/ 36386 w 96691"/>
                <a:gd name="connsiteY9" fmla="*/ 53906 h 107934"/>
                <a:gd name="connsiteX10" fmla="*/ 60559 w 96691"/>
                <a:gd name="connsiteY10" fmla="*/ 30751 h 10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691" h="107934">
                  <a:moveTo>
                    <a:pt x="60686" y="30751"/>
                  </a:moveTo>
                  <a:lnTo>
                    <a:pt x="96691" y="30751"/>
                  </a:lnTo>
                  <a:cubicBezTo>
                    <a:pt x="96691" y="30751"/>
                    <a:pt x="96691" y="0"/>
                    <a:pt x="96691" y="0"/>
                  </a:cubicBezTo>
                  <a:lnTo>
                    <a:pt x="56106" y="0"/>
                  </a:lnTo>
                  <a:cubicBezTo>
                    <a:pt x="25191" y="-122"/>
                    <a:pt x="0" y="24013"/>
                    <a:pt x="0" y="53906"/>
                  </a:cubicBezTo>
                  <a:cubicBezTo>
                    <a:pt x="0" y="83677"/>
                    <a:pt x="24936" y="107812"/>
                    <a:pt x="55979" y="107935"/>
                  </a:cubicBezTo>
                  <a:lnTo>
                    <a:pt x="96691" y="107935"/>
                  </a:lnTo>
                  <a:cubicBezTo>
                    <a:pt x="96691" y="107935"/>
                    <a:pt x="96691" y="77184"/>
                    <a:pt x="96691" y="77184"/>
                  </a:cubicBezTo>
                  <a:lnTo>
                    <a:pt x="60432" y="77184"/>
                  </a:lnTo>
                  <a:cubicBezTo>
                    <a:pt x="47073" y="77184"/>
                    <a:pt x="36386" y="66770"/>
                    <a:pt x="36386" y="53906"/>
                  </a:cubicBezTo>
                  <a:cubicBezTo>
                    <a:pt x="36386" y="41042"/>
                    <a:pt x="47201" y="30751"/>
                    <a:pt x="60559" y="30751"/>
                  </a:cubicBezTo>
                </a:path>
              </a:pathLst>
            </a:custGeom>
            <a:solidFill>
              <a:srgbClr val="231F20"/>
            </a:solidFill>
            <a:ln w="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2945128-F929-59CC-115C-36580AE13FB6}"/>
                </a:ext>
              </a:extLst>
            </p:cNvPr>
            <p:cNvSpPr/>
            <p:nvPr/>
          </p:nvSpPr>
          <p:spPr>
            <a:xfrm>
              <a:off x="9016228" y="6628499"/>
              <a:ext cx="139184" cy="78040"/>
            </a:xfrm>
            <a:custGeom>
              <a:avLst/>
              <a:gdLst>
                <a:gd name="connsiteX0" fmla="*/ 29389 w 139184"/>
                <a:gd name="connsiteY0" fmla="*/ 2083 h 78040"/>
                <a:gd name="connsiteX1" fmla="*/ 0 w 139184"/>
                <a:gd name="connsiteY1" fmla="*/ 2083 h 78040"/>
                <a:gd name="connsiteX2" fmla="*/ 1018 w 139184"/>
                <a:gd name="connsiteY2" fmla="*/ 21562 h 78040"/>
                <a:gd name="connsiteX3" fmla="*/ 1018 w 139184"/>
                <a:gd name="connsiteY3" fmla="*/ 78041 h 78040"/>
                <a:gd name="connsiteX4" fmla="*/ 30789 w 139184"/>
                <a:gd name="connsiteY4" fmla="*/ 78041 h 78040"/>
                <a:gd name="connsiteX5" fmla="*/ 30789 w 139184"/>
                <a:gd name="connsiteY5" fmla="*/ 34426 h 78040"/>
                <a:gd name="connsiteX6" fmla="*/ 43638 w 139184"/>
                <a:gd name="connsiteY6" fmla="*/ 17887 h 78040"/>
                <a:gd name="connsiteX7" fmla="*/ 55216 w 139184"/>
                <a:gd name="connsiteY7" fmla="*/ 33324 h 78040"/>
                <a:gd name="connsiteX8" fmla="*/ 55216 w 139184"/>
                <a:gd name="connsiteY8" fmla="*/ 78041 h 78040"/>
                <a:gd name="connsiteX9" fmla="*/ 84986 w 139184"/>
                <a:gd name="connsiteY9" fmla="*/ 78041 h 78040"/>
                <a:gd name="connsiteX10" fmla="*/ 84986 w 139184"/>
                <a:gd name="connsiteY10" fmla="*/ 34426 h 78040"/>
                <a:gd name="connsiteX11" fmla="*/ 97836 w 139184"/>
                <a:gd name="connsiteY11" fmla="*/ 18009 h 78040"/>
                <a:gd name="connsiteX12" fmla="*/ 109414 w 139184"/>
                <a:gd name="connsiteY12" fmla="*/ 33446 h 78040"/>
                <a:gd name="connsiteX13" fmla="*/ 109414 w 139184"/>
                <a:gd name="connsiteY13" fmla="*/ 78041 h 78040"/>
                <a:gd name="connsiteX14" fmla="*/ 139184 w 139184"/>
                <a:gd name="connsiteY14" fmla="*/ 78041 h 78040"/>
                <a:gd name="connsiteX15" fmla="*/ 139184 w 139184"/>
                <a:gd name="connsiteY15" fmla="*/ 27320 h 78040"/>
                <a:gd name="connsiteX16" fmla="*/ 109668 w 139184"/>
                <a:gd name="connsiteY16" fmla="*/ 0 h 78040"/>
                <a:gd name="connsiteX17" fmla="*/ 81551 w 139184"/>
                <a:gd name="connsiteY17" fmla="*/ 14579 h 78040"/>
                <a:gd name="connsiteX18" fmla="*/ 57887 w 139184"/>
                <a:gd name="connsiteY18" fmla="*/ 490 h 78040"/>
                <a:gd name="connsiteX19" fmla="*/ 30152 w 139184"/>
                <a:gd name="connsiteY19" fmla="*/ 14824 h 78040"/>
                <a:gd name="connsiteX20" fmla="*/ 29898 w 139184"/>
                <a:gd name="connsiteY20" fmla="*/ 14824 h 78040"/>
                <a:gd name="connsiteX21" fmla="*/ 29389 w 139184"/>
                <a:gd name="connsiteY21" fmla="*/ 2205 h 7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184" h="78040">
                  <a:moveTo>
                    <a:pt x="29389" y="2083"/>
                  </a:moveTo>
                  <a:lnTo>
                    <a:pt x="0" y="2083"/>
                  </a:lnTo>
                  <a:cubicBezTo>
                    <a:pt x="763" y="10291"/>
                    <a:pt x="891" y="14824"/>
                    <a:pt x="1018" y="21562"/>
                  </a:cubicBezTo>
                  <a:lnTo>
                    <a:pt x="1018" y="78041"/>
                  </a:lnTo>
                  <a:cubicBezTo>
                    <a:pt x="1018" y="78041"/>
                    <a:pt x="30789" y="78041"/>
                    <a:pt x="30789" y="78041"/>
                  </a:cubicBezTo>
                  <a:lnTo>
                    <a:pt x="30789" y="34426"/>
                  </a:lnTo>
                  <a:cubicBezTo>
                    <a:pt x="30789" y="33569"/>
                    <a:pt x="28880" y="17887"/>
                    <a:pt x="43638" y="17887"/>
                  </a:cubicBezTo>
                  <a:cubicBezTo>
                    <a:pt x="52926" y="17887"/>
                    <a:pt x="54834" y="25850"/>
                    <a:pt x="55216" y="33324"/>
                  </a:cubicBezTo>
                  <a:lnTo>
                    <a:pt x="55216" y="78041"/>
                  </a:lnTo>
                  <a:cubicBezTo>
                    <a:pt x="55216" y="78041"/>
                    <a:pt x="84986" y="78041"/>
                    <a:pt x="84986" y="78041"/>
                  </a:cubicBezTo>
                  <a:lnTo>
                    <a:pt x="84986" y="34426"/>
                  </a:lnTo>
                  <a:cubicBezTo>
                    <a:pt x="84986" y="33569"/>
                    <a:pt x="83078" y="18009"/>
                    <a:pt x="97836" y="18009"/>
                  </a:cubicBezTo>
                  <a:cubicBezTo>
                    <a:pt x="107124" y="18009"/>
                    <a:pt x="109032" y="25973"/>
                    <a:pt x="109414" y="33446"/>
                  </a:cubicBezTo>
                  <a:lnTo>
                    <a:pt x="109414" y="78041"/>
                  </a:lnTo>
                  <a:cubicBezTo>
                    <a:pt x="109414" y="78041"/>
                    <a:pt x="139184" y="78041"/>
                    <a:pt x="139184" y="78041"/>
                  </a:cubicBezTo>
                  <a:lnTo>
                    <a:pt x="139184" y="27320"/>
                  </a:lnTo>
                  <a:cubicBezTo>
                    <a:pt x="139184" y="10536"/>
                    <a:pt x="126589" y="0"/>
                    <a:pt x="109668" y="0"/>
                  </a:cubicBezTo>
                  <a:cubicBezTo>
                    <a:pt x="97836" y="368"/>
                    <a:pt x="86895" y="5513"/>
                    <a:pt x="81551" y="14579"/>
                  </a:cubicBezTo>
                  <a:cubicBezTo>
                    <a:pt x="78243" y="5391"/>
                    <a:pt x="67429" y="490"/>
                    <a:pt x="57887" y="490"/>
                  </a:cubicBezTo>
                  <a:cubicBezTo>
                    <a:pt x="46056" y="490"/>
                    <a:pt x="35623" y="4410"/>
                    <a:pt x="30152" y="14824"/>
                  </a:cubicBezTo>
                  <a:lnTo>
                    <a:pt x="29898" y="14824"/>
                  </a:lnTo>
                  <a:lnTo>
                    <a:pt x="29389" y="2205"/>
                  </a:lnTo>
                  <a:close/>
                </a:path>
              </a:pathLst>
            </a:custGeom>
            <a:solidFill>
              <a:srgbClr val="231F20"/>
            </a:solidFill>
            <a:ln w="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1F53842C-36FD-C355-3000-C3ADC91CE456}"/>
                </a:ext>
              </a:extLst>
            </p:cNvPr>
            <p:cNvSpPr/>
            <p:nvPr/>
          </p:nvSpPr>
          <p:spPr>
            <a:xfrm>
              <a:off x="9164700" y="6599096"/>
              <a:ext cx="30025" cy="20214"/>
            </a:xfrm>
            <a:custGeom>
              <a:avLst/>
              <a:gdLst>
                <a:gd name="connsiteX0" fmla="*/ 0 w 30025"/>
                <a:gd name="connsiteY0" fmla="*/ 0 h 20214"/>
                <a:gd name="connsiteX1" fmla="*/ 30025 w 30025"/>
                <a:gd name="connsiteY1" fmla="*/ 0 h 20214"/>
                <a:gd name="connsiteX2" fmla="*/ 30025 w 30025"/>
                <a:gd name="connsiteY2" fmla="*/ 20215 h 20214"/>
                <a:gd name="connsiteX3" fmla="*/ 0 w 30025"/>
                <a:gd name="connsiteY3" fmla="*/ 20215 h 20214"/>
              </a:gdLst>
              <a:ahLst/>
              <a:cxnLst>
                <a:cxn ang="0">
                  <a:pos x="connsiteX0" y="connsiteY0"/>
                </a:cxn>
                <a:cxn ang="0">
                  <a:pos x="connsiteX1" y="connsiteY1"/>
                </a:cxn>
                <a:cxn ang="0">
                  <a:pos x="connsiteX2" y="connsiteY2"/>
                </a:cxn>
                <a:cxn ang="0">
                  <a:pos x="connsiteX3" y="connsiteY3"/>
                </a:cxn>
              </a:cxnLst>
              <a:rect l="l" t="t" r="r" b="b"/>
              <a:pathLst>
                <a:path w="30025" h="20214">
                  <a:moveTo>
                    <a:pt x="0" y="0"/>
                  </a:moveTo>
                  <a:lnTo>
                    <a:pt x="30025" y="0"/>
                  </a:lnTo>
                  <a:lnTo>
                    <a:pt x="30025" y="20215"/>
                  </a:lnTo>
                  <a:lnTo>
                    <a:pt x="0" y="20215"/>
                  </a:lnTo>
                  <a:close/>
                </a:path>
              </a:pathLst>
            </a:custGeom>
            <a:solidFill>
              <a:srgbClr val="231F20"/>
            </a:solidFill>
            <a:ln w="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4A4B07-AC4C-81DF-2E59-89575B3FB3E2}"/>
                </a:ext>
              </a:extLst>
            </p:cNvPr>
            <p:cNvSpPr/>
            <p:nvPr/>
          </p:nvSpPr>
          <p:spPr>
            <a:xfrm>
              <a:off x="9203249" y="6628375"/>
              <a:ext cx="85113" cy="78287"/>
            </a:xfrm>
            <a:custGeom>
              <a:avLst/>
              <a:gdLst>
                <a:gd name="connsiteX0" fmla="*/ 43765 w 85113"/>
                <a:gd name="connsiteY0" fmla="*/ 17888 h 78287"/>
                <a:gd name="connsiteX1" fmla="*/ 55343 w 85113"/>
                <a:gd name="connsiteY1" fmla="*/ 33325 h 78287"/>
                <a:gd name="connsiteX2" fmla="*/ 55343 w 85113"/>
                <a:gd name="connsiteY2" fmla="*/ 78042 h 78287"/>
                <a:gd name="connsiteX3" fmla="*/ 85114 w 85113"/>
                <a:gd name="connsiteY3" fmla="*/ 78042 h 78287"/>
                <a:gd name="connsiteX4" fmla="*/ 85114 w 85113"/>
                <a:gd name="connsiteY4" fmla="*/ 27199 h 78287"/>
                <a:gd name="connsiteX5" fmla="*/ 55597 w 85113"/>
                <a:gd name="connsiteY5" fmla="*/ 1 h 78287"/>
                <a:gd name="connsiteX6" fmla="*/ 30788 w 85113"/>
                <a:gd name="connsiteY6" fmla="*/ 10660 h 78287"/>
                <a:gd name="connsiteX7" fmla="*/ 30280 w 85113"/>
                <a:gd name="connsiteY7" fmla="*/ 2329 h 78287"/>
                <a:gd name="connsiteX8" fmla="*/ 0 w 85113"/>
                <a:gd name="connsiteY8" fmla="*/ 2329 h 78287"/>
                <a:gd name="connsiteX9" fmla="*/ 1018 w 85113"/>
                <a:gd name="connsiteY9" fmla="*/ 21808 h 78287"/>
                <a:gd name="connsiteX10" fmla="*/ 1018 w 85113"/>
                <a:gd name="connsiteY10" fmla="*/ 78287 h 78287"/>
                <a:gd name="connsiteX11" fmla="*/ 30788 w 85113"/>
                <a:gd name="connsiteY11" fmla="*/ 78287 h 78287"/>
                <a:gd name="connsiteX12" fmla="*/ 30788 w 85113"/>
                <a:gd name="connsiteY12" fmla="*/ 34672 h 78287"/>
                <a:gd name="connsiteX13" fmla="*/ 43638 w 85113"/>
                <a:gd name="connsiteY13" fmla="*/ 18133 h 7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113" h="78287">
                  <a:moveTo>
                    <a:pt x="43765" y="17888"/>
                  </a:moveTo>
                  <a:cubicBezTo>
                    <a:pt x="53053" y="17888"/>
                    <a:pt x="54961" y="25974"/>
                    <a:pt x="55343" y="33325"/>
                  </a:cubicBezTo>
                  <a:lnTo>
                    <a:pt x="55343" y="78042"/>
                  </a:lnTo>
                  <a:cubicBezTo>
                    <a:pt x="55343" y="78042"/>
                    <a:pt x="85114" y="78042"/>
                    <a:pt x="85114" y="78042"/>
                  </a:cubicBezTo>
                  <a:lnTo>
                    <a:pt x="85114" y="27199"/>
                  </a:lnTo>
                  <a:cubicBezTo>
                    <a:pt x="85114" y="10537"/>
                    <a:pt x="72518" y="-121"/>
                    <a:pt x="55597" y="1"/>
                  </a:cubicBezTo>
                  <a:cubicBezTo>
                    <a:pt x="45547" y="1"/>
                    <a:pt x="37659" y="3064"/>
                    <a:pt x="30788" y="10660"/>
                  </a:cubicBezTo>
                  <a:lnTo>
                    <a:pt x="30280" y="2329"/>
                  </a:lnTo>
                  <a:lnTo>
                    <a:pt x="0" y="2329"/>
                  </a:lnTo>
                  <a:cubicBezTo>
                    <a:pt x="763" y="10537"/>
                    <a:pt x="1018" y="15070"/>
                    <a:pt x="1018" y="21808"/>
                  </a:cubicBezTo>
                  <a:lnTo>
                    <a:pt x="1018" y="78287"/>
                  </a:lnTo>
                  <a:cubicBezTo>
                    <a:pt x="1018" y="78287"/>
                    <a:pt x="30788" y="78287"/>
                    <a:pt x="30788" y="78287"/>
                  </a:cubicBezTo>
                  <a:lnTo>
                    <a:pt x="30788" y="34672"/>
                  </a:lnTo>
                  <a:cubicBezTo>
                    <a:pt x="30788" y="33815"/>
                    <a:pt x="28880" y="18133"/>
                    <a:pt x="43638" y="18133"/>
                  </a:cubicBezTo>
                </a:path>
              </a:pathLst>
            </a:custGeom>
            <a:solidFill>
              <a:srgbClr val="231F20"/>
            </a:solidFill>
            <a:ln w="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33423434-57E5-BEAC-450F-F0E2702B91F3}"/>
                </a:ext>
              </a:extLst>
            </p:cNvPr>
            <p:cNvSpPr/>
            <p:nvPr/>
          </p:nvSpPr>
          <p:spPr>
            <a:xfrm>
              <a:off x="9164954" y="6630459"/>
              <a:ext cx="29770" cy="75958"/>
            </a:xfrm>
            <a:custGeom>
              <a:avLst/>
              <a:gdLst>
                <a:gd name="connsiteX0" fmla="*/ 0 w 29770"/>
                <a:gd name="connsiteY0" fmla="*/ 0 h 75958"/>
                <a:gd name="connsiteX1" fmla="*/ 29771 w 29770"/>
                <a:gd name="connsiteY1" fmla="*/ 0 h 75958"/>
                <a:gd name="connsiteX2" fmla="*/ 29771 w 29770"/>
                <a:gd name="connsiteY2" fmla="*/ 75958 h 75958"/>
                <a:gd name="connsiteX3" fmla="*/ 0 w 29770"/>
                <a:gd name="connsiteY3" fmla="*/ 75958 h 75958"/>
              </a:gdLst>
              <a:ahLst/>
              <a:cxnLst>
                <a:cxn ang="0">
                  <a:pos x="connsiteX0" y="connsiteY0"/>
                </a:cxn>
                <a:cxn ang="0">
                  <a:pos x="connsiteX1" y="connsiteY1"/>
                </a:cxn>
                <a:cxn ang="0">
                  <a:pos x="connsiteX2" y="connsiteY2"/>
                </a:cxn>
                <a:cxn ang="0">
                  <a:pos x="connsiteX3" y="connsiteY3"/>
                </a:cxn>
              </a:cxnLst>
              <a:rect l="l" t="t" r="r" b="b"/>
              <a:pathLst>
                <a:path w="29770" h="75958">
                  <a:moveTo>
                    <a:pt x="0" y="0"/>
                  </a:moveTo>
                  <a:lnTo>
                    <a:pt x="29771" y="0"/>
                  </a:lnTo>
                  <a:lnTo>
                    <a:pt x="29771" y="75958"/>
                  </a:lnTo>
                  <a:lnTo>
                    <a:pt x="0" y="75958"/>
                  </a:lnTo>
                  <a:close/>
                </a:path>
              </a:pathLst>
            </a:custGeom>
            <a:solidFill>
              <a:srgbClr val="231F20"/>
            </a:solidFill>
            <a:ln w="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3D8333B-A6A1-B1EA-1FBE-881967D00A13}"/>
                </a:ext>
              </a:extLst>
            </p:cNvPr>
            <p:cNvSpPr/>
            <p:nvPr/>
          </p:nvSpPr>
          <p:spPr>
            <a:xfrm>
              <a:off x="9294087" y="6628866"/>
              <a:ext cx="74554" cy="79511"/>
            </a:xfrm>
            <a:custGeom>
              <a:avLst/>
              <a:gdLst>
                <a:gd name="connsiteX0" fmla="*/ 45547 w 74554"/>
                <a:gd name="connsiteY0" fmla="*/ 25360 h 79511"/>
                <a:gd name="connsiteX1" fmla="*/ 43639 w 74554"/>
                <a:gd name="connsiteY1" fmla="*/ 19112 h 79511"/>
                <a:gd name="connsiteX2" fmla="*/ 35624 w 74554"/>
                <a:gd name="connsiteY2" fmla="*/ 16417 h 79511"/>
                <a:gd name="connsiteX3" fmla="*/ 28626 w 74554"/>
                <a:gd name="connsiteY3" fmla="*/ 23155 h 79511"/>
                <a:gd name="connsiteX4" fmla="*/ 58906 w 74554"/>
                <a:gd name="connsiteY4" fmla="*/ 33936 h 79511"/>
                <a:gd name="connsiteX5" fmla="*/ 74555 w 74554"/>
                <a:gd name="connsiteY5" fmla="*/ 54518 h 79511"/>
                <a:gd name="connsiteX6" fmla="*/ 37405 w 74554"/>
                <a:gd name="connsiteY6" fmla="*/ 79511 h 79511"/>
                <a:gd name="connsiteX7" fmla="*/ 1 w 74554"/>
                <a:gd name="connsiteY7" fmla="*/ 52926 h 79511"/>
                <a:gd name="connsiteX8" fmla="*/ 27863 w 74554"/>
                <a:gd name="connsiteY8" fmla="*/ 52926 h 79511"/>
                <a:gd name="connsiteX9" fmla="*/ 29899 w 74554"/>
                <a:gd name="connsiteY9" fmla="*/ 59664 h 79511"/>
                <a:gd name="connsiteX10" fmla="*/ 36896 w 74554"/>
                <a:gd name="connsiteY10" fmla="*/ 63094 h 79511"/>
                <a:gd name="connsiteX11" fmla="*/ 46820 w 74554"/>
                <a:gd name="connsiteY11" fmla="*/ 56234 h 79511"/>
                <a:gd name="connsiteX12" fmla="*/ 891 w 74554"/>
                <a:gd name="connsiteY12" fmla="*/ 23645 h 79511"/>
                <a:gd name="connsiteX13" fmla="*/ 36769 w 74554"/>
                <a:gd name="connsiteY13" fmla="*/ 0 h 79511"/>
                <a:gd name="connsiteX14" fmla="*/ 73410 w 74554"/>
                <a:gd name="connsiteY14" fmla="*/ 25360 h 79511"/>
                <a:gd name="connsiteX15" fmla="*/ 45547 w 74554"/>
                <a:gd name="connsiteY15" fmla="*/ 25360 h 7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54" h="79511">
                  <a:moveTo>
                    <a:pt x="45547" y="25360"/>
                  </a:moveTo>
                  <a:cubicBezTo>
                    <a:pt x="45547" y="22787"/>
                    <a:pt x="45038" y="20582"/>
                    <a:pt x="43639" y="19112"/>
                  </a:cubicBezTo>
                  <a:cubicBezTo>
                    <a:pt x="42112" y="17519"/>
                    <a:pt x="39568" y="16417"/>
                    <a:pt x="35624" y="16417"/>
                  </a:cubicBezTo>
                  <a:cubicBezTo>
                    <a:pt x="31298" y="16417"/>
                    <a:pt x="28626" y="18745"/>
                    <a:pt x="28626" y="23155"/>
                  </a:cubicBezTo>
                  <a:cubicBezTo>
                    <a:pt x="28626" y="28668"/>
                    <a:pt x="40585" y="28423"/>
                    <a:pt x="58906" y="33936"/>
                  </a:cubicBezTo>
                  <a:cubicBezTo>
                    <a:pt x="68193" y="36754"/>
                    <a:pt x="74555" y="42267"/>
                    <a:pt x="74555" y="54518"/>
                  </a:cubicBezTo>
                  <a:cubicBezTo>
                    <a:pt x="74555" y="74366"/>
                    <a:pt x="55216" y="79511"/>
                    <a:pt x="37405" y="79511"/>
                  </a:cubicBezTo>
                  <a:cubicBezTo>
                    <a:pt x="18448" y="79511"/>
                    <a:pt x="-127" y="75836"/>
                    <a:pt x="1" y="52926"/>
                  </a:cubicBezTo>
                  <a:lnTo>
                    <a:pt x="27863" y="52926"/>
                  </a:lnTo>
                  <a:cubicBezTo>
                    <a:pt x="27354" y="55131"/>
                    <a:pt x="28245" y="57704"/>
                    <a:pt x="29899" y="59664"/>
                  </a:cubicBezTo>
                  <a:cubicBezTo>
                    <a:pt x="31553" y="61624"/>
                    <a:pt x="34097" y="63094"/>
                    <a:pt x="36896" y="63094"/>
                  </a:cubicBezTo>
                  <a:cubicBezTo>
                    <a:pt x="42621" y="63094"/>
                    <a:pt x="46820" y="61012"/>
                    <a:pt x="46820" y="56234"/>
                  </a:cubicBezTo>
                  <a:cubicBezTo>
                    <a:pt x="46820" y="42880"/>
                    <a:pt x="891" y="50843"/>
                    <a:pt x="891" y="23645"/>
                  </a:cubicBezTo>
                  <a:cubicBezTo>
                    <a:pt x="891" y="5146"/>
                    <a:pt x="21247" y="0"/>
                    <a:pt x="36769" y="0"/>
                  </a:cubicBezTo>
                  <a:cubicBezTo>
                    <a:pt x="55216" y="0"/>
                    <a:pt x="72137" y="4656"/>
                    <a:pt x="73410" y="25360"/>
                  </a:cubicBezTo>
                  <a:lnTo>
                    <a:pt x="45547" y="25360"/>
                  </a:lnTo>
                  <a:close/>
                </a:path>
              </a:pathLst>
            </a:custGeom>
            <a:solidFill>
              <a:srgbClr val="231F20"/>
            </a:solidFill>
            <a:ln w="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2686021-26A3-9DF2-954C-1C412D1C6B2C}"/>
                </a:ext>
              </a:extLst>
            </p:cNvPr>
            <p:cNvSpPr/>
            <p:nvPr/>
          </p:nvSpPr>
          <p:spPr>
            <a:xfrm>
              <a:off x="9372204" y="6686938"/>
              <a:ext cx="22900" cy="21929"/>
            </a:xfrm>
            <a:custGeom>
              <a:avLst/>
              <a:gdLst>
                <a:gd name="connsiteX0" fmla="*/ 9033 w 22900"/>
                <a:gd name="connsiteY0" fmla="*/ 10414 h 21929"/>
                <a:gd name="connsiteX1" fmla="*/ 9033 w 22900"/>
                <a:gd name="connsiteY1" fmla="*/ 6003 h 21929"/>
                <a:gd name="connsiteX2" fmla="*/ 11959 w 22900"/>
                <a:gd name="connsiteY2" fmla="*/ 6003 h 21929"/>
                <a:gd name="connsiteX3" fmla="*/ 15013 w 22900"/>
                <a:gd name="connsiteY3" fmla="*/ 8208 h 21929"/>
                <a:gd name="connsiteX4" fmla="*/ 11069 w 22900"/>
                <a:gd name="connsiteY4" fmla="*/ 10414 h 21929"/>
                <a:gd name="connsiteX5" fmla="*/ 8906 w 22900"/>
                <a:gd name="connsiteY5" fmla="*/ 10414 h 21929"/>
                <a:gd name="connsiteX6" fmla="*/ 9033 w 22900"/>
                <a:gd name="connsiteY6" fmla="*/ 11639 h 21929"/>
                <a:gd name="connsiteX7" fmla="*/ 11705 w 22900"/>
                <a:gd name="connsiteY7" fmla="*/ 11639 h 21929"/>
                <a:gd name="connsiteX8" fmla="*/ 15394 w 22900"/>
                <a:gd name="connsiteY8" fmla="*/ 17274 h 21929"/>
                <a:gd name="connsiteX9" fmla="*/ 17303 w 22900"/>
                <a:gd name="connsiteY9" fmla="*/ 17274 h 21929"/>
                <a:gd name="connsiteX10" fmla="*/ 13359 w 22900"/>
                <a:gd name="connsiteY10" fmla="*/ 11639 h 21929"/>
                <a:gd name="connsiteX11" fmla="*/ 16667 w 22900"/>
                <a:gd name="connsiteY11" fmla="*/ 8086 h 21929"/>
                <a:gd name="connsiteX12" fmla="*/ 12341 w 22900"/>
                <a:gd name="connsiteY12" fmla="*/ 4533 h 21929"/>
                <a:gd name="connsiteX13" fmla="*/ 7252 w 22900"/>
                <a:gd name="connsiteY13" fmla="*/ 4533 h 21929"/>
                <a:gd name="connsiteX14" fmla="*/ 7252 w 22900"/>
                <a:gd name="connsiteY14" fmla="*/ 17274 h 21929"/>
                <a:gd name="connsiteX15" fmla="*/ 8906 w 22900"/>
                <a:gd name="connsiteY15" fmla="*/ 17274 h 21929"/>
                <a:gd name="connsiteX16" fmla="*/ 8906 w 22900"/>
                <a:gd name="connsiteY16" fmla="*/ 11639 h 21929"/>
                <a:gd name="connsiteX17" fmla="*/ 11450 w 22900"/>
                <a:gd name="connsiteY17" fmla="*/ 1593 h 21929"/>
                <a:gd name="connsiteX18" fmla="*/ 20992 w 22900"/>
                <a:gd name="connsiteY18" fmla="*/ 11026 h 21929"/>
                <a:gd name="connsiteX19" fmla="*/ 11450 w 22900"/>
                <a:gd name="connsiteY19" fmla="*/ 20460 h 21929"/>
                <a:gd name="connsiteX20" fmla="*/ 1781 w 22900"/>
                <a:gd name="connsiteY20" fmla="*/ 11026 h 21929"/>
                <a:gd name="connsiteX21" fmla="*/ 11450 w 22900"/>
                <a:gd name="connsiteY21" fmla="*/ 1593 h 21929"/>
                <a:gd name="connsiteX22" fmla="*/ 11450 w 22900"/>
                <a:gd name="connsiteY22" fmla="*/ 0 h 21929"/>
                <a:gd name="connsiteX23" fmla="*/ 0 w 22900"/>
                <a:gd name="connsiteY23" fmla="*/ 10904 h 21929"/>
                <a:gd name="connsiteX24" fmla="*/ 11450 w 22900"/>
                <a:gd name="connsiteY24" fmla="*/ 21930 h 21929"/>
                <a:gd name="connsiteX25" fmla="*/ 22901 w 22900"/>
                <a:gd name="connsiteY25" fmla="*/ 10904 h 21929"/>
                <a:gd name="connsiteX26" fmla="*/ 11450 w 22900"/>
                <a:gd name="connsiteY26" fmla="*/ 0 h 2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900" h="21929">
                  <a:moveTo>
                    <a:pt x="9033" y="10414"/>
                  </a:moveTo>
                  <a:lnTo>
                    <a:pt x="9033" y="6003"/>
                  </a:lnTo>
                  <a:lnTo>
                    <a:pt x="11959" y="6003"/>
                  </a:lnTo>
                  <a:cubicBezTo>
                    <a:pt x="13486" y="6003"/>
                    <a:pt x="15013" y="6371"/>
                    <a:pt x="15013" y="8208"/>
                  </a:cubicBezTo>
                  <a:cubicBezTo>
                    <a:pt x="15013" y="10414"/>
                    <a:pt x="13104" y="10414"/>
                    <a:pt x="11069" y="10414"/>
                  </a:cubicBezTo>
                  <a:lnTo>
                    <a:pt x="8906" y="10414"/>
                  </a:lnTo>
                  <a:close/>
                  <a:moveTo>
                    <a:pt x="9033" y="11639"/>
                  </a:moveTo>
                  <a:lnTo>
                    <a:pt x="11705" y="11639"/>
                  </a:lnTo>
                  <a:lnTo>
                    <a:pt x="15394" y="17274"/>
                  </a:lnTo>
                  <a:lnTo>
                    <a:pt x="17303" y="17274"/>
                  </a:lnTo>
                  <a:lnTo>
                    <a:pt x="13359" y="11639"/>
                  </a:lnTo>
                  <a:cubicBezTo>
                    <a:pt x="15140" y="11394"/>
                    <a:pt x="16667" y="10291"/>
                    <a:pt x="16667" y="8086"/>
                  </a:cubicBezTo>
                  <a:cubicBezTo>
                    <a:pt x="16667" y="5881"/>
                    <a:pt x="15394" y="4533"/>
                    <a:pt x="12341" y="4533"/>
                  </a:cubicBezTo>
                  <a:lnTo>
                    <a:pt x="7252" y="4533"/>
                  </a:lnTo>
                  <a:lnTo>
                    <a:pt x="7252" y="17274"/>
                  </a:lnTo>
                  <a:lnTo>
                    <a:pt x="8906" y="17274"/>
                  </a:lnTo>
                  <a:lnTo>
                    <a:pt x="8906" y="11639"/>
                  </a:lnTo>
                  <a:close/>
                  <a:moveTo>
                    <a:pt x="11450" y="1593"/>
                  </a:moveTo>
                  <a:cubicBezTo>
                    <a:pt x="16921" y="1593"/>
                    <a:pt x="20992" y="5758"/>
                    <a:pt x="20992" y="11026"/>
                  </a:cubicBezTo>
                  <a:cubicBezTo>
                    <a:pt x="20992" y="16294"/>
                    <a:pt x="16921" y="20460"/>
                    <a:pt x="11450" y="20460"/>
                  </a:cubicBezTo>
                  <a:cubicBezTo>
                    <a:pt x="5980" y="20460"/>
                    <a:pt x="1781" y="16294"/>
                    <a:pt x="1781" y="11026"/>
                  </a:cubicBezTo>
                  <a:cubicBezTo>
                    <a:pt x="1781" y="5758"/>
                    <a:pt x="5852" y="1593"/>
                    <a:pt x="11450" y="1593"/>
                  </a:cubicBezTo>
                  <a:moveTo>
                    <a:pt x="11450" y="0"/>
                  </a:moveTo>
                  <a:cubicBezTo>
                    <a:pt x="5089" y="0"/>
                    <a:pt x="0" y="4778"/>
                    <a:pt x="0" y="10904"/>
                  </a:cubicBezTo>
                  <a:cubicBezTo>
                    <a:pt x="0" y="17029"/>
                    <a:pt x="4962" y="21930"/>
                    <a:pt x="11450" y="21930"/>
                  </a:cubicBezTo>
                  <a:cubicBezTo>
                    <a:pt x="17939" y="21930"/>
                    <a:pt x="22901" y="17152"/>
                    <a:pt x="22901" y="10904"/>
                  </a:cubicBezTo>
                  <a:cubicBezTo>
                    <a:pt x="22901" y="4656"/>
                    <a:pt x="17939" y="0"/>
                    <a:pt x="11450" y="0"/>
                  </a:cubicBezTo>
                </a:path>
              </a:pathLst>
            </a:custGeom>
            <a:solidFill>
              <a:srgbClr val="231F20"/>
            </a:solidFill>
            <a:ln w="0" cap="flat">
              <a:noFill/>
              <a:prstDash val="solid"/>
              <a:miter/>
            </a:ln>
          </p:spPr>
          <p:txBody>
            <a:bodyPr rtlCol="0" anchor="ctr"/>
            <a:lstStyle/>
            <a:p>
              <a:endParaRPr lang="en-US"/>
            </a:p>
          </p:txBody>
        </p:sp>
      </p:grpSp>
      <p:sp>
        <p:nvSpPr>
          <p:cNvPr id="22" name="Round Same Side Corner Rectangle 21">
            <a:extLst>
              <a:ext uri="{FF2B5EF4-FFF2-40B4-BE49-F238E27FC236}">
                <a16:creationId xmlns:a16="http://schemas.microsoft.com/office/drawing/2014/main" id="{B551C6D6-3F32-7332-4FE8-86106933F0DE}"/>
              </a:ext>
            </a:extLst>
          </p:cNvPr>
          <p:cNvSpPr/>
          <p:nvPr userDrawn="1"/>
        </p:nvSpPr>
        <p:spPr>
          <a:xfrm rot="5400000">
            <a:off x="-10274" y="3429000"/>
            <a:ext cx="395856" cy="395856"/>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1">
            <a:extLst>
              <a:ext uri="{FF2B5EF4-FFF2-40B4-BE49-F238E27FC236}">
                <a16:creationId xmlns:a16="http://schemas.microsoft.com/office/drawing/2014/main" id="{06CD2C1A-F44D-ADF4-5E11-54B8B0F0FB8C}"/>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17206687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image_right">
    <p:spTree>
      <p:nvGrpSpPr>
        <p:cNvPr id="1" name=""/>
        <p:cNvGrpSpPr/>
        <p:nvPr/>
      </p:nvGrpSpPr>
      <p:grpSpPr>
        <a:xfrm>
          <a:off x="0" y="0"/>
          <a:ext cx="0" cy="0"/>
          <a:chOff x="0" y="0"/>
          <a:chExt cx="0" cy="0"/>
        </a:xfrm>
      </p:grpSpPr>
      <p:sp>
        <p:nvSpPr>
          <p:cNvPr id="2" name="Content Placeholder 10">
            <a:extLst>
              <a:ext uri="{FF2B5EF4-FFF2-40B4-BE49-F238E27FC236}">
                <a16:creationId xmlns:a16="http://schemas.microsoft.com/office/drawing/2014/main" id="{553DB87E-F1FB-0CC8-07F6-3A3BD95FA898}"/>
              </a:ext>
            </a:extLst>
          </p:cNvPr>
          <p:cNvSpPr>
            <a:spLocks noGrp="1"/>
          </p:cNvSpPr>
          <p:nvPr>
            <p:ph sz="quarter" idx="11" hasCustomPrompt="1"/>
          </p:nvPr>
        </p:nvSpPr>
        <p:spPr>
          <a:xfrm>
            <a:off x="585788" y="1623317"/>
            <a:ext cx="7740825" cy="4548883"/>
          </a:xfrm>
          <a:prstGeom prst="rect">
            <a:avLst/>
          </a:prstGeom>
        </p:spPr>
        <p:txBody>
          <a:bodyPr/>
          <a:lstStyle>
            <a:lvl1pPr marL="0" indent="0">
              <a:buFont typeface="Wingdings" pitchFamily="2" charset="2"/>
              <a:buNone/>
              <a:defRPr sz="1800">
                <a:latin typeface="Aptos" panose="020B0004020202020204" pitchFamily="34" charset="0"/>
              </a:defRPr>
            </a:lvl1pPr>
            <a:lvl2pPr marL="685800" indent="-228600">
              <a:buFont typeface="Wingdings" pitchFamily="2" charset="2"/>
              <a:buChar char="§"/>
              <a:defRPr sz="1800">
                <a:latin typeface="Aptos" panose="020B0004020202020204" pitchFamily="34" charset="0"/>
              </a:defRPr>
            </a:lvl2pPr>
            <a:lvl3pPr marL="1143000" indent="-228600">
              <a:buFont typeface="Wingdings" pitchFamily="2" charset="2"/>
              <a:buChar char="§"/>
              <a:defRPr sz="1800">
                <a:latin typeface="Aptos" panose="020B0004020202020204" pitchFamily="34" charset="0"/>
              </a:defRPr>
            </a:lvl3pPr>
            <a:lvl4pPr>
              <a:defRPr sz="1800">
                <a:latin typeface="Aptos" panose="020B0004020202020204" pitchFamily="34" charset="0"/>
              </a:defRPr>
            </a:lvl4pPr>
            <a:lvl5pPr marL="2057400" indent="-228600">
              <a:buFont typeface="Arial" panose="020B0604020202020204" pitchFamily="34" charset="0"/>
              <a:buChar char="•"/>
              <a:defRPr sz="1800">
                <a:latin typeface="Aptos" panose="020B0004020202020204" pitchFamily="34" charset="0"/>
              </a:defRPr>
            </a:lvl5pPr>
          </a:lstStyle>
          <a:p>
            <a:pPr lvl="0"/>
            <a:r>
              <a:rPr lang="en-US"/>
              <a:t>Text</a:t>
            </a:r>
          </a:p>
        </p:txBody>
      </p:sp>
      <p:sp>
        <p:nvSpPr>
          <p:cNvPr id="12" name="Picture Placeholder 10">
            <a:extLst>
              <a:ext uri="{FF2B5EF4-FFF2-40B4-BE49-F238E27FC236}">
                <a16:creationId xmlns:a16="http://schemas.microsoft.com/office/drawing/2014/main" id="{5AB0538C-0EDE-7C86-8E5C-27D41540995D}"/>
              </a:ext>
            </a:extLst>
          </p:cNvPr>
          <p:cNvSpPr>
            <a:spLocks noGrp="1"/>
          </p:cNvSpPr>
          <p:nvPr>
            <p:ph type="pic" sz="quarter" idx="17"/>
          </p:nvPr>
        </p:nvSpPr>
        <p:spPr>
          <a:xfrm>
            <a:off x="8775420" y="-10330"/>
            <a:ext cx="3416579" cy="2584732"/>
          </a:xfrm>
          <a:custGeom>
            <a:avLst/>
            <a:gdLst>
              <a:gd name="connsiteX0" fmla="*/ 0 w 3416579"/>
              <a:gd name="connsiteY0" fmla="*/ 0 h 2682888"/>
              <a:gd name="connsiteX1" fmla="*/ 3416579 w 3416579"/>
              <a:gd name="connsiteY1" fmla="*/ 0 h 2682888"/>
              <a:gd name="connsiteX2" fmla="*/ 3416579 w 3416579"/>
              <a:gd name="connsiteY2" fmla="*/ 2682888 h 2682888"/>
              <a:gd name="connsiteX3" fmla="*/ 0 w 3416579"/>
              <a:gd name="connsiteY3" fmla="*/ 2682888 h 2682888"/>
              <a:gd name="connsiteX4" fmla="*/ 0 w 3416579"/>
              <a:gd name="connsiteY4" fmla="*/ 0 h 2682888"/>
              <a:gd name="connsiteX0" fmla="*/ 0 w 3421745"/>
              <a:gd name="connsiteY0" fmla="*/ 0 h 2682888"/>
              <a:gd name="connsiteX1" fmla="*/ 3421745 w 3421745"/>
              <a:gd name="connsiteY1" fmla="*/ 98156 h 2682888"/>
              <a:gd name="connsiteX2" fmla="*/ 3416579 w 3421745"/>
              <a:gd name="connsiteY2" fmla="*/ 2682888 h 2682888"/>
              <a:gd name="connsiteX3" fmla="*/ 0 w 3421745"/>
              <a:gd name="connsiteY3" fmla="*/ 2682888 h 2682888"/>
              <a:gd name="connsiteX4" fmla="*/ 0 w 3421745"/>
              <a:gd name="connsiteY4" fmla="*/ 0 h 2682888"/>
              <a:gd name="connsiteX0" fmla="*/ 0 w 3432077"/>
              <a:gd name="connsiteY0" fmla="*/ 5166 h 2584732"/>
              <a:gd name="connsiteX1" fmla="*/ 3432077 w 3432077"/>
              <a:gd name="connsiteY1" fmla="*/ 0 h 2584732"/>
              <a:gd name="connsiteX2" fmla="*/ 3426911 w 3432077"/>
              <a:gd name="connsiteY2" fmla="*/ 2584732 h 2584732"/>
              <a:gd name="connsiteX3" fmla="*/ 10332 w 3432077"/>
              <a:gd name="connsiteY3" fmla="*/ 2584732 h 2584732"/>
              <a:gd name="connsiteX4" fmla="*/ 0 w 3432077"/>
              <a:gd name="connsiteY4" fmla="*/ 5166 h 2584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077" h="2584732">
                <a:moveTo>
                  <a:pt x="0" y="5166"/>
                </a:moveTo>
                <a:lnTo>
                  <a:pt x="3432077" y="0"/>
                </a:lnTo>
                <a:lnTo>
                  <a:pt x="3426911" y="2584732"/>
                </a:lnTo>
                <a:lnTo>
                  <a:pt x="10332" y="2584732"/>
                </a:lnTo>
                <a:lnTo>
                  <a:pt x="0" y="5166"/>
                </a:lnTo>
                <a:close/>
              </a:path>
            </a:pathLst>
          </a:custGeom>
          <a:solidFill>
            <a:schemeClr val="bg1">
              <a:lumMod val="95000"/>
            </a:schemeClr>
          </a:solidFill>
        </p:spPr>
        <p:txBody>
          <a:bodyPr anchor="ctr">
            <a:normAutofit/>
          </a:bodyPr>
          <a:lstStyle>
            <a:lvl1pPr marL="0" indent="0" algn="ctr">
              <a:buNone/>
              <a:defRPr sz="1100"/>
            </a:lvl1pPr>
          </a:lstStyle>
          <a:p>
            <a:pPr marL="0" marR="0" lvl="0" indent="0" algn="ctr" defTabSz="914400" rtl="0" eaLnBrk="1" fontAlgn="auto" latinLnBrk="0" hangingPunct="1">
              <a:lnSpc>
                <a:spcPct val="90000"/>
              </a:lnSpc>
              <a:spcBef>
                <a:spcPts val="1000"/>
              </a:spcBef>
              <a:spcAft>
                <a:spcPts val="0"/>
              </a:spcAft>
              <a:buClrTx/>
              <a:buSzTx/>
              <a:buFont typeface="Wingdings" charset="2"/>
              <a:buNone/>
              <a:tabLst/>
              <a:defRPr/>
            </a:pPr>
            <a:r>
              <a:rPr lang="en-US"/>
              <a:t>Click icon to add picture</a:t>
            </a:r>
          </a:p>
        </p:txBody>
      </p:sp>
      <p:sp>
        <p:nvSpPr>
          <p:cNvPr id="6" name="Picture Placeholder 10">
            <a:extLst>
              <a:ext uri="{FF2B5EF4-FFF2-40B4-BE49-F238E27FC236}">
                <a16:creationId xmlns:a16="http://schemas.microsoft.com/office/drawing/2014/main" id="{5A94038F-7638-F024-A0A1-9514571F5DF1}"/>
              </a:ext>
            </a:extLst>
          </p:cNvPr>
          <p:cNvSpPr>
            <a:spLocks noGrp="1"/>
          </p:cNvSpPr>
          <p:nvPr>
            <p:ph type="pic" sz="quarter" idx="25"/>
          </p:nvPr>
        </p:nvSpPr>
        <p:spPr>
          <a:xfrm>
            <a:off x="8775420" y="2752635"/>
            <a:ext cx="3416579" cy="1607115"/>
          </a:xfrm>
          <a:prstGeom prst="rect">
            <a:avLst/>
          </a:prstGeom>
          <a:solidFill>
            <a:schemeClr val="bg1">
              <a:lumMod val="95000"/>
            </a:schemeClr>
          </a:solidFill>
        </p:spPr>
        <p:txBody>
          <a:bodyPr anchor="ctr">
            <a:normAutofit/>
          </a:bodyPr>
          <a:lstStyle>
            <a:lvl1pPr marL="0" indent="0" algn="ctr">
              <a:buNone/>
              <a:defRPr sz="1100"/>
            </a:lvl1pPr>
          </a:lstStyle>
          <a:p>
            <a:pPr marL="0" marR="0" lvl="0" indent="0" algn="ctr" defTabSz="914400" rtl="0" eaLnBrk="1" fontAlgn="auto" latinLnBrk="0" hangingPunct="1">
              <a:lnSpc>
                <a:spcPct val="90000"/>
              </a:lnSpc>
              <a:spcBef>
                <a:spcPts val="1000"/>
              </a:spcBef>
              <a:spcAft>
                <a:spcPts val="0"/>
              </a:spcAft>
              <a:buClrTx/>
              <a:buSzTx/>
              <a:buFont typeface="Wingdings" charset="2"/>
              <a:buNone/>
              <a:tabLst/>
              <a:defRPr/>
            </a:pPr>
            <a:r>
              <a:rPr lang="en-US"/>
              <a:t>Click icon to add picture</a:t>
            </a:r>
          </a:p>
        </p:txBody>
      </p:sp>
      <p:sp>
        <p:nvSpPr>
          <p:cNvPr id="11" name="Picture Placeholder 10">
            <a:extLst>
              <a:ext uri="{FF2B5EF4-FFF2-40B4-BE49-F238E27FC236}">
                <a16:creationId xmlns:a16="http://schemas.microsoft.com/office/drawing/2014/main" id="{4883F982-0FF3-60C6-341E-ED5A61587F3C}"/>
              </a:ext>
            </a:extLst>
          </p:cNvPr>
          <p:cNvSpPr>
            <a:spLocks noGrp="1"/>
          </p:cNvSpPr>
          <p:nvPr>
            <p:ph type="pic" sz="quarter" idx="28"/>
          </p:nvPr>
        </p:nvSpPr>
        <p:spPr>
          <a:xfrm>
            <a:off x="8775420" y="4529051"/>
            <a:ext cx="3410736" cy="1641888"/>
          </a:xfrm>
          <a:custGeom>
            <a:avLst/>
            <a:gdLst>
              <a:gd name="connsiteX0" fmla="*/ 0 w 3410736"/>
              <a:gd name="connsiteY0" fmla="*/ 0 h 1641888"/>
              <a:gd name="connsiteX1" fmla="*/ 3410736 w 3410736"/>
              <a:gd name="connsiteY1" fmla="*/ 0 h 1641888"/>
              <a:gd name="connsiteX2" fmla="*/ 3410736 w 3410736"/>
              <a:gd name="connsiteY2" fmla="*/ 1641888 h 1641888"/>
              <a:gd name="connsiteX3" fmla="*/ 341985 w 3410736"/>
              <a:gd name="connsiteY3" fmla="*/ 1641888 h 1641888"/>
              <a:gd name="connsiteX4" fmla="*/ 0 w 3410736"/>
              <a:gd name="connsiteY4" fmla="*/ 1301420 h 1641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0736" h="1641888">
                <a:moveTo>
                  <a:pt x="0" y="0"/>
                </a:moveTo>
                <a:lnTo>
                  <a:pt x="3410736" y="0"/>
                </a:lnTo>
                <a:lnTo>
                  <a:pt x="3410736" y="1641888"/>
                </a:lnTo>
                <a:lnTo>
                  <a:pt x="341985" y="1641888"/>
                </a:lnTo>
                <a:cubicBezTo>
                  <a:pt x="153260" y="1641888"/>
                  <a:pt x="0" y="1489308"/>
                  <a:pt x="0" y="1301420"/>
                </a:cubicBezTo>
                <a:close/>
              </a:path>
            </a:pathLst>
          </a:custGeom>
          <a:solidFill>
            <a:schemeClr val="bg1">
              <a:lumMod val="95000"/>
            </a:schemeClr>
          </a:solidFill>
        </p:spPr>
        <p:txBody>
          <a:bodyPr wrap="square" anchor="ctr">
            <a:noAutofit/>
          </a:bodyPr>
          <a:lstStyle>
            <a:lvl1pPr marL="0" indent="0" algn="ctr">
              <a:buFontTx/>
              <a:buNone/>
              <a:defRPr sz="1100"/>
            </a:lvl1pPr>
          </a:lstStyle>
          <a:p>
            <a:r>
              <a:rPr lang="en-US"/>
              <a:t>Click icon to add picture</a:t>
            </a:r>
          </a:p>
        </p:txBody>
      </p:sp>
      <p:sp>
        <p:nvSpPr>
          <p:cNvPr id="16" name="Text Placeholder 6">
            <a:extLst>
              <a:ext uri="{FF2B5EF4-FFF2-40B4-BE49-F238E27FC236}">
                <a16:creationId xmlns:a16="http://schemas.microsoft.com/office/drawing/2014/main" id="{F10203AF-AD53-7C0A-E2EA-0CEA33757E70}"/>
              </a:ext>
            </a:extLst>
          </p:cNvPr>
          <p:cNvSpPr>
            <a:spLocks noGrp="1"/>
          </p:cNvSpPr>
          <p:nvPr>
            <p:ph type="body" sz="quarter" idx="29" hasCustomPrompt="1"/>
          </p:nvPr>
        </p:nvSpPr>
        <p:spPr>
          <a:xfrm>
            <a:off x="585500" y="291579"/>
            <a:ext cx="7741113"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3" name="Text Placeholder 11">
            <a:extLst>
              <a:ext uri="{FF2B5EF4-FFF2-40B4-BE49-F238E27FC236}">
                <a16:creationId xmlns:a16="http://schemas.microsoft.com/office/drawing/2014/main" id="{4DF7D5EF-3276-B24F-A6FE-97157151006C}"/>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3544596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3-image_bottom">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9095CB9-EE0F-AF25-DD65-2785264C5E1D}"/>
              </a:ext>
            </a:extLst>
          </p:cNvPr>
          <p:cNvSpPr>
            <a:spLocks noGrp="1"/>
          </p:cNvSpPr>
          <p:nvPr>
            <p:ph type="pic" sz="quarter" idx="15"/>
          </p:nvPr>
        </p:nvSpPr>
        <p:spPr>
          <a:xfrm>
            <a:off x="579201" y="4354568"/>
            <a:ext cx="3528050" cy="1823352"/>
          </a:xfrm>
          <a:custGeom>
            <a:avLst/>
            <a:gdLst>
              <a:gd name="connsiteX0" fmla="*/ 340899 w 3528050"/>
              <a:gd name="connsiteY0" fmla="*/ 0 h 1823352"/>
              <a:gd name="connsiteX1" fmla="*/ 3528050 w 3528050"/>
              <a:gd name="connsiteY1" fmla="*/ 0 h 1823352"/>
              <a:gd name="connsiteX2" fmla="*/ 3528050 w 3528050"/>
              <a:gd name="connsiteY2" fmla="*/ 1823352 h 1823352"/>
              <a:gd name="connsiteX3" fmla="*/ 0 w 3528050"/>
              <a:gd name="connsiteY3" fmla="*/ 1823352 h 1823352"/>
              <a:gd name="connsiteX4" fmla="*/ 0 w 3528050"/>
              <a:gd name="connsiteY4" fmla="*/ 340554 h 1823352"/>
              <a:gd name="connsiteX5" fmla="*/ 340899 w 3528050"/>
              <a:gd name="connsiteY5" fmla="*/ 0 h 182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050" h="1823352">
                <a:moveTo>
                  <a:pt x="340899" y="0"/>
                </a:moveTo>
                <a:lnTo>
                  <a:pt x="3528050" y="0"/>
                </a:lnTo>
                <a:lnTo>
                  <a:pt x="3528050" y="1823352"/>
                </a:lnTo>
                <a:lnTo>
                  <a:pt x="0" y="1823352"/>
                </a:lnTo>
                <a:lnTo>
                  <a:pt x="0" y="340554"/>
                </a:lnTo>
                <a:cubicBezTo>
                  <a:pt x="0" y="152619"/>
                  <a:pt x="152773" y="0"/>
                  <a:pt x="340899" y="0"/>
                </a:cubicBezTo>
                <a:close/>
              </a:path>
            </a:pathLst>
          </a:custGeom>
          <a:solidFill>
            <a:schemeClr val="bg1">
              <a:lumMod val="95000"/>
            </a:schemeClr>
          </a:solidFill>
        </p:spPr>
        <p:txBody>
          <a:bodyPr wrap="square" anchor="ctr">
            <a:noAutofit/>
          </a:bodyPr>
          <a:lstStyle>
            <a:lvl1pPr marL="0" indent="0" algn="ctr">
              <a:buFontTx/>
              <a:buNone/>
              <a:defRPr sz="1100"/>
            </a:lvl1pPr>
          </a:lstStyle>
          <a:p>
            <a:r>
              <a:rPr lang="en-US"/>
              <a:t>Click icon to add picture</a:t>
            </a:r>
          </a:p>
        </p:txBody>
      </p:sp>
      <p:sp>
        <p:nvSpPr>
          <p:cNvPr id="16" name="Picture Placeholder 15">
            <a:extLst>
              <a:ext uri="{FF2B5EF4-FFF2-40B4-BE49-F238E27FC236}">
                <a16:creationId xmlns:a16="http://schemas.microsoft.com/office/drawing/2014/main" id="{054AEB59-1C60-8770-ECE7-DCADFDA5F9CA}"/>
              </a:ext>
            </a:extLst>
          </p:cNvPr>
          <p:cNvSpPr>
            <a:spLocks noGrp="1"/>
          </p:cNvSpPr>
          <p:nvPr>
            <p:ph type="pic" sz="quarter" idx="16"/>
          </p:nvPr>
        </p:nvSpPr>
        <p:spPr>
          <a:xfrm>
            <a:off x="4299518" y="4354513"/>
            <a:ext cx="3627279" cy="1817687"/>
          </a:xfrm>
          <a:prstGeom prst="rect">
            <a:avLst/>
          </a:prstGeom>
          <a:solidFill>
            <a:schemeClr val="bg1">
              <a:lumMod val="95000"/>
            </a:schemeClr>
          </a:solidFill>
        </p:spPr>
        <p:txBody>
          <a:bodyPr anchor="ctr"/>
          <a:lstStyle>
            <a:lvl1pPr marL="0" indent="0" algn="ctr">
              <a:buFontTx/>
              <a:buNone/>
              <a:defRPr sz="1100"/>
            </a:lvl1pPr>
          </a:lstStyle>
          <a:p>
            <a:r>
              <a:rPr lang="en-US"/>
              <a:t>Click icon to add picture</a:t>
            </a:r>
          </a:p>
        </p:txBody>
      </p:sp>
      <p:sp>
        <p:nvSpPr>
          <p:cNvPr id="24" name="Picture Placeholder 23">
            <a:extLst>
              <a:ext uri="{FF2B5EF4-FFF2-40B4-BE49-F238E27FC236}">
                <a16:creationId xmlns:a16="http://schemas.microsoft.com/office/drawing/2014/main" id="{FB25A819-26FD-F504-C0F6-25DFEFA8B04B}"/>
              </a:ext>
            </a:extLst>
          </p:cNvPr>
          <p:cNvSpPr>
            <a:spLocks noGrp="1"/>
          </p:cNvSpPr>
          <p:nvPr>
            <p:ph type="pic" sz="quarter" idx="17"/>
          </p:nvPr>
        </p:nvSpPr>
        <p:spPr>
          <a:xfrm>
            <a:off x="8102351" y="4358923"/>
            <a:ext cx="3509864" cy="1813953"/>
          </a:xfrm>
          <a:custGeom>
            <a:avLst/>
            <a:gdLst>
              <a:gd name="connsiteX0" fmla="*/ 0 w 3509864"/>
              <a:gd name="connsiteY0" fmla="*/ 0 h 1813953"/>
              <a:gd name="connsiteX1" fmla="*/ 3509864 w 3509864"/>
              <a:gd name="connsiteY1" fmla="*/ 0 h 1813953"/>
              <a:gd name="connsiteX2" fmla="*/ 3509864 w 3509864"/>
              <a:gd name="connsiteY2" fmla="*/ 1475154 h 1813953"/>
              <a:gd name="connsiteX3" fmla="*/ 3170722 w 3509864"/>
              <a:gd name="connsiteY3" fmla="*/ 1813953 h 1813953"/>
              <a:gd name="connsiteX4" fmla="*/ 0 w 3509864"/>
              <a:gd name="connsiteY4" fmla="*/ 1813953 h 1813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864" h="1813953">
                <a:moveTo>
                  <a:pt x="0" y="0"/>
                </a:moveTo>
                <a:lnTo>
                  <a:pt x="3509864" y="0"/>
                </a:lnTo>
                <a:lnTo>
                  <a:pt x="3509864" y="1475154"/>
                </a:lnTo>
                <a:cubicBezTo>
                  <a:pt x="3509864" y="1662121"/>
                  <a:pt x="3357878" y="1813953"/>
                  <a:pt x="3170722" y="1813953"/>
                </a:cubicBezTo>
                <a:lnTo>
                  <a:pt x="0" y="1813953"/>
                </a:lnTo>
                <a:close/>
              </a:path>
            </a:pathLst>
          </a:custGeom>
          <a:solidFill>
            <a:schemeClr val="bg1">
              <a:lumMod val="95000"/>
            </a:schemeClr>
          </a:solidFill>
        </p:spPr>
        <p:txBody>
          <a:bodyPr wrap="square" anchor="ctr">
            <a:noAutofit/>
          </a:bodyPr>
          <a:lstStyle>
            <a:lvl1pPr marL="0" indent="0" algn="ctr">
              <a:buFontTx/>
              <a:buNone/>
              <a:defRPr sz="1100"/>
            </a:lvl1pPr>
          </a:lstStyle>
          <a:p>
            <a:r>
              <a:rPr lang="en-US"/>
              <a:t>Click icon to add picture</a:t>
            </a:r>
          </a:p>
        </p:txBody>
      </p:sp>
      <p:sp>
        <p:nvSpPr>
          <p:cNvPr id="26" name="Text Placeholder 6">
            <a:extLst>
              <a:ext uri="{FF2B5EF4-FFF2-40B4-BE49-F238E27FC236}">
                <a16:creationId xmlns:a16="http://schemas.microsoft.com/office/drawing/2014/main" id="{509FE525-3132-95F3-5D1D-B42FE919D0F2}"/>
              </a:ext>
            </a:extLst>
          </p:cNvPr>
          <p:cNvSpPr>
            <a:spLocks noGrp="1"/>
          </p:cNvSpPr>
          <p:nvPr>
            <p:ph type="body" sz="quarter" idx="29" hasCustomPrompt="1"/>
          </p:nvPr>
        </p:nvSpPr>
        <p:spPr>
          <a:xfrm>
            <a:off x="585500" y="291579"/>
            <a:ext cx="11026427"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28" name="Content Placeholder 10">
            <a:extLst>
              <a:ext uri="{FF2B5EF4-FFF2-40B4-BE49-F238E27FC236}">
                <a16:creationId xmlns:a16="http://schemas.microsoft.com/office/drawing/2014/main" id="{DA513815-1905-26E5-86F8-FA0B71228180}"/>
              </a:ext>
            </a:extLst>
          </p:cNvPr>
          <p:cNvSpPr>
            <a:spLocks noGrp="1"/>
          </p:cNvSpPr>
          <p:nvPr>
            <p:ph sz="quarter" idx="11" hasCustomPrompt="1"/>
          </p:nvPr>
        </p:nvSpPr>
        <p:spPr>
          <a:xfrm>
            <a:off x="585788" y="1624282"/>
            <a:ext cx="11034712" cy="2568156"/>
          </a:xfrm>
          <a:prstGeom prst="rect">
            <a:avLst/>
          </a:prstGeom>
        </p:spPr>
        <p:txBody>
          <a:bodyPr numCol="2" spcCol="457200"/>
          <a:lstStyle>
            <a:lvl1pPr marL="0" indent="0">
              <a:buFont typeface="Wingdings" pitchFamily="2" charset="2"/>
              <a:buNone/>
              <a:defRPr sz="1800">
                <a:latin typeface="Aptos" panose="020B0004020202020204" pitchFamily="34" charset="0"/>
              </a:defRPr>
            </a:lvl1pPr>
            <a:lvl2pPr marL="685800" indent="-228600">
              <a:buFont typeface="Wingdings" pitchFamily="2" charset="2"/>
              <a:buChar char="§"/>
              <a:defRPr sz="1800">
                <a:latin typeface="Aptos" panose="020B0004020202020204" pitchFamily="34" charset="0"/>
              </a:defRPr>
            </a:lvl2pPr>
            <a:lvl3pPr marL="1143000" indent="-228600">
              <a:buFont typeface="Wingdings" pitchFamily="2" charset="2"/>
              <a:buChar char="§"/>
              <a:defRPr sz="1800">
                <a:latin typeface="Aptos" panose="020B0004020202020204" pitchFamily="34" charset="0"/>
              </a:defRPr>
            </a:lvl3pPr>
            <a:lvl4pPr>
              <a:defRPr sz="1800">
                <a:latin typeface="Aptos" panose="020B0004020202020204" pitchFamily="34" charset="0"/>
              </a:defRPr>
            </a:lvl4pPr>
            <a:lvl5pPr marL="2057400" indent="-228600">
              <a:buFont typeface="Arial" panose="020B0604020202020204" pitchFamily="34" charset="0"/>
              <a:buChar char="•"/>
              <a:defRPr sz="1800">
                <a:latin typeface="Aptos" panose="020B0004020202020204" pitchFamily="34" charset="0"/>
              </a:defRPr>
            </a:lvl5pPr>
          </a:lstStyle>
          <a:p>
            <a:pPr lvl="0"/>
            <a:r>
              <a:rPr lang="en-US"/>
              <a:t>Text</a:t>
            </a:r>
          </a:p>
        </p:txBody>
      </p:sp>
      <p:sp>
        <p:nvSpPr>
          <p:cNvPr id="2" name="Text Placeholder 11">
            <a:extLst>
              <a:ext uri="{FF2B5EF4-FFF2-40B4-BE49-F238E27FC236}">
                <a16:creationId xmlns:a16="http://schemas.microsoft.com/office/drawing/2014/main" id="{24F253DF-652A-9AE4-6243-562F04ED1F54}"/>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62403485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4-image_right">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FEE3EA51-A50E-7A77-F4D0-3ED4BB358AF0}"/>
              </a:ext>
            </a:extLst>
          </p:cNvPr>
          <p:cNvSpPr>
            <a:spLocks noGrp="1"/>
          </p:cNvSpPr>
          <p:nvPr>
            <p:ph type="pic" sz="quarter" idx="10"/>
          </p:nvPr>
        </p:nvSpPr>
        <p:spPr>
          <a:xfrm>
            <a:off x="6086455" y="654409"/>
            <a:ext cx="2680138" cy="2658187"/>
          </a:xfrm>
          <a:custGeom>
            <a:avLst/>
            <a:gdLst>
              <a:gd name="connsiteX0" fmla="*/ 341320 w 2730559"/>
              <a:gd name="connsiteY0" fmla="*/ 0 h 2730559"/>
              <a:gd name="connsiteX1" fmla="*/ 2730559 w 2730559"/>
              <a:gd name="connsiteY1" fmla="*/ 0 h 2730559"/>
              <a:gd name="connsiteX2" fmla="*/ 2730559 w 2730559"/>
              <a:gd name="connsiteY2" fmla="*/ 2730559 h 2730559"/>
              <a:gd name="connsiteX3" fmla="*/ 0 w 2730559"/>
              <a:gd name="connsiteY3" fmla="*/ 2730559 h 2730559"/>
              <a:gd name="connsiteX4" fmla="*/ 0 w 2730559"/>
              <a:gd name="connsiteY4" fmla="*/ 341320 h 2730559"/>
              <a:gd name="connsiteX5" fmla="*/ 341320 w 2730559"/>
              <a:gd name="connsiteY5" fmla="*/ 0 h 2730559"/>
              <a:gd name="connsiteX0" fmla="*/ 341320 w 2730559"/>
              <a:gd name="connsiteY0" fmla="*/ 0 h 2730559"/>
              <a:gd name="connsiteX1" fmla="*/ 2670234 w 2730559"/>
              <a:gd name="connsiteY1" fmla="*/ 0 h 2730559"/>
              <a:gd name="connsiteX2" fmla="*/ 2730559 w 2730559"/>
              <a:gd name="connsiteY2" fmla="*/ 2730559 h 2730559"/>
              <a:gd name="connsiteX3" fmla="*/ 0 w 2730559"/>
              <a:gd name="connsiteY3" fmla="*/ 2730559 h 2730559"/>
              <a:gd name="connsiteX4" fmla="*/ 0 w 2730559"/>
              <a:gd name="connsiteY4" fmla="*/ 341320 h 2730559"/>
              <a:gd name="connsiteX5" fmla="*/ 341320 w 2730559"/>
              <a:gd name="connsiteY5" fmla="*/ 0 h 2730559"/>
              <a:gd name="connsiteX0" fmla="*/ 341320 w 2670234"/>
              <a:gd name="connsiteY0" fmla="*/ 0 h 2730559"/>
              <a:gd name="connsiteX1" fmla="*/ 2670234 w 2670234"/>
              <a:gd name="connsiteY1" fmla="*/ 0 h 2730559"/>
              <a:gd name="connsiteX2" fmla="*/ 2670234 w 2670234"/>
              <a:gd name="connsiteY2" fmla="*/ 2730559 h 2730559"/>
              <a:gd name="connsiteX3" fmla="*/ 0 w 2670234"/>
              <a:gd name="connsiteY3" fmla="*/ 2730559 h 2730559"/>
              <a:gd name="connsiteX4" fmla="*/ 0 w 2670234"/>
              <a:gd name="connsiteY4" fmla="*/ 341320 h 2730559"/>
              <a:gd name="connsiteX5" fmla="*/ 341320 w 2670234"/>
              <a:gd name="connsiteY5" fmla="*/ 0 h 2730559"/>
              <a:gd name="connsiteX0" fmla="*/ 341320 w 2670234"/>
              <a:gd name="connsiteY0" fmla="*/ 0 h 2730559"/>
              <a:gd name="connsiteX1" fmla="*/ 2670234 w 2670234"/>
              <a:gd name="connsiteY1" fmla="*/ 0 h 2730559"/>
              <a:gd name="connsiteX2" fmla="*/ 2670234 w 2670234"/>
              <a:gd name="connsiteY2" fmla="*/ 2730559 h 2730559"/>
              <a:gd name="connsiteX3" fmla="*/ 0 w 2670234"/>
              <a:gd name="connsiteY3" fmla="*/ 2730559 h 2730559"/>
              <a:gd name="connsiteX4" fmla="*/ 0 w 2670234"/>
              <a:gd name="connsiteY4" fmla="*/ 341320 h 2730559"/>
              <a:gd name="connsiteX5" fmla="*/ 341320 w 2670234"/>
              <a:gd name="connsiteY5" fmla="*/ 0 h 2730559"/>
              <a:gd name="connsiteX0" fmla="*/ 341320 w 2673536"/>
              <a:gd name="connsiteY0" fmla="*/ 0 h 2730559"/>
              <a:gd name="connsiteX1" fmla="*/ 2670234 w 2673536"/>
              <a:gd name="connsiteY1" fmla="*/ 0 h 2730559"/>
              <a:gd name="connsiteX2" fmla="*/ 2673536 w 2673536"/>
              <a:gd name="connsiteY2" fmla="*/ 2657935 h 2730559"/>
              <a:gd name="connsiteX3" fmla="*/ 0 w 2673536"/>
              <a:gd name="connsiteY3" fmla="*/ 2730559 h 2730559"/>
              <a:gd name="connsiteX4" fmla="*/ 0 w 2673536"/>
              <a:gd name="connsiteY4" fmla="*/ 341320 h 2730559"/>
              <a:gd name="connsiteX5" fmla="*/ 341320 w 2673536"/>
              <a:gd name="connsiteY5" fmla="*/ 0 h 2730559"/>
              <a:gd name="connsiteX0" fmla="*/ 341320 w 2673536"/>
              <a:gd name="connsiteY0" fmla="*/ 0 h 2690946"/>
              <a:gd name="connsiteX1" fmla="*/ 2670234 w 2673536"/>
              <a:gd name="connsiteY1" fmla="*/ 0 h 2690946"/>
              <a:gd name="connsiteX2" fmla="*/ 2673536 w 2673536"/>
              <a:gd name="connsiteY2" fmla="*/ 2657935 h 2690946"/>
              <a:gd name="connsiteX3" fmla="*/ 0 w 2673536"/>
              <a:gd name="connsiteY3" fmla="*/ 2690946 h 2690946"/>
              <a:gd name="connsiteX4" fmla="*/ 0 w 2673536"/>
              <a:gd name="connsiteY4" fmla="*/ 341320 h 2690946"/>
              <a:gd name="connsiteX5" fmla="*/ 341320 w 2673536"/>
              <a:gd name="connsiteY5" fmla="*/ 0 h 2690946"/>
              <a:gd name="connsiteX0" fmla="*/ 341320 w 2673536"/>
              <a:gd name="connsiteY0" fmla="*/ 0 h 2657935"/>
              <a:gd name="connsiteX1" fmla="*/ 2670234 w 2673536"/>
              <a:gd name="connsiteY1" fmla="*/ 0 h 2657935"/>
              <a:gd name="connsiteX2" fmla="*/ 2673536 w 2673536"/>
              <a:gd name="connsiteY2" fmla="*/ 2657935 h 2657935"/>
              <a:gd name="connsiteX3" fmla="*/ 0 w 2673536"/>
              <a:gd name="connsiteY3" fmla="*/ 2648032 h 2657935"/>
              <a:gd name="connsiteX4" fmla="*/ 0 w 2673536"/>
              <a:gd name="connsiteY4" fmla="*/ 341320 h 2657935"/>
              <a:gd name="connsiteX5" fmla="*/ 341320 w 2673536"/>
              <a:gd name="connsiteY5" fmla="*/ 0 h 2657935"/>
              <a:gd name="connsiteX0" fmla="*/ 344621 w 2676837"/>
              <a:gd name="connsiteY0" fmla="*/ 0 h 2671139"/>
              <a:gd name="connsiteX1" fmla="*/ 2673535 w 2676837"/>
              <a:gd name="connsiteY1" fmla="*/ 0 h 2671139"/>
              <a:gd name="connsiteX2" fmla="*/ 2676837 w 2676837"/>
              <a:gd name="connsiteY2" fmla="*/ 2657935 h 2671139"/>
              <a:gd name="connsiteX3" fmla="*/ 0 w 2676837"/>
              <a:gd name="connsiteY3" fmla="*/ 2671139 h 2671139"/>
              <a:gd name="connsiteX4" fmla="*/ 3301 w 2676837"/>
              <a:gd name="connsiteY4" fmla="*/ 341320 h 2671139"/>
              <a:gd name="connsiteX5" fmla="*/ 344621 w 2676837"/>
              <a:gd name="connsiteY5" fmla="*/ 0 h 2671139"/>
              <a:gd name="connsiteX0" fmla="*/ 344621 w 2676837"/>
              <a:gd name="connsiteY0" fmla="*/ 0 h 2671139"/>
              <a:gd name="connsiteX1" fmla="*/ 2673535 w 2676837"/>
              <a:gd name="connsiteY1" fmla="*/ 0 h 2671139"/>
              <a:gd name="connsiteX2" fmla="*/ 2676837 w 2676837"/>
              <a:gd name="connsiteY2" fmla="*/ 2664537 h 2671139"/>
              <a:gd name="connsiteX3" fmla="*/ 0 w 2676837"/>
              <a:gd name="connsiteY3" fmla="*/ 2671139 h 2671139"/>
              <a:gd name="connsiteX4" fmla="*/ 3301 w 2676837"/>
              <a:gd name="connsiteY4" fmla="*/ 341320 h 2671139"/>
              <a:gd name="connsiteX5" fmla="*/ 344621 w 2676837"/>
              <a:gd name="connsiteY5" fmla="*/ 0 h 2671139"/>
              <a:gd name="connsiteX0" fmla="*/ 347922 w 2680138"/>
              <a:gd name="connsiteY0" fmla="*/ 0 h 2664537"/>
              <a:gd name="connsiteX1" fmla="*/ 2676836 w 2680138"/>
              <a:gd name="connsiteY1" fmla="*/ 0 h 2664537"/>
              <a:gd name="connsiteX2" fmla="*/ 2680138 w 2680138"/>
              <a:gd name="connsiteY2" fmla="*/ 2664537 h 2664537"/>
              <a:gd name="connsiteX3" fmla="*/ 0 w 2680138"/>
              <a:gd name="connsiteY3" fmla="*/ 2657935 h 2664537"/>
              <a:gd name="connsiteX4" fmla="*/ 6602 w 2680138"/>
              <a:gd name="connsiteY4" fmla="*/ 341320 h 2664537"/>
              <a:gd name="connsiteX5" fmla="*/ 347922 w 2680138"/>
              <a:gd name="connsiteY5" fmla="*/ 0 h 2664537"/>
              <a:gd name="connsiteX0" fmla="*/ 347922 w 2680138"/>
              <a:gd name="connsiteY0" fmla="*/ 0 h 2658187"/>
              <a:gd name="connsiteX1" fmla="*/ 2676836 w 2680138"/>
              <a:gd name="connsiteY1" fmla="*/ 0 h 2658187"/>
              <a:gd name="connsiteX2" fmla="*/ 2680138 w 2680138"/>
              <a:gd name="connsiteY2" fmla="*/ 2658187 h 2658187"/>
              <a:gd name="connsiteX3" fmla="*/ 0 w 2680138"/>
              <a:gd name="connsiteY3" fmla="*/ 2657935 h 2658187"/>
              <a:gd name="connsiteX4" fmla="*/ 6602 w 2680138"/>
              <a:gd name="connsiteY4" fmla="*/ 341320 h 2658187"/>
              <a:gd name="connsiteX5" fmla="*/ 347922 w 2680138"/>
              <a:gd name="connsiteY5" fmla="*/ 0 h 265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0138" h="2658187">
                <a:moveTo>
                  <a:pt x="347922" y="0"/>
                </a:moveTo>
                <a:lnTo>
                  <a:pt x="2676836" y="0"/>
                </a:lnTo>
                <a:cubicBezTo>
                  <a:pt x="2677937" y="885978"/>
                  <a:pt x="2679037" y="1772209"/>
                  <a:pt x="2680138" y="2658187"/>
                </a:cubicBezTo>
                <a:lnTo>
                  <a:pt x="0" y="2657935"/>
                </a:lnTo>
                <a:cubicBezTo>
                  <a:pt x="1100" y="1881329"/>
                  <a:pt x="5502" y="1117926"/>
                  <a:pt x="6602" y="341320"/>
                </a:cubicBezTo>
                <a:cubicBezTo>
                  <a:pt x="6602" y="152962"/>
                  <a:pt x="159564" y="0"/>
                  <a:pt x="347922" y="0"/>
                </a:cubicBezTo>
                <a:close/>
              </a:path>
            </a:pathLst>
          </a:custGeom>
          <a:solidFill>
            <a:schemeClr val="bg1">
              <a:lumMod val="95000"/>
            </a:schemeClr>
          </a:solidFill>
        </p:spPr>
        <p:txBody>
          <a:bodyPr wrap="square" anchor="ctr" anchorCtr="0">
            <a:noAutofit/>
          </a:bodyPr>
          <a:lstStyle>
            <a:lvl1pPr marL="0" indent="0" algn="ctr">
              <a:buNone/>
              <a:defRPr sz="1100"/>
            </a:lvl1pPr>
          </a:lstStyle>
          <a:p>
            <a:r>
              <a:rPr lang="en-US"/>
              <a:t>Click icon to add picture</a:t>
            </a:r>
          </a:p>
        </p:txBody>
      </p:sp>
      <p:sp>
        <p:nvSpPr>
          <p:cNvPr id="37" name="Picture Placeholder 36">
            <a:extLst>
              <a:ext uri="{FF2B5EF4-FFF2-40B4-BE49-F238E27FC236}">
                <a16:creationId xmlns:a16="http://schemas.microsoft.com/office/drawing/2014/main" id="{5943C3E3-8B6A-14F1-13B5-76002DE0E9E3}"/>
              </a:ext>
            </a:extLst>
          </p:cNvPr>
          <p:cNvSpPr>
            <a:spLocks noGrp="1"/>
          </p:cNvSpPr>
          <p:nvPr>
            <p:ph type="pic" sz="quarter" idx="11"/>
          </p:nvPr>
        </p:nvSpPr>
        <p:spPr>
          <a:xfrm>
            <a:off x="8952185" y="654410"/>
            <a:ext cx="2676584" cy="2660709"/>
          </a:xfrm>
          <a:custGeom>
            <a:avLst/>
            <a:gdLst>
              <a:gd name="connsiteX0" fmla="*/ 0 w 2730559"/>
              <a:gd name="connsiteY0" fmla="*/ 0 h 2730559"/>
              <a:gd name="connsiteX1" fmla="*/ 2389239 w 2730559"/>
              <a:gd name="connsiteY1" fmla="*/ 0 h 2730559"/>
              <a:gd name="connsiteX2" fmla="*/ 2730559 w 2730559"/>
              <a:gd name="connsiteY2" fmla="*/ 341320 h 2730559"/>
              <a:gd name="connsiteX3" fmla="*/ 2730559 w 2730559"/>
              <a:gd name="connsiteY3" fmla="*/ 2730559 h 2730559"/>
              <a:gd name="connsiteX4" fmla="*/ 0 w 2730559"/>
              <a:gd name="connsiteY4" fmla="*/ 2730559 h 2730559"/>
              <a:gd name="connsiteX0" fmla="*/ 53975 w 2730559"/>
              <a:gd name="connsiteY0" fmla="*/ 0 h 2730559"/>
              <a:gd name="connsiteX1" fmla="*/ 2389239 w 2730559"/>
              <a:gd name="connsiteY1" fmla="*/ 0 h 2730559"/>
              <a:gd name="connsiteX2" fmla="*/ 2730559 w 2730559"/>
              <a:gd name="connsiteY2" fmla="*/ 341320 h 2730559"/>
              <a:gd name="connsiteX3" fmla="*/ 2730559 w 2730559"/>
              <a:gd name="connsiteY3" fmla="*/ 2730559 h 2730559"/>
              <a:gd name="connsiteX4" fmla="*/ 0 w 2730559"/>
              <a:gd name="connsiteY4" fmla="*/ 2730559 h 2730559"/>
              <a:gd name="connsiteX5" fmla="*/ 53975 w 2730559"/>
              <a:gd name="connsiteY5" fmla="*/ 0 h 2730559"/>
              <a:gd name="connsiteX0" fmla="*/ 0 w 2676584"/>
              <a:gd name="connsiteY0" fmla="*/ 0 h 2730559"/>
              <a:gd name="connsiteX1" fmla="*/ 2335264 w 2676584"/>
              <a:gd name="connsiteY1" fmla="*/ 0 h 2730559"/>
              <a:gd name="connsiteX2" fmla="*/ 2676584 w 2676584"/>
              <a:gd name="connsiteY2" fmla="*/ 341320 h 2730559"/>
              <a:gd name="connsiteX3" fmla="*/ 2676584 w 2676584"/>
              <a:gd name="connsiteY3" fmla="*/ 2730559 h 2730559"/>
              <a:gd name="connsiteX4" fmla="*/ 6350 w 2676584"/>
              <a:gd name="connsiteY4" fmla="*/ 2730559 h 2730559"/>
              <a:gd name="connsiteX5" fmla="*/ 0 w 2676584"/>
              <a:gd name="connsiteY5" fmla="*/ 0 h 2730559"/>
              <a:gd name="connsiteX0" fmla="*/ 0 w 2676584"/>
              <a:gd name="connsiteY0" fmla="*/ 0 h 2730559"/>
              <a:gd name="connsiteX1" fmla="*/ 2335264 w 2676584"/>
              <a:gd name="connsiteY1" fmla="*/ 0 h 2730559"/>
              <a:gd name="connsiteX2" fmla="*/ 2676584 w 2676584"/>
              <a:gd name="connsiteY2" fmla="*/ 341320 h 2730559"/>
              <a:gd name="connsiteX3" fmla="*/ 2676584 w 2676584"/>
              <a:gd name="connsiteY3" fmla="*/ 2730559 h 2730559"/>
              <a:gd name="connsiteX4" fmla="*/ 6350 w 2676584"/>
              <a:gd name="connsiteY4" fmla="*/ 2667059 h 2730559"/>
              <a:gd name="connsiteX5" fmla="*/ 0 w 2676584"/>
              <a:gd name="connsiteY5" fmla="*/ 0 h 2730559"/>
              <a:gd name="connsiteX0" fmla="*/ 0 w 2676584"/>
              <a:gd name="connsiteY0" fmla="*/ 0 h 2730559"/>
              <a:gd name="connsiteX1" fmla="*/ 2335264 w 2676584"/>
              <a:gd name="connsiteY1" fmla="*/ 0 h 2730559"/>
              <a:gd name="connsiteX2" fmla="*/ 2676584 w 2676584"/>
              <a:gd name="connsiteY2" fmla="*/ 341320 h 2730559"/>
              <a:gd name="connsiteX3" fmla="*/ 2676584 w 2676584"/>
              <a:gd name="connsiteY3" fmla="*/ 2730559 h 2730559"/>
              <a:gd name="connsiteX4" fmla="*/ 6350 w 2676584"/>
              <a:gd name="connsiteY4" fmla="*/ 2660709 h 2730559"/>
              <a:gd name="connsiteX5" fmla="*/ 0 w 2676584"/>
              <a:gd name="connsiteY5" fmla="*/ 0 h 2730559"/>
              <a:gd name="connsiteX0" fmla="*/ 0 w 2676584"/>
              <a:gd name="connsiteY0" fmla="*/ 0 h 2660709"/>
              <a:gd name="connsiteX1" fmla="*/ 2335264 w 2676584"/>
              <a:gd name="connsiteY1" fmla="*/ 0 h 2660709"/>
              <a:gd name="connsiteX2" fmla="*/ 2676584 w 2676584"/>
              <a:gd name="connsiteY2" fmla="*/ 341320 h 2660709"/>
              <a:gd name="connsiteX3" fmla="*/ 2676584 w 2676584"/>
              <a:gd name="connsiteY3" fmla="*/ 2660709 h 2660709"/>
              <a:gd name="connsiteX4" fmla="*/ 6350 w 2676584"/>
              <a:gd name="connsiteY4" fmla="*/ 2660709 h 2660709"/>
              <a:gd name="connsiteX5" fmla="*/ 0 w 2676584"/>
              <a:gd name="connsiteY5" fmla="*/ 0 h 266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6584" h="2660709">
                <a:moveTo>
                  <a:pt x="0" y="0"/>
                </a:moveTo>
                <a:lnTo>
                  <a:pt x="2335264" y="0"/>
                </a:lnTo>
                <a:cubicBezTo>
                  <a:pt x="2523622" y="0"/>
                  <a:pt x="2676584" y="152962"/>
                  <a:pt x="2676584" y="341320"/>
                </a:cubicBezTo>
                <a:lnTo>
                  <a:pt x="2676584" y="2660709"/>
                </a:lnTo>
                <a:lnTo>
                  <a:pt x="6350" y="2660709"/>
                </a:lnTo>
                <a:cubicBezTo>
                  <a:pt x="6350" y="1750523"/>
                  <a:pt x="0" y="910186"/>
                  <a:pt x="0" y="0"/>
                </a:cubicBezTo>
                <a:close/>
              </a:path>
            </a:pathLst>
          </a:custGeom>
          <a:solidFill>
            <a:schemeClr val="bg1">
              <a:lumMod val="95000"/>
            </a:schemeClr>
          </a:solidFill>
        </p:spPr>
        <p:txBody>
          <a:bodyPr wrap="square" anchor="ctr" anchorCtr="0">
            <a:noAutofit/>
          </a:bodyPr>
          <a:lstStyle>
            <a:lvl1pPr marL="0" indent="0" algn="ctr">
              <a:buNone/>
              <a:defRPr sz="1100"/>
            </a:lvl1pPr>
          </a:lstStyle>
          <a:p>
            <a:r>
              <a:rPr lang="en-US"/>
              <a:t>Click icon to add picture</a:t>
            </a:r>
          </a:p>
        </p:txBody>
      </p:sp>
      <p:sp>
        <p:nvSpPr>
          <p:cNvPr id="38" name="Picture Placeholder 37">
            <a:extLst>
              <a:ext uri="{FF2B5EF4-FFF2-40B4-BE49-F238E27FC236}">
                <a16:creationId xmlns:a16="http://schemas.microsoft.com/office/drawing/2014/main" id="{01F55158-ED88-2BB0-1CBD-55CD5E9E1F35}"/>
              </a:ext>
            </a:extLst>
          </p:cNvPr>
          <p:cNvSpPr>
            <a:spLocks noGrp="1"/>
          </p:cNvSpPr>
          <p:nvPr>
            <p:ph type="pic" sz="quarter" idx="12"/>
          </p:nvPr>
        </p:nvSpPr>
        <p:spPr>
          <a:xfrm>
            <a:off x="6092740" y="3508031"/>
            <a:ext cx="2676902" cy="2664664"/>
          </a:xfrm>
          <a:custGeom>
            <a:avLst/>
            <a:gdLst>
              <a:gd name="connsiteX0" fmla="*/ 0 w 2730559"/>
              <a:gd name="connsiteY0" fmla="*/ 0 h 2730559"/>
              <a:gd name="connsiteX1" fmla="*/ 2730559 w 2730559"/>
              <a:gd name="connsiteY1" fmla="*/ 0 h 2730559"/>
              <a:gd name="connsiteX2" fmla="*/ 2730559 w 2730559"/>
              <a:gd name="connsiteY2" fmla="*/ 2730559 h 2730559"/>
              <a:gd name="connsiteX3" fmla="*/ 341320 w 2730559"/>
              <a:gd name="connsiteY3" fmla="*/ 2730559 h 2730559"/>
              <a:gd name="connsiteX4" fmla="*/ 0 w 2730559"/>
              <a:gd name="connsiteY4" fmla="*/ 2389239 h 2730559"/>
              <a:gd name="connsiteX0" fmla="*/ 0 w 2730559"/>
              <a:gd name="connsiteY0" fmla="*/ 0 h 2730559"/>
              <a:gd name="connsiteX1" fmla="*/ 2673409 w 2730559"/>
              <a:gd name="connsiteY1" fmla="*/ 3175 h 2730559"/>
              <a:gd name="connsiteX2" fmla="*/ 2730559 w 2730559"/>
              <a:gd name="connsiteY2" fmla="*/ 2730559 h 2730559"/>
              <a:gd name="connsiteX3" fmla="*/ 341320 w 2730559"/>
              <a:gd name="connsiteY3" fmla="*/ 2730559 h 2730559"/>
              <a:gd name="connsiteX4" fmla="*/ 0 w 2730559"/>
              <a:gd name="connsiteY4" fmla="*/ 2389239 h 2730559"/>
              <a:gd name="connsiteX5" fmla="*/ 0 w 2730559"/>
              <a:gd name="connsiteY5" fmla="*/ 0 h 2730559"/>
              <a:gd name="connsiteX0" fmla="*/ 0 w 2676584"/>
              <a:gd name="connsiteY0" fmla="*/ 0 h 2730559"/>
              <a:gd name="connsiteX1" fmla="*/ 2673409 w 2676584"/>
              <a:gd name="connsiteY1" fmla="*/ 3175 h 2730559"/>
              <a:gd name="connsiteX2" fmla="*/ 2676584 w 2676584"/>
              <a:gd name="connsiteY2" fmla="*/ 2730559 h 2730559"/>
              <a:gd name="connsiteX3" fmla="*/ 341320 w 2676584"/>
              <a:gd name="connsiteY3" fmla="*/ 2730559 h 2730559"/>
              <a:gd name="connsiteX4" fmla="*/ 0 w 2676584"/>
              <a:gd name="connsiteY4" fmla="*/ 2389239 h 2730559"/>
              <a:gd name="connsiteX5" fmla="*/ 0 w 2676584"/>
              <a:gd name="connsiteY5" fmla="*/ 0 h 2730559"/>
              <a:gd name="connsiteX0" fmla="*/ 0 w 2676584"/>
              <a:gd name="connsiteY0" fmla="*/ 0 h 2730559"/>
              <a:gd name="connsiteX1" fmla="*/ 2666807 w 2676584"/>
              <a:gd name="connsiteY1" fmla="*/ 72497 h 2730559"/>
              <a:gd name="connsiteX2" fmla="*/ 2676584 w 2676584"/>
              <a:gd name="connsiteY2" fmla="*/ 2730559 h 2730559"/>
              <a:gd name="connsiteX3" fmla="*/ 341320 w 2676584"/>
              <a:gd name="connsiteY3" fmla="*/ 2730559 h 2730559"/>
              <a:gd name="connsiteX4" fmla="*/ 0 w 2676584"/>
              <a:gd name="connsiteY4" fmla="*/ 2389239 h 2730559"/>
              <a:gd name="connsiteX5" fmla="*/ 0 w 2676584"/>
              <a:gd name="connsiteY5" fmla="*/ 0 h 2730559"/>
              <a:gd name="connsiteX0" fmla="*/ 0 w 2676584"/>
              <a:gd name="connsiteY0" fmla="*/ 0 h 2667838"/>
              <a:gd name="connsiteX1" fmla="*/ 2666807 w 2676584"/>
              <a:gd name="connsiteY1" fmla="*/ 9776 h 2667838"/>
              <a:gd name="connsiteX2" fmla="*/ 2676584 w 2676584"/>
              <a:gd name="connsiteY2" fmla="*/ 2667838 h 2667838"/>
              <a:gd name="connsiteX3" fmla="*/ 341320 w 2676584"/>
              <a:gd name="connsiteY3" fmla="*/ 2667838 h 2667838"/>
              <a:gd name="connsiteX4" fmla="*/ 0 w 2676584"/>
              <a:gd name="connsiteY4" fmla="*/ 2326518 h 2667838"/>
              <a:gd name="connsiteX5" fmla="*/ 0 w 2676584"/>
              <a:gd name="connsiteY5" fmla="*/ 0 h 2667838"/>
              <a:gd name="connsiteX0" fmla="*/ 0 w 2679885"/>
              <a:gd name="connsiteY0" fmla="*/ 0 h 2687645"/>
              <a:gd name="connsiteX1" fmla="*/ 2670108 w 2679885"/>
              <a:gd name="connsiteY1" fmla="*/ 29583 h 2687645"/>
              <a:gd name="connsiteX2" fmla="*/ 2679885 w 2679885"/>
              <a:gd name="connsiteY2" fmla="*/ 2687645 h 2687645"/>
              <a:gd name="connsiteX3" fmla="*/ 344621 w 2679885"/>
              <a:gd name="connsiteY3" fmla="*/ 2687645 h 2687645"/>
              <a:gd name="connsiteX4" fmla="*/ 3301 w 2679885"/>
              <a:gd name="connsiteY4" fmla="*/ 2346325 h 2687645"/>
              <a:gd name="connsiteX5" fmla="*/ 0 w 2679885"/>
              <a:gd name="connsiteY5" fmla="*/ 0 h 2687645"/>
              <a:gd name="connsiteX0" fmla="*/ 0 w 2679885"/>
              <a:gd name="connsiteY0" fmla="*/ 0 h 2687645"/>
              <a:gd name="connsiteX1" fmla="*/ 2666807 w 2679885"/>
              <a:gd name="connsiteY1" fmla="*/ 22981 h 2687645"/>
              <a:gd name="connsiteX2" fmla="*/ 2679885 w 2679885"/>
              <a:gd name="connsiteY2" fmla="*/ 2687645 h 2687645"/>
              <a:gd name="connsiteX3" fmla="*/ 344621 w 2679885"/>
              <a:gd name="connsiteY3" fmla="*/ 2687645 h 2687645"/>
              <a:gd name="connsiteX4" fmla="*/ 3301 w 2679885"/>
              <a:gd name="connsiteY4" fmla="*/ 2346325 h 2687645"/>
              <a:gd name="connsiteX5" fmla="*/ 0 w 2679885"/>
              <a:gd name="connsiteY5" fmla="*/ 0 h 2687645"/>
              <a:gd name="connsiteX0" fmla="*/ 0 w 2679885"/>
              <a:gd name="connsiteY0" fmla="*/ 0 h 2687645"/>
              <a:gd name="connsiteX1" fmla="*/ 2673409 w 2679885"/>
              <a:gd name="connsiteY1" fmla="*/ 22981 h 2687645"/>
              <a:gd name="connsiteX2" fmla="*/ 2679885 w 2679885"/>
              <a:gd name="connsiteY2" fmla="*/ 2687645 h 2687645"/>
              <a:gd name="connsiteX3" fmla="*/ 344621 w 2679885"/>
              <a:gd name="connsiteY3" fmla="*/ 2687645 h 2687645"/>
              <a:gd name="connsiteX4" fmla="*/ 3301 w 2679885"/>
              <a:gd name="connsiteY4" fmla="*/ 2346325 h 2687645"/>
              <a:gd name="connsiteX5" fmla="*/ 0 w 2679885"/>
              <a:gd name="connsiteY5" fmla="*/ 0 h 2687645"/>
              <a:gd name="connsiteX0" fmla="*/ 0 w 2679885"/>
              <a:gd name="connsiteY0" fmla="*/ 0 h 2671140"/>
              <a:gd name="connsiteX1" fmla="*/ 2673409 w 2679885"/>
              <a:gd name="connsiteY1" fmla="*/ 6476 h 2671140"/>
              <a:gd name="connsiteX2" fmla="*/ 2679885 w 2679885"/>
              <a:gd name="connsiteY2" fmla="*/ 2671140 h 2671140"/>
              <a:gd name="connsiteX3" fmla="*/ 344621 w 2679885"/>
              <a:gd name="connsiteY3" fmla="*/ 2671140 h 2671140"/>
              <a:gd name="connsiteX4" fmla="*/ 3301 w 2679885"/>
              <a:gd name="connsiteY4" fmla="*/ 2329820 h 2671140"/>
              <a:gd name="connsiteX5" fmla="*/ 0 w 2679885"/>
              <a:gd name="connsiteY5" fmla="*/ 0 h 2671140"/>
              <a:gd name="connsiteX0" fmla="*/ 318 w 2676902"/>
              <a:gd name="connsiteY0" fmla="*/ 3427 h 2664664"/>
              <a:gd name="connsiteX1" fmla="*/ 2670426 w 2676902"/>
              <a:gd name="connsiteY1" fmla="*/ 0 h 2664664"/>
              <a:gd name="connsiteX2" fmla="*/ 2676902 w 2676902"/>
              <a:gd name="connsiteY2" fmla="*/ 2664664 h 2664664"/>
              <a:gd name="connsiteX3" fmla="*/ 341638 w 2676902"/>
              <a:gd name="connsiteY3" fmla="*/ 2664664 h 2664664"/>
              <a:gd name="connsiteX4" fmla="*/ 318 w 2676902"/>
              <a:gd name="connsiteY4" fmla="*/ 2323344 h 2664664"/>
              <a:gd name="connsiteX5" fmla="*/ 318 w 2676902"/>
              <a:gd name="connsiteY5" fmla="*/ 3427 h 266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6902" h="2664664">
                <a:moveTo>
                  <a:pt x="318" y="3427"/>
                </a:moveTo>
                <a:lnTo>
                  <a:pt x="2670426" y="0"/>
                </a:lnTo>
                <a:cubicBezTo>
                  <a:pt x="2671484" y="909128"/>
                  <a:pt x="2675844" y="1755536"/>
                  <a:pt x="2676902" y="2664664"/>
                </a:cubicBezTo>
                <a:lnTo>
                  <a:pt x="341638" y="2664664"/>
                </a:lnTo>
                <a:cubicBezTo>
                  <a:pt x="153280" y="2664664"/>
                  <a:pt x="318" y="2511702"/>
                  <a:pt x="318" y="2323344"/>
                </a:cubicBezTo>
                <a:cubicBezTo>
                  <a:pt x="-782" y="1541236"/>
                  <a:pt x="1418" y="785535"/>
                  <a:pt x="318" y="3427"/>
                </a:cubicBezTo>
                <a:close/>
              </a:path>
            </a:pathLst>
          </a:custGeom>
          <a:solidFill>
            <a:schemeClr val="bg1">
              <a:lumMod val="95000"/>
            </a:schemeClr>
          </a:solidFill>
        </p:spPr>
        <p:txBody>
          <a:bodyPr wrap="square" anchor="ctr" anchorCtr="0">
            <a:noAutofit/>
          </a:bodyPr>
          <a:lstStyle>
            <a:lvl1pPr marL="0" indent="0" algn="ctr">
              <a:buNone/>
              <a:defRPr sz="1100"/>
            </a:lvl1pPr>
          </a:lstStyle>
          <a:p>
            <a:r>
              <a:rPr lang="en-US"/>
              <a:t>Click icon to add picture</a:t>
            </a:r>
          </a:p>
        </p:txBody>
      </p:sp>
      <p:sp>
        <p:nvSpPr>
          <p:cNvPr id="39" name="Picture Placeholder 38">
            <a:extLst>
              <a:ext uri="{FF2B5EF4-FFF2-40B4-BE49-F238E27FC236}">
                <a16:creationId xmlns:a16="http://schemas.microsoft.com/office/drawing/2014/main" id="{CB2268C8-F3C6-487B-C289-2DE7421EDE58}"/>
              </a:ext>
            </a:extLst>
          </p:cNvPr>
          <p:cNvSpPr>
            <a:spLocks noGrp="1"/>
          </p:cNvSpPr>
          <p:nvPr>
            <p:ph type="pic" sz="quarter" idx="13"/>
          </p:nvPr>
        </p:nvSpPr>
        <p:spPr>
          <a:xfrm>
            <a:off x="8958535" y="3505635"/>
            <a:ext cx="2670539" cy="2667059"/>
          </a:xfrm>
          <a:custGeom>
            <a:avLst/>
            <a:gdLst>
              <a:gd name="connsiteX0" fmla="*/ 0 w 2730559"/>
              <a:gd name="connsiteY0" fmla="*/ 0 h 2730559"/>
              <a:gd name="connsiteX1" fmla="*/ 2730559 w 2730559"/>
              <a:gd name="connsiteY1" fmla="*/ 0 h 2730559"/>
              <a:gd name="connsiteX2" fmla="*/ 2730559 w 2730559"/>
              <a:gd name="connsiteY2" fmla="*/ 2389239 h 2730559"/>
              <a:gd name="connsiteX3" fmla="*/ 2389239 w 2730559"/>
              <a:gd name="connsiteY3" fmla="*/ 2730559 h 2730559"/>
              <a:gd name="connsiteX4" fmla="*/ 0 w 2730559"/>
              <a:gd name="connsiteY4" fmla="*/ 2730559 h 2730559"/>
              <a:gd name="connsiteX0" fmla="*/ 63500 w 2730559"/>
              <a:gd name="connsiteY0" fmla="*/ 0 h 2730559"/>
              <a:gd name="connsiteX1" fmla="*/ 2730559 w 2730559"/>
              <a:gd name="connsiteY1" fmla="*/ 0 h 2730559"/>
              <a:gd name="connsiteX2" fmla="*/ 2730559 w 2730559"/>
              <a:gd name="connsiteY2" fmla="*/ 2389239 h 2730559"/>
              <a:gd name="connsiteX3" fmla="*/ 2389239 w 2730559"/>
              <a:gd name="connsiteY3" fmla="*/ 2730559 h 2730559"/>
              <a:gd name="connsiteX4" fmla="*/ 0 w 2730559"/>
              <a:gd name="connsiteY4" fmla="*/ 2730559 h 2730559"/>
              <a:gd name="connsiteX5" fmla="*/ 63500 w 2730559"/>
              <a:gd name="connsiteY5" fmla="*/ 0 h 2730559"/>
              <a:gd name="connsiteX0" fmla="*/ 3175 w 2670234"/>
              <a:gd name="connsiteY0" fmla="*/ 0 h 2730559"/>
              <a:gd name="connsiteX1" fmla="*/ 2670234 w 2670234"/>
              <a:gd name="connsiteY1" fmla="*/ 0 h 2730559"/>
              <a:gd name="connsiteX2" fmla="*/ 2670234 w 2670234"/>
              <a:gd name="connsiteY2" fmla="*/ 2389239 h 2730559"/>
              <a:gd name="connsiteX3" fmla="*/ 2328914 w 2670234"/>
              <a:gd name="connsiteY3" fmla="*/ 2730559 h 2730559"/>
              <a:gd name="connsiteX4" fmla="*/ 0 w 2670234"/>
              <a:gd name="connsiteY4" fmla="*/ 2727384 h 2730559"/>
              <a:gd name="connsiteX5" fmla="*/ 3175 w 2670234"/>
              <a:gd name="connsiteY5" fmla="*/ 0 h 2730559"/>
              <a:gd name="connsiteX0" fmla="*/ 3175 w 2670234"/>
              <a:gd name="connsiteY0" fmla="*/ 63500 h 2730559"/>
              <a:gd name="connsiteX1" fmla="*/ 2670234 w 2670234"/>
              <a:gd name="connsiteY1" fmla="*/ 0 h 2730559"/>
              <a:gd name="connsiteX2" fmla="*/ 2670234 w 2670234"/>
              <a:gd name="connsiteY2" fmla="*/ 2389239 h 2730559"/>
              <a:gd name="connsiteX3" fmla="*/ 2328914 w 2670234"/>
              <a:gd name="connsiteY3" fmla="*/ 2730559 h 2730559"/>
              <a:gd name="connsiteX4" fmla="*/ 0 w 2670234"/>
              <a:gd name="connsiteY4" fmla="*/ 2727384 h 2730559"/>
              <a:gd name="connsiteX5" fmla="*/ 3175 w 2670234"/>
              <a:gd name="connsiteY5" fmla="*/ 63500 h 2730559"/>
              <a:gd name="connsiteX0" fmla="*/ 3175 w 2673409"/>
              <a:gd name="connsiteY0" fmla="*/ 0 h 2667059"/>
              <a:gd name="connsiteX1" fmla="*/ 2673409 w 2673409"/>
              <a:gd name="connsiteY1" fmla="*/ 3175 h 2667059"/>
              <a:gd name="connsiteX2" fmla="*/ 2670234 w 2673409"/>
              <a:gd name="connsiteY2" fmla="*/ 2325739 h 2667059"/>
              <a:gd name="connsiteX3" fmla="*/ 2328914 w 2673409"/>
              <a:gd name="connsiteY3" fmla="*/ 2667059 h 2667059"/>
              <a:gd name="connsiteX4" fmla="*/ 0 w 2673409"/>
              <a:gd name="connsiteY4" fmla="*/ 2663884 h 2667059"/>
              <a:gd name="connsiteX5" fmla="*/ 3175 w 2673409"/>
              <a:gd name="connsiteY5" fmla="*/ 0 h 2667059"/>
              <a:gd name="connsiteX0" fmla="*/ 3175 w 2670539"/>
              <a:gd name="connsiteY0" fmla="*/ 0 h 2667059"/>
              <a:gd name="connsiteX1" fmla="*/ 2670234 w 2670539"/>
              <a:gd name="connsiteY1" fmla="*/ 3175 h 2667059"/>
              <a:gd name="connsiteX2" fmla="*/ 2670234 w 2670539"/>
              <a:gd name="connsiteY2" fmla="*/ 2325739 h 2667059"/>
              <a:gd name="connsiteX3" fmla="*/ 2328914 w 2670539"/>
              <a:gd name="connsiteY3" fmla="*/ 2667059 h 2667059"/>
              <a:gd name="connsiteX4" fmla="*/ 0 w 2670539"/>
              <a:gd name="connsiteY4" fmla="*/ 2663884 h 2667059"/>
              <a:gd name="connsiteX5" fmla="*/ 3175 w 2670539"/>
              <a:gd name="connsiteY5" fmla="*/ 0 h 266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0539" h="2667059">
                <a:moveTo>
                  <a:pt x="3175" y="0"/>
                </a:moveTo>
                <a:lnTo>
                  <a:pt x="2670234" y="3175"/>
                </a:lnTo>
                <a:cubicBezTo>
                  <a:pt x="2669176" y="777363"/>
                  <a:pt x="2671292" y="1551551"/>
                  <a:pt x="2670234" y="2325739"/>
                </a:cubicBezTo>
                <a:cubicBezTo>
                  <a:pt x="2670234" y="2514097"/>
                  <a:pt x="2517272" y="2667059"/>
                  <a:pt x="2328914" y="2667059"/>
                </a:cubicBezTo>
                <a:lnTo>
                  <a:pt x="0" y="2663884"/>
                </a:lnTo>
                <a:cubicBezTo>
                  <a:pt x="0" y="1753698"/>
                  <a:pt x="3175" y="910186"/>
                  <a:pt x="3175" y="0"/>
                </a:cubicBezTo>
                <a:close/>
              </a:path>
            </a:pathLst>
          </a:custGeom>
          <a:solidFill>
            <a:schemeClr val="bg1">
              <a:lumMod val="95000"/>
            </a:schemeClr>
          </a:solidFill>
        </p:spPr>
        <p:txBody>
          <a:bodyPr wrap="square" anchor="ctr" anchorCtr="0">
            <a:noAutofit/>
          </a:bodyPr>
          <a:lstStyle>
            <a:lvl1pPr marL="0" indent="0" algn="ctr">
              <a:buNone/>
              <a:defRPr sz="1100"/>
            </a:lvl1pPr>
          </a:lstStyle>
          <a:p>
            <a:r>
              <a:rPr lang="en-US"/>
              <a:t>Click icon to add picture</a:t>
            </a:r>
          </a:p>
        </p:txBody>
      </p:sp>
      <p:sp>
        <p:nvSpPr>
          <p:cNvPr id="9" name="Text Placeholder 6">
            <a:extLst>
              <a:ext uri="{FF2B5EF4-FFF2-40B4-BE49-F238E27FC236}">
                <a16:creationId xmlns:a16="http://schemas.microsoft.com/office/drawing/2014/main" id="{D42494DB-94AA-CA53-4695-B11080A652C4}"/>
              </a:ext>
            </a:extLst>
          </p:cNvPr>
          <p:cNvSpPr>
            <a:spLocks noGrp="1"/>
          </p:cNvSpPr>
          <p:nvPr>
            <p:ph type="body" sz="quarter" idx="29" hasCustomPrompt="1"/>
          </p:nvPr>
        </p:nvSpPr>
        <p:spPr>
          <a:xfrm>
            <a:off x="585500" y="291579"/>
            <a:ext cx="5274981"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10" name="Content Placeholder 10">
            <a:extLst>
              <a:ext uri="{FF2B5EF4-FFF2-40B4-BE49-F238E27FC236}">
                <a16:creationId xmlns:a16="http://schemas.microsoft.com/office/drawing/2014/main" id="{10DC873F-F5DF-E3DE-509C-9B764798C20D}"/>
              </a:ext>
            </a:extLst>
          </p:cNvPr>
          <p:cNvSpPr>
            <a:spLocks noGrp="1"/>
          </p:cNvSpPr>
          <p:nvPr>
            <p:ph sz="quarter" idx="30" hasCustomPrompt="1"/>
          </p:nvPr>
        </p:nvSpPr>
        <p:spPr>
          <a:xfrm>
            <a:off x="585788" y="1630392"/>
            <a:ext cx="5274693" cy="4541808"/>
          </a:xfrm>
          <a:prstGeom prst="rect">
            <a:avLst/>
          </a:prstGeom>
        </p:spPr>
        <p:txBody>
          <a:bodyPr/>
          <a:lstStyle>
            <a:lvl1pPr marL="0" indent="0">
              <a:buFont typeface="Wingdings" pitchFamily="2" charset="2"/>
              <a:buNone/>
              <a:defRPr sz="1800">
                <a:latin typeface="Aptos" panose="020B0004020202020204" pitchFamily="34" charset="0"/>
              </a:defRPr>
            </a:lvl1pPr>
            <a:lvl2pPr marL="457200" indent="0">
              <a:buFont typeface="Wingdings" pitchFamily="2" charset="2"/>
              <a:buNone/>
              <a:defRPr sz="1800">
                <a:latin typeface="Aptos" panose="020B0004020202020204" pitchFamily="34" charset="0"/>
              </a:defRPr>
            </a:lvl2pPr>
            <a:lvl3pPr marL="914400" indent="0">
              <a:buFont typeface="Wingdings" pitchFamily="2" charset="2"/>
              <a:buNone/>
              <a:defRPr sz="1800">
                <a:latin typeface="Aptos" panose="020B0004020202020204" pitchFamily="34" charset="0"/>
              </a:defRPr>
            </a:lvl3pPr>
            <a:lvl4pPr marL="1371600" indent="0">
              <a:buNone/>
              <a:defRPr sz="1800">
                <a:latin typeface="Aptos" panose="020B0004020202020204" pitchFamily="34" charset="0"/>
              </a:defRPr>
            </a:lvl4pPr>
            <a:lvl5pPr marL="1828800" indent="0">
              <a:buFont typeface="Arial" panose="020B0604020202020204" pitchFamily="34" charset="0"/>
              <a:buNone/>
              <a:defRPr sz="1800">
                <a:latin typeface="Aptos" panose="020B0004020202020204" pitchFamily="34" charset="0"/>
              </a:defRPr>
            </a:lvl5pPr>
          </a:lstStyle>
          <a:p>
            <a:pPr lvl="0"/>
            <a:r>
              <a:rPr lang="en-US"/>
              <a:t>Text</a:t>
            </a:r>
          </a:p>
        </p:txBody>
      </p:sp>
      <p:sp>
        <p:nvSpPr>
          <p:cNvPr id="2" name="Text Placeholder 11">
            <a:extLst>
              <a:ext uri="{FF2B5EF4-FFF2-40B4-BE49-F238E27FC236}">
                <a16:creationId xmlns:a16="http://schemas.microsoft.com/office/drawing/2014/main" id="{7897F310-4EA5-A33B-E3C5-AD3A0A4065A9}"/>
              </a:ext>
            </a:extLst>
          </p:cNvPr>
          <p:cNvSpPr>
            <a:spLocks noGrp="1"/>
          </p:cNvSpPr>
          <p:nvPr>
            <p:ph type="body" sz="quarter" idx="31"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3325582111"/>
      </p:ext>
    </p:extLst>
  </p:cSld>
  <p:clrMapOvr>
    <a:masterClrMapping/>
  </p:clrMapOvr>
  <p:extLst>
    <p:ext uri="{DCECCB84-F9BA-43D5-87BE-67443E8EF086}">
      <p15:sldGuideLst xmlns:p15="http://schemas.microsoft.com/office/powerpoint/2012/main">
        <p15:guide id="1" pos="5520">
          <p15:clr>
            <a:srgbClr val="FBAE40"/>
          </p15:clr>
        </p15:guide>
        <p15:guide id="2" pos="5640">
          <p15:clr>
            <a:srgbClr val="FBAE40"/>
          </p15:clr>
        </p15:guide>
        <p15:guide id="3" orient="horz" pos="208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ent_ image grid">
    <p:spTree>
      <p:nvGrpSpPr>
        <p:cNvPr id="1" name=""/>
        <p:cNvGrpSpPr/>
        <p:nvPr/>
      </p:nvGrpSpPr>
      <p:grpSpPr>
        <a:xfrm>
          <a:off x="0" y="0"/>
          <a:ext cx="0" cy="0"/>
          <a:chOff x="0" y="0"/>
          <a:chExt cx="0" cy="0"/>
        </a:xfrm>
      </p:grpSpPr>
      <p:sp>
        <p:nvSpPr>
          <p:cNvPr id="28" name="Picture Placeholder 19">
            <a:extLst>
              <a:ext uri="{FF2B5EF4-FFF2-40B4-BE49-F238E27FC236}">
                <a16:creationId xmlns:a16="http://schemas.microsoft.com/office/drawing/2014/main" id="{CB284CC9-1EFA-C48F-4017-EBAD2C938ACF}"/>
              </a:ext>
            </a:extLst>
          </p:cNvPr>
          <p:cNvSpPr>
            <a:spLocks noGrp="1"/>
          </p:cNvSpPr>
          <p:nvPr>
            <p:ph type="pic" sz="quarter" idx="24"/>
          </p:nvPr>
        </p:nvSpPr>
        <p:spPr>
          <a:xfrm>
            <a:off x="6107104" y="3490451"/>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38" name="Picture Placeholder 37">
            <a:extLst>
              <a:ext uri="{FF2B5EF4-FFF2-40B4-BE49-F238E27FC236}">
                <a16:creationId xmlns:a16="http://schemas.microsoft.com/office/drawing/2014/main" id="{DB0FC094-E0CE-7618-7163-4DF0CBBCCCE6}"/>
              </a:ext>
            </a:extLst>
          </p:cNvPr>
          <p:cNvSpPr>
            <a:spLocks noGrp="1" noChangeAspect="1"/>
          </p:cNvSpPr>
          <p:nvPr>
            <p:ph type="pic" sz="quarter" idx="40"/>
          </p:nvPr>
        </p:nvSpPr>
        <p:spPr>
          <a:xfrm>
            <a:off x="6106282" y="4939389"/>
            <a:ext cx="1234440" cy="1234440"/>
          </a:xfrm>
          <a:custGeom>
            <a:avLst/>
            <a:gdLst>
              <a:gd name="connsiteX0" fmla="*/ 0 w 1282476"/>
              <a:gd name="connsiteY0" fmla="*/ 0 h 1280033"/>
              <a:gd name="connsiteX1" fmla="*/ 1282476 w 1282476"/>
              <a:gd name="connsiteY1" fmla="*/ 0 h 1280033"/>
              <a:gd name="connsiteX2" fmla="*/ 1282476 w 1282476"/>
              <a:gd name="connsiteY2" fmla="*/ 1280033 h 1280033"/>
              <a:gd name="connsiteX3" fmla="*/ 343384 w 1282476"/>
              <a:gd name="connsiteY3" fmla="*/ 1280033 h 1280033"/>
              <a:gd name="connsiteX4" fmla="*/ 0 w 1282476"/>
              <a:gd name="connsiteY4" fmla="*/ 937812 h 128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2476" h="1280033">
                <a:moveTo>
                  <a:pt x="0" y="0"/>
                </a:moveTo>
                <a:lnTo>
                  <a:pt x="1282476" y="0"/>
                </a:lnTo>
                <a:lnTo>
                  <a:pt x="1282476" y="1280033"/>
                </a:lnTo>
                <a:lnTo>
                  <a:pt x="343384" y="1280033"/>
                </a:lnTo>
                <a:cubicBezTo>
                  <a:pt x="153887" y="1280033"/>
                  <a:pt x="0" y="1126667"/>
                  <a:pt x="0" y="937812"/>
                </a:cubicBezTo>
                <a:close/>
              </a:path>
            </a:pathLst>
          </a:custGeom>
          <a:solidFill>
            <a:schemeClr val="bg1">
              <a:lumMod val="95000"/>
            </a:schemeClr>
          </a:solidFill>
        </p:spPr>
        <p:txBody>
          <a:bodyPr wrap="square" anchor="ctr" anchorCtr="0">
            <a:noAutofit/>
          </a:bodyPr>
          <a:lstStyle>
            <a:lvl1pPr marL="0" indent="0" algn="ctr">
              <a:buFontTx/>
              <a:buNone/>
              <a:defRPr sz="1100"/>
            </a:lvl1pPr>
          </a:lstStyle>
          <a:p>
            <a:r>
              <a:rPr lang="en-US"/>
              <a:t>Click icon to add picture</a:t>
            </a:r>
          </a:p>
        </p:txBody>
      </p:sp>
      <p:sp>
        <p:nvSpPr>
          <p:cNvPr id="53" name="Picture Placeholder 52">
            <a:extLst>
              <a:ext uri="{FF2B5EF4-FFF2-40B4-BE49-F238E27FC236}">
                <a16:creationId xmlns:a16="http://schemas.microsoft.com/office/drawing/2014/main" id="{7E352738-CCEA-377C-7EE5-C2194BB27A8A}"/>
              </a:ext>
            </a:extLst>
          </p:cNvPr>
          <p:cNvSpPr>
            <a:spLocks noGrp="1" noChangeAspect="1"/>
          </p:cNvSpPr>
          <p:nvPr>
            <p:ph type="pic" sz="quarter" idx="41"/>
          </p:nvPr>
        </p:nvSpPr>
        <p:spPr>
          <a:xfrm>
            <a:off x="6096000" y="657982"/>
            <a:ext cx="1234440" cy="1234440"/>
          </a:xfrm>
          <a:custGeom>
            <a:avLst/>
            <a:gdLst>
              <a:gd name="connsiteX0" fmla="*/ 343707 w 1285591"/>
              <a:gd name="connsiteY0" fmla="*/ 0 h 1279333"/>
              <a:gd name="connsiteX1" fmla="*/ 1285591 w 1285591"/>
              <a:gd name="connsiteY1" fmla="*/ 0 h 1279333"/>
              <a:gd name="connsiteX2" fmla="*/ 1285591 w 1285591"/>
              <a:gd name="connsiteY2" fmla="*/ 1279333 h 1279333"/>
              <a:gd name="connsiteX3" fmla="*/ 0 w 1285591"/>
              <a:gd name="connsiteY3" fmla="*/ 1279333 h 1279333"/>
              <a:gd name="connsiteX4" fmla="*/ 0 w 1285591"/>
              <a:gd name="connsiteY4" fmla="*/ 342543 h 1279333"/>
              <a:gd name="connsiteX5" fmla="*/ 343707 w 1285591"/>
              <a:gd name="connsiteY5" fmla="*/ 0 h 1279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591" h="1279333">
                <a:moveTo>
                  <a:pt x="343707" y="0"/>
                </a:moveTo>
                <a:lnTo>
                  <a:pt x="1285591" y="0"/>
                </a:lnTo>
                <a:lnTo>
                  <a:pt x="1285591" y="1279333"/>
                </a:lnTo>
                <a:lnTo>
                  <a:pt x="0" y="1279333"/>
                </a:lnTo>
                <a:lnTo>
                  <a:pt x="0" y="342543"/>
                </a:lnTo>
                <a:cubicBezTo>
                  <a:pt x="0" y="153510"/>
                  <a:pt x="154032" y="0"/>
                  <a:pt x="343707" y="0"/>
                </a:cubicBezTo>
                <a:close/>
              </a:path>
            </a:pathLst>
          </a:custGeom>
          <a:solidFill>
            <a:schemeClr val="bg1">
              <a:lumMod val="95000"/>
            </a:schemeClr>
          </a:solidFill>
        </p:spPr>
        <p:txBody>
          <a:bodyPr wrap="square" anchor="ctr" anchorCtr="0">
            <a:noAutofit/>
          </a:bodyPr>
          <a:lstStyle>
            <a:lvl1pPr marL="0" indent="0" algn="ctr">
              <a:buFontTx/>
              <a:buNone/>
              <a:defRPr sz="1100"/>
            </a:lvl1pPr>
          </a:lstStyle>
          <a:p>
            <a:r>
              <a:rPr lang="en-US"/>
              <a:t>Click icon to add picture</a:t>
            </a:r>
          </a:p>
        </p:txBody>
      </p:sp>
      <p:sp>
        <p:nvSpPr>
          <p:cNvPr id="56" name="Picture Placeholder 55">
            <a:extLst>
              <a:ext uri="{FF2B5EF4-FFF2-40B4-BE49-F238E27FC236}">
                <a16:creationId xmlns:a16="http://schemas.microsoft.com/office/drawing/2014/main" id="{4F63AE57-F084-F521-C3DC-4145212B0D2B}"/>
              </a:ext>
            </a:extLst>
          </p:cNvPr>
          <p:cNvSpPr>
            <a:spLocks noGrp="1" noChangeAspect="1"/>
          </p:cNvSpPr>
          <p:nvPr>
            <p:ph type="pic" sz="quarter" idx="42"/>
          </p:nvPr>
        </p:nvSpPr>
        <p:spPr>
          <a:xfrm>
            <a:off x="10383704" y="657982"/>
            <a:ext cx="1236796" cy="1234440"/>
          </a:xfrm>
          <a:custGeom>
            <a:avLst/>
            <a:gdLst>
              <a:gd name="connsiteX0" fmla="*/ 0 w 1282476"/>
              <a:gd name="connsiteY0" fmla="*/ 0 h 1280033"/>
              <a:gd name="connsiteX1" fmla="*/ 939092 w 1282476"/>
              <a:gd name="connsiteY1" fmla="*/ 0 h 1280033"/>
              <a:gd name="connsiteX2" fmla="*/ 1282476 w 1282476"/>
              <a:gd name="connsiteY2" fmla="*/ 342221 h 1280033"/>
              <a:gd name="connsiteX3" fmla="*/ 1282476 w 1282476"/>
              <a:gd name="connsiteY3" fmla="*/ 1280033 h 1280033"/>
              <a:gd name="connsiteX4" fmla="*/ 0 w 1282476"/>
              <a:gd name="connsiteY4" fmla="*/ 1280033 h 128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2476" h="1280033">
                <a:moveTo>
                  <a:pt x="0" y="0"/>
                </a:moveTo>
                <a:lnTo>
                  <a:pt x="939092" y="0"/>
                </a:lnTo>
                <a:cubicBezTo>
                  <a:pt x="1128590" y="0"/>
                  <a:pt x="1282476" y="153366"/>
                  <a:pt x="1282476" y="342221"/>
                </a:cubicBezTo>
                <a:lnTo>
                  <a:pt x="1282476" y="1280033"/>
                </a:lnTo>
                <a:lnTo>
                  <a:pt x="0" y="1280033"/>
                </a:lnTo>
                <a:close/>
              </a:path>
            </a:pathLst>
          </a:custGeom>
          <a:solidFill>
            <a:schemeClr val="bg1">
              <a:lumMod val="95000"/>
            </a:schemeClr>
          </a:solidFill>
        </p:spPr>
        <p:txBody>
          <a:bodyPr wrap="square" anchor="ctr" anchorCtr="0">
            <a:noAutofit/>
          </a:bodyPr>
          <a:lstStyle>
            <a:lvl1pPr marL="0" indent="0" algn="ctr">
              <a:buFontTx/>
              <a:buNone/>
              <a:defRPr sz="1100"/>
            </a:lvl1pPr>
          </a:lstStyle>
          <a:p>
            <a:r>
              <a:rPr lang="en-US"/>
              <a:t>Click icon to add picture</a:t>
            </a:r>
          </a:p>
        </p:txBody>
      </p:sp>
      <p:sp>
        <p:nvSpPr>
          <p:cNvPr id="59" name="Picture Placeholder 58">
            <a:extLst>
              <a:ext uri="{FF2B5EF4-FFF2-40B4-BE49-F238E27FC236}">
                <a16:creationId xmlns:a16="http://schemas.microsoft.com/office/drawing/2014/main" id="{62760E03-11EE-0ABE-9610-12BF4284C05C}"/>
              </a:ext>
            </a:extLst>
          </p:cNvPr>
          <p:cNvSpPr>
            <a:spLocks noGrp="1"/>
          </p:cNvSpPr>
          <p:nvPr>
            <p:ph type="pic" sz="quarter" idx="43"/>
          </p:nvPr>
        </p:nvSpPr>
        <p:spPr>
          <a:xfrm>
            <a:off x="10381015" y="4939389"/>
            <a:ext cx="1234440" cy="1234440"/>
          </a:xfrm>
          <a:custGeom>
            <a:avLst/>
            <a:gdLst>
              <a:gd name="connsiteX0" fmla="*/ 0 w 1284384"/>
              <a:gd name="connsiteY0" fmla="*/ 0 h 1278132"/>
              <a:gd name="connsiteX1" fmla="*/ 1284384 w 1284384"/>
              <a:gd name="connsiteY1" fmla="*/ 0 h 1278132"/>
              <a:gd name="connsiteX2" fmla="*/ 1284384 w 1284384"/>
              <a:gd name="connsiteY2" fmla="*/ 935911 h 1278132"/>
              <a:gd name="connsiteX3" fmla="*/ 941000 w 1284384"/>
              <a:gd name="connsiteY3" fmla="*/ 1278132 h 1278132"/>
              <a:gd name="connsiteX4" fmla="*/ 0 w 1284384"/>
              <a:gd name="connsiteY4" fmla="*/ 1278132 h 1278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4384" h="1278132">
                <a:moveTo>
                  <a:pt x="0" y="0"/>
                </a:moveTo>
                <a:lnTo>
                  <a:pt x="1284384" y="0"/>
                </a:lnTo>
                <a:lnTo>
                  <a:pt x="1284384" y="935911"/>
                </a:lnTo>
                <a:cubicBezTo>
                  <a:pt x="1284384" y="1124766"/>
                  <a:pt x="1130497" y="1278132"/>
                  <a:pt x="941000" y="1278132"/>
                </a:cubicBezTo>
                <a:lnTo>
                  <a:pt x="0" y="1278132"/>
                </a:lnTo>
                <a:close/>
              </a:path>
            </a:pathLst>
          </a:custGeom>
          <a:solidFill>
            <a:schemeClr val="bg1">
              <a:lumMod val="95000"/>
            </a:schemeClr>
          </a:solidFill>
        </p:spPr>
        <p:txBody>
          <a:bodyPr wrap="square" anchor="ctr" anchorCtr="0">
            <a:noAutofit/>
          </a:bodyPr>
          <a:lstStyle>
            <a:lvl1pPr marL="0" indent="0" algn="ctr">
              <a:buFontTx/>
              <a:buNone/>
              <a:defRPr sz="1100"/>
            </a:lvl1pPr>
          </a:lstStyle>
          <a:p>
            <a:r>
              <a:rPr lang="en-US"/>
              <a:t>Click icon to add picture</a:t>
            </a:r>
          </a:p>
        </p:txBody>
      </p:sp>
      <p:sp>
        <p:nvSpPr>
          <p:cNvPr id="6" name="Picture Placeholder 19">
            <a:extLst>
              <a:ext uri="{FF2B5EF4-FFF2-40B4-BE49-F238E27FC236}">
                <a16:creationId xmlns:a16="http://schemas.microsoft.com/office/drawing/2014/main" id="{5F38EB75-DD39-3DEE-5873-3097A6A7AB11}"/>
              </a:ext>
            </a:extLst>
          </p:cNvPr>
          <p:cNvSpPr>
            <a:spLocks noGrp="1"/>
          </p:cNvSpPr>
          <p:nvPr>
            <p:ph type="pic" sz="quarter" idx="45"/>
          </p:nvPr>
        </p:nvSpPr>
        <p:spPr>
          <a:xfrm>
            <a:off x="7533423" y="3490451"/>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9" name="Picture Placeholder 19">
            <a:extLst>
              <a:ext uri="{FF2B5EF4-FFF2-40B4-BE49-F238E27FC236}">
                <a16:creationId xmlns:a16="http://schemas.microsoft.com/office/drawing/2014/main" id="{EF7323E4-4973-1369-40DD-15ACDAB4C989}"/>
              </a:ext>
            </a:extLst>
          </p:cNvPr>
          <p:cNvSpPr>
            <a:spLocks noGrp="1"/>
          </p:cNvSpPr>
          <p:nvPr>
            <p:ph type="pic" sz="quarter" idx="47"/>
          </p:nvPr>
        </p:nvSpPr>
        <p:spPr>
          <a:xfrm>
            <a:off x="8959742" y="3490451"/>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0" name="Picture Placeholder 19">
            <a:extLst>
              <a:ext uri="{FF2B5EF4-FFF2-40B4-BE49-F238E27FC236}">
                <a16:creationId xmlns:a16="http://schemas.microsoft.com/office/drawing/2014/main" id="{68BEB1C6-A5B0-C0EE-5602-154D80E42CA7}"/>
              </a:ext>
            </a:extLst>
          </p:cNvPr>
          <p:cNvSpPr>
            <a:spLocks noGrp="1"/>
          </p:cNvSpPr>
          <p:nvPr>
            <p:ph type="pic" sz="quarter" idx="48"/>
          </p:nvPr>
        </p:nvSpPr>
        <p:spPr>
          <a:xfrm>
            <a:off x="7531193" y="4939389"/>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1" name="Picture Placeholder 19">
            <a:extLst>
              <a:ext uri="{FF2B5EF4-FFF2-40B4-BE49-F238E27FC236}">
                <a16:creationId xmlns:a16="http://schemas.microsoft.com/office/drawing/2014/main" id="{C94AC62C-71AE-616E-5EDA-693BB4FC8BA6}"/>
              </a:ext>
            </a:extLst>
          </p:cNvPr>
          <p:cNvSpPr>
            <a:spLocks noGrp="1"/>
          </p:cNvSpPr>
          <p:nvPr>
            <p:ph type="pic" sz="quarter" idx="49"/>
          </p:nvPr>
        </p:nvSpPr>
        <p:spPr>
          <a:xfrm>
            <a:off x="8956104" y="4939389"/>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2" name="Picture Placeholder 19">
            <a:extLst>
              <a:ext uri="{FF2B5EF4-FFF2-40B4-BE49-F238E27FC236}">
                <a16:creationId xmlns:a16="http://schemas.microsoft.com/office/drawing/2014/main" id="{4E4189E0-8169-D501-8BFE-75E033E82B99}"/>
              </a:ext>
            </a:extLst>
          </p:cNvPr>
          <p:cNvSpPr>
            <a:spLocks noGrp="1"/>
          </p:cNvSpPr>
          <p:nvPr>
            <p:ph type="pic" sz="quarter" idx="50"/>
          </p:nvPr>
        </p:nvSpPr>
        <p:spPr>
          <a:xfrm>
            <a:off x="10386060" y="3490451"/>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3" name="Picture Placeholder 19">
            <a:extLst>
              <a:ext uri="{FF2B5EF4-FFF2-40B4-BE49-F238E27FC236}">
                <a16:creationId xmlns:a16="http://schemas.microsoft.com/office/drawing/2014/main" id="{4B44E731-DB0B-B389-430A-FF606AFC2838}"/>
              </a:ext>
            </a:extLst>
          </p:cNvPr>
          <p:cNvSpPr>
            <a:spLocks noGrp="1"/>
          </p:cNvSpPr>
          <p:nvPr>
            <p:ph type="pic" sz="quarter" idx="51"/>
          </p:nvPr>
        </p:nvSpPr>
        <p:spPr>
          <a:xfrm>
            <a:off x="6104874" y="2069994"/>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4" name="Picture Placeholder 19">
            <a:extLst>
              <a:ext uri="{FF2B5EF4-FFF2-40B4-BE49-F238E27FC236}">
                <a16:creationId xmlns:a16="http://schemas.microsoft.com/office/drawing/2014/main" id="{ADDB60D8-AC3F-C0A2-1324-985BA6266B14}"/>
              </a:ext>
            </a:extLst>
          </p:cNvPr>
          <p:cNvSpPr>
            <a:spLocks noGrp="1"/>
          </p:cNvSpPr>
          <p:nvPr>
            <p:ph type="pic" sz="quarter" idx="52"/>
          </p:nvPr>
        </p:nvSpPr>
        <p:spPr>
          <a:xfrm>
            <a:off x="7531193" y="2069994"/>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5" name="Picture Placeholder 19">
            <a:extLst>
              <a:ext uri="{FF2B5EF4-FFF2-40B4-BE49-F238E27FC236}">
                <a16:creationId xmlns:a16="http://schemas.microsoft.com/office/drawing/2014/main" id="{92BE5137-D889-6E29-7602-C9E387395E61}"/>
              </a:ext>
            </a:extLst>
          </p:cNvPr>
          <p:cNvSpPr>
            <a:spLocks noGrp="1"/>
          </p:cNvSpPr>
          <p:nvPr>
            <p:ph type="pic" sz="quarter" idx="53"/>
          </p:nvPr>
        </p:nvSpPr>
        <p:spPr>
          <a:xfrm>
            <a:off x="8957512" y="2069994"/>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6" name="Picture Placeholder 19">
            <a:extLst>
              <a:ext uri="{FF2B5EF4-FFF2-40B4-BE49-F238E27FC236}">
                <a16:creationId xmlns:a16="http://schemas.microsoft.com/office/drawing/2014/main" id="{A52B3EEA-747F-ECD2-655A-4937595848E1}"/>
              </a:ext>
            </a:extLst>
          </p:cNvPr>
          <p:cNvSpPr>
            <a:spLocks noGrp="1"/>
          </p:cNvSpPr>
          <p:nvPr>
            <p:ph type="pic" sz="quarter" idx="54"/>
          </p:nvPr>
        </p:nvSpPr>
        <p:spPr>
          <a:xfrm>
            <a:off x="10383830" y="2069994"/>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7" name="Picture Placeholder 19">
            <a:extLst>
              <a:ext uri="{FF2B5EF4-FFF2-40B4-BE49-F238E27FC236}">
                <a16:creationId xmlns:a16="http://schemas.microsoft.com/office/drawing/2014/main" id="{4B9997B1-297B-1B94-5959-8A6713222B51}"/>
              </a:ext>
            </a:extLst>
          </p:cNvPr>
          <p:cNvSpPr>
            <a:spLocks noGrp="1"/>
          </p:cNvSpPr>
          <p:nvPr>
            <p:ph type="pic" sz="quarter" idx="55"/>
          </p:nvPr>
        </p:nvSpPr>
        <p:spPr>
          <a:xfrm>
            <a:off x="7529785" y="657982"/>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8" name="Picture Placeholder 19">
            <a:extLst>
              <a:ext uri="{FF2B5EF4-FFF2-40B4-BE49-F238E27FC236}">
                <a16:creationId xmlns:a16="http://schemas.microsoft.com/office/drawing/2014/main" id="{71B6DB5B-FB7F-BEA4-25A7-1069DDD5E95D}"/>
              </a:ext>
            </a:extLst>
          </p:cNvPr>
          <p:cNvSpPr>
            <a:spLocks noGrp="1"/>
          </p:cNvSpPr>
          <p:nvPr>
            <p:ph type="pic" sz="quarter" idx="56"/>
          </p:nvPr>
        </p:nvSpPr>
        <p:spPr>
          <a:xfrm>
            <a:off x="8956104" y="657982"/>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36" name="Text Placeholder 6">
            <a:extLst>
              <a:ext uri="{FF2B5EF4-FFF2-40B4-BE49-F238E27FC236}">
                <a16:creationId xmlns:a16="http://schemas.microsoft.com/office/drawing/2014/main" id="{1C4E14E9-D7E4-B3F5-BB27-56A17BB2A046}"/>
              </a:ext>
            </a:extLst>
          </p:cNvPr>
          <p:cNvSpPr>
            <a:spLocks noGrp="1"/>
          </p:cNvSpPr>
          <p:nvPr>
            <p:ph type="body" sz="quarter" idx="29" hasCustomPrompt="1"/>
          </p:nvPr>
        </p:nvSpPr>
        <p:spPr>
          <a:xfrm>
            <a:off x="585500" y="291579"/>
            <a:ext cx="5274981"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37" name="Content Placeholder 10">
            <a:extLst>
              <a:ext uri="{FF2B5EF4-FFF2-40B4-BE49-F238E27FC236}">
                <a16:creationId xmlns:a16="http://schemas.microsoft.com/office/drawing/2014/main" id="{4E55E947-F384-3B40-B72E-99A642221100}"/>
              </a:ext>
            </a:extLst>
          </p:cNvPr>
          <p:cNvSpPr>
            <a:spLocks noGrp="1"/>
          </p:cNvSpPr>
          <p:nvPr>
            <p:ph sz="quarter" idx="30" hasCustomPrompt="1"/>
          </p:nvPr>
        </p:nvSpPr>
        <p:spPr>
          <a:xfrm>
            <a:off x="585788" y="1588957"/>
            <a:ext cx="5274693" cy="4583243"/>
          </a:xfrm>
          <a:prstGeom prst="rect">
            <a:avLst/>
          </a:prstGeom>
        </p:spPr>
        <p:txBody>
          <a:bodyPr/>
          <a:lstStyle>
            <a:lvl1pPr marL="0" indent="0">
              <a:buFont typeface="Wingdings" pitchFamily="2" charset="2"/>
              <a:buNone/>
              <a:defRPr sz="1800">
                <a:latin typeface="Aptos" panose="020B0004020202020204" pitchFamily="34" charset="0"/>
              </a:defRPr>
            </a:lvl1pPr>
            <a:lvl2pPr marL="457200" indent="0">
              <a:buFont typeface="Wingdings" pitchFamily="2" charset="2"/>
              <a:buNone/>
              <a:defRPr sz="1800">
                <a:latin typeface="Aptos" panose="020B0004020202020204" pitchFamily="34" charset="0"/>
              </a:defRPr>
            </a:lvl2pPr>
            <a:lvl3pPr marL="914400" indent="0">
              <a:buFont typeface="Wingdings" pitchFamily="2" charset="2"/>
              <a:buNone/>
              <a:defRPr sz="1800">
                <a:latin typeface="Aptos" panose="020B0004020202020204" pitchFamily="34" charset="0"/>
              </a:defRPr>
            </a:lvl3pPr>
            <a:lvl4pPr marL="1371600" indent="0">
              <a:buNone/>
              <a:defRPr sz="1800">
                <a:latin typeface="Aptos" panose="020B0004020202020204" pitchFamily="34" charset="0"/>
              </a:defRPr>
            </a:lvl4pPr>
            <a:lvl5pPr marL="1828800" indent="0">
              <a:buFont typeface="Arial" panose="020B0604020202020204" pitchFamily="34" charset="0"/>
              <a:buNone/>
              <a:defRPr sz="1800">
                <a:latin typeface="Aptos" panose="020B0004020202020204" pitchFamily="34" charset="0"/>
              </a:defRPr>
            </a:lvl5pPr>
          </a:lstStyle>
          <a:p>
            <a:pPr lvl="0"/>
            <a:r>
              <a:rPr lang="en-US"/>
              <a:t>Text</a:t>
            </a:r>
          </a:p>
        </p:txBody>
      </p:sp>
      <p:sp>
        <p:nvSpPr>
          <p:cNvPr id="2" name="Text Placeholder 11">
            <a:extLst>
              <a:ext uri="{FF2B5EF4-FFF2-40B4-BE49-F238E27FC236}">
                <a16:creationId xmlns:a16="http://schemas.microsoft.com/office/drawing/2014/main" id="{F1C46EC7-1258-0FFF-0AD7-31CA8F65849C}"/>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123989029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Org chart_dotted">
    <p:spTree>
      <p:nvGrpSpPr>
        <p:cNvPr id="1" name=""/>
        <p:cNvGrpSpPr/>
        <p:nvPr/>
      </p:nvGrpSpPr>
      <p:grpSpPr>
        <a:xfrm>
          <a:off x="0" y="0"/>
          <a:ext cx="0" cy="0"/>
          <a:chOff x="0" y="0"/>
          <a:chExt cx="0" cy="0"/>
        </a:xfrm>
      </p:grpSpPr>
      <p:sp>
        <p:nvSpPr>
          <p:cNvPr id="41" name="Picture Placeholder 37"/>
          <p:cNvSpPr>
            <a:spLocks noGrp="1"/>
          </p:cNvSpPr>
          <p:nvPr>
            <p:ph type="pic" sz="quarter" idx="30"/>
          </p:nvPr>
        </p:nvSpPr>
        <p:spPr>
          <a:xfrm>
            <a:off x="5523222"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42" name="Picture Placeholder 37"/>
          <p:cNvSpPr>
            <a:spLocks noGrp="1"/>
          </p:cNvSpPr>
          <p:nvPr>
            <p:ph type="pic" sz="quarter" idx="31"/>
          </p:nvPr>
        </p:nvSpPr>
        <p:spPr>
          <a:xfrm>
            <a:off x="7447215"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43" name="Picture Placeholder 37"/>
          <p:cNvSpPr>
            <a:spLocks noGrp="1"/>
          </p:cNvSpPr>
          <p:nvPr>
            <p:ph type="pic" sz="quarter" idx="32"/>
          </p:nvPr>
        </p:nvSpPr>
        <p:spPr>
          <a:xfrm>
            <a:off x="9418174"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9" name="Text Placeholder 3"/>
          <p:cNvSpPr>
            <a:spLocks noGrp="1"/>
          </p:cNvSpPr>
          <p:nvPr>
            <p:ph type="body" sz="quarter" idx="46" hasCustomPrompt="1"/>
          </p:nvPr>
        </p:nvSpPr>
        <p:spPr>
          <a:xfrm>
            <a:off x="9285412" y="3143908"/>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30" name="Text Placeholder 3"/>
          <p:cNvSpPr>
            <a:spLocks noGrp="1"/>
          </p:cNvSpPr>
          <p:nvPr>
            <p:ph type="body" sz="quarter" idx="47" hasCustomPrompt="1"/>
          </p:nvPr>
        </p:nvSpPr>
        <p:spPr>
          <a:xfrm>
            <a:off x="9285412" y="3328554"/>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6" name="Text Placeholder 3">
            <a:extLst>
              <a:ext uri="{FF2B5EF4-FFF2-40B4-BE49-F238E27FC236}">
                <a16:creationId xmlns:a16="http://schemas.microsoft.com/office/drawing/2014/main" id="{02024F27-B01F-DEB4-FC44-F947335D1B53}"/>
              </a:ext>
            </a:extLst>
          </p:cNvPr>
          <p:cNvSpPr>
            <a:spLocks noGrp="1"/>
          </p:cNvSpPr>
          <p:nvPr>
            <p:ph type="body" sz="quarter" idx="64" hasCustomPrompt="1"/>
          </p:nvPr>
        </p:nvSpPr>
        <p:spPr>
          <a:xfrm>
            <a:off x="7314453" y="3143908"/>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7" name="Text Placeholder 3">
            <a:extLst>
              <a:ext uri="{FF2B5EF4-FFF2-40B4-BE49-F238E27FC236}">
                <a16:creationId xmlns:a16="http://schemas.microsoft.com/office/drawing/2014/main" id="{A4BE195B-D1AD-9B5C-992E-E5A3B36195EF}"/>
              </a:ext>
            </a:extLst>
          </p:cNvPr>
          <p:cNvSpPr>
            <a:spLocks noGrp="1"/>
          </p:cNvSpPr>
          <p:nvPr>
            <p:ph type="body" sz="quarter" idx="65" hasCustomPrompt="1"/>
          </p:nvPr>
        </p:nvSpPr>
        <p:spPr>
          <a:xfrm>
            <a:off x="7314453" y="3328554"/>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8" name="Text Placeholder 3">
            <a:extLst>
              <a:ext uri="{FF2B5EF4-FFF2-40B4-BE49-F238E27FC236}">
                <a16:creationId xmlns:a16="http://schemas.microsoft.com/office/drawing/2014/main" id="{812886F4-8070-C3C5-C58A-EA3D3405C212}"/>
              </a:ext>
            </a:extLst>
          </p:cNvPr>
          <p:cNvSpPr>
            <a:spLocks noGrp="1"/>
          </p:cNvSpPr>
          <p:nvPr>
            <p:ph type="body" sz="quarter" idx="66" hasCustomPrompt="1"/>
          </p:nvPr>
        </p:nvSpPr>
        <p:spPr>
          <a:xfrm>
            <a:off x="5390460" y="3143908"/>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9" name="Text Placeholder 3">
            <a:extLst>
              <a:ext uri="{FF2B5EF4-FFF2-40B4-BE49-F238E27FC236}">
                <a16:creationId xmlns:a16="http://schemas.microsoft.com/office/drawing/2014/main" id="{18A40408-06EE-9C0D-A5E7-23B79FAE9D40}"/>
              </a:ext>
            </a:extLst>
          </p:cNvPr>
          <p:cNvSpPr>
            <a:spLocks noGrp="1"/>
          </p:cNvSpPr>
          <p:nvPr>
            <p:ph type="body" sz="quarter" idx="67" hasCustomPrompt="1"/>
          </p:nvPr>
        </p:nvSpPr>
        <p:spPr>
          <a:xfrm>
            <a:off x="5390460" y="3328554"/>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20" name="Picture Placeholder 37">
            <a:extLst>
              <a:ext uri="{FF2B5EF4-FFF2-40B4-BE49-F238E27FC236}">
                <a16:creationId xmlns:a16="http://schemas.microsoft.com/office/drawing/2014/main" id="{9AC2581B-43FC-C3D6-85EB-90C68FCE50F7}"/>
              </a:ext>
            </a:extLst>
          </p:cNvPr>
          <p:cNvSpPr>
            <a:spLocks noGrp="1"/>
          </p:cNvSpPr>
          <p:nvPr>
            <p:ph type="pic" sz="quarter" idx="68"/>
          </p:nvPr>
        </p:nvSpPr>
        <p:spPr>
          <a:xfrm>
            <a:off x="5523222"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1" name="Picture Placeholder 37">
            <a:extLst>
              <a:ext uri="{FF2B5EF4-FFF2-40B4-BE49-F238E27FC236}">
                <a16:creationId xmlns:a16="http://schemas.microsoft.com/office/drawing/2014/main" id="{E0CCF41D-CC54-D5A1-879E-7E6FF5695E0F}"/>
              </a:ext>
            </a:extLst>
          </p:cNvPr>
          <p:cNvSpPr>
            <a:spLocks noGrp="1"/>
          </p:cNvSpPr>
          <p:nvPr>
            <p:ph type="pic" sz="quarter" idx="69"/>
          </p:nvPr>
        </p:nvSpPr>
        <p:spPr>
          <a:xfrm>
            <a:off x="7447215"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50" name="Picture Placeholder 37">
            <a:extLst>
              <a:ext uri="{FF2B5EF4-FFF2-40B4-BE49-F238E27FC236}">
                <a16:creationId xmlns:a16="http://schemas.microsoft.com/office/drawing/2014/main" id="{0DC88914-5A4B-6B2E-5752-BD008A4D1812}"/>
              </a:ext>
            </a:extLst>
          </p:cNvPr>
          <p:cNvSpPr>
            <a:spLocks noGrp="1"/>
          </p:cNvSpPr>
          <p:nvPr>
            <p:ph type="pic" sz="quarter" idx="70"/>
          </p:nvPr>
        </p:nvSpPr>
        <p:spPr>
          <a:xfrm>
            <a:off x="9418174"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51" name="Text Placeholder 3">
            <a:extLst>
              <a:ext uri="{FF2B5EF4-FFF2-40B4-BE49-F238E27FC236}">
                <a16:creationId xmlns:a16="http://schemas.microsoft.com/office/drawing/2014/main" id="{0E62500F-3C93-00CE-01EE-04932AC79217}"/>
              </a:ext>
            </a:extLst>
          </p:cNvPr>
          <p:cNvSpPr>
            <a:spLocks noGrp="1"/>
          </p:cNvSpPr>
          <p:nvPr>
            <p:ph type="body" sz="quarter" idx="71" hasCustomPrompt="1"/>
          </p:nvPr>
        </p:nvSpPr>
        <p:spPr>
          <a:xfrm>
            <a:off x="9285412" y="469011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52" name="Text Placeholder 3">
            <a:extLst>
              <a:ext uri="{FF2B5EF4-FFF2-40B4-BE49-F238E27FC236}">
                <a16:creationId xmlns:a16="http://schemas.microsoft.com/office/drawing/2014/main" id="{3BFC658A-09FA-94DF-C900-834ECDDB1384}"/>
              </a:ext>
            </a:extLst>
          </p:cNvPr>
          <p:cNvSpPr>
            <a:spLocks noGrp="1"/>
          </p:cNvSpPr>
          <p:nvPr>
            <p:ph type="body" sz="quarter" idx="72" hasCustomPrompt="1"/>
          </p:nvPr>
        </p:nvSpPr>
        <p:spPr>
          <a:xfrm>
            <a:off x="9285412" y="487476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53" name="Text Placeholder 3">
            <a:extLst>
              <a:ext uri="{FF2B5EF4-FFF2-40B4-BE49-F238E27FC236}">
                <a16:creationId xmlns:a16="http://schemas.microsoft.com/office/drawing/2014/main" id="{EB607FC9-161D-F952-6448-9C7B1E794593}"/>
              </a:ext>
            </a:extLst>
          </p:cNvPr>
          <p:cNvSpPr>
            <a:spLocks noGrp="1"/>
          </p:cNvSpPr>
          <p:nvPr>
            <p:ph type="body" sz="quarter" idx="73" hasCustomPrompt="1"/>
          </p:nvPr>
        </p:nvSpPr>
        <p:spPr>
          <a:xfrm>
            <a:off x="7314453" y="469011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59" name="Text Placeholder 3">
            <a:extLst>
              <a:ext uri="{FF2B5EF4-FFF2-40B4-BE49-F238E27FC236}">
                <a16:creationId xmlns:a16="http://schemas.microsoft.com/office/drawing/2014/main" id="{4E929D35-1F70-14F7-2799-6D3288AC5FD4}"/>
              </a:ext>
            </a:extLst>
          </p:cNvPr>
          <p:cNvSpPr>
            <a:spLocks noGrp="1"/>
          </p:cNvSpPr>
          <p:nvPr>
            <p:ph type="body" sz="quarter" idx="74" hasCustomPrompt="1"/>
          </p:nvPr>
        </p:nvSpPr>
        <p:spPr>
          <a:xfrm>
            <a:off x="7314453" y="487476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0" name="Text Placeholder 3">
            <a:extLst>
              <a:ext uri="{FF2B5EF4-FFF2-40B4-BE49-F238E27FC236}">
                <a16:creationId xmlns:a16="http://schemas.microsoft.com/office/drawing/2014/main" id="{FE706F17-22DD-F65B-2B67-69E134D743F9}"/>
              </a:ext>
            </a:extLst>
          </p:cNvPr>
          <p:cNvSpPr>
            <a:spLocks noGrp="1"/>
          </p:cNvSpPr>
          <p:nvPr>
            <p:ph type="body" sz="quarter" idx="75" hasCustomPrompt="1"/>
          </p:nvPr>
        </p:nvSpPr>
        <p:spPr>
          <a:xfrm>
            <a:off x="5390460" y="469011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1" name="Text Placeholder 3">
            <a:extLst>
              <a:ext uri="{FF2B5EF4-FFF2-40B4-BE49-F238E27FC236}">
                <a16:creationId xmlns:a16="http://schemas.microsoft.com/office/drawing/2014/main" id="{56B16C58-DCF6-D7E5-01E7-723A157ADFF3}"/>
              </a:ext>
            </a:extLst>
          </p:cNvPr>
          <p:cNvSpPr>
            <a:spLocks noGrp="1"/>
          </p:cNvSpPr>
          <p:nvPr>
            <p:ph type="body" sz="quarter" idx="76" hasCustomPrompt="1"/>
          </p:nvPr>
        </p:nvSpPr>
        <p:spPr>
          <a:xfrm>
            <a:off x="5390460" y="487476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2" name="Picture Placeholder 37">
            <a:extLst>
              <a:ext uri="{FF2B5EF4-FFF2-40B4-BE49-F238E27FC236}">
                <a16:creationId xmlns:a16="http://schemas.microsoft.com/office/drawing/2014/main" id="{E761584E-F034-FF2F-47C5-D68C29D10BEE}"/>
              </a:ext>
            </a:extLst>
          </p:cNvPr>
          <p:cNvSpPr>
            <a:spLocks noGrp="1"/>
          </p:cNvSpPr>
          <p:nvPr>
            <p:ph type="pic" sz="quarter" idx="77"/>
          </p:nvPr>
        </p:nvSpPr>
        <p:spPr>
          <a:xfrm>
            <a:off x="1650041"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3" name="Picture Placeholder 37">
            <a:extLst>
              <a:ext uri="{FF2B5EF4-FFF2-40B4-BE49-F238E27FC236}">
                <a16:creationId xmlns:a16="http://schemas.microsoft.com/office/drawing/2014/main" id="{8F8DF60D-B37A-45A0-98E5-FB19836CAA24}"/>
              </a:ext>
            </a:extLst>
          </p:cNvPr>
          <p:cNvSpPr>
            <a:spLocks noGrp="1"/>
          </p:cNvSpPr>
          <p:nvPr>
            <p:ph type="pic" sz="quarter" idx="78"/>
          </p:nvPr>
        </p:nvSpPr>
        <p:spPr>
          <a:xfrm>
            <a:off x="3574034"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4" name="Text Placeholder 3">
            <a:extLst>
              <a:ext uri="{FF2B5EF4-FFF2-40B4-BE49-F238E27FC236}">
                <a16:creationId xmlns:a16="http://schemas.microsoft.com/office/drawing/2014/main" id="{755FC9DA-D986-A865-B423-CFB578D5433C}"/>
              </a:ext>
            </a:extLst>
          </p:cNvPr>
          <p:cNvSpPr>
            <a:spLocks noGrp="1"/>
          </p:cNvSpPr>
          <p:nvPr>
            <p:ph type="body" sz="quarter" idx="79" hasCustomPrompt="1"/>
          </p:nvPr>
        </p:nvSpPr>
        <p:spPr>
          <a:xfrm>
            <a:off x="3441272" y="3143908"/>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5" name="Text Placeholder 3">
            <a:extLst>
              <a:ext uri="{FF2B5EF4-FFF2-40B4-BE49-F238E27FC236}">
                <a16:creationId xmlns:a16="http://schemas.microsoft.com/office/drawing/2014/main" id="{205B0A66-3484-5236-4108-0E4FC84DB04F}"/>
              </a:ext>
            </a:extLst>
          </p:cNvPr>
          <p:cNvSpPr>
            <a:spLocks noGrp="1"/>
          </p:cNvSpPr>
          <p:nvPr>
            <p:ph type="body" sz="quarter" idx="80" hasCustomPrompt="1"/>
          </p:nvPr>
        </p:nvSpPr>
        <p:spPr>
          <a:xfrm>
            <a:off x="3441272" y="3328554"/>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6" name="Text Placeholder 3">
            <a:extLst>
              <a:ext uri="{FF2B5EF4-FFF2-40B4-BE49-F238E27FC236}">
                <a16:creationId xmlns:a16="http://schemas.microsoft.com/office/drawing/2014/main" id="{A00F35F9-52A0-70F9-D571-256BA020CCA9}"/>
              </a:ext>
            </a:extLst>
          </p:cNvPr>
          <p:cNvSpPr>
            <a:spLocks noGrp="1"/>
          </p:cNvSpPr>
          <p:nvPr>
            <p:ph type="body" sz="quarter" idx="81" hasCustomPrompt="1"/>
          </p:nvPr>
        </p:nvSpPr>
        <p:spPr>
          <a:xfrm>
            <a:off x="1517279" y="3143908"/>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7" name="Text Placeholder 3">
            <a:extLst>
              <a:ext uri="{FF2B5EF4-FFF2-40B4-BE49-F238E27FC236}">
                <a16:creationId xmlns:a16="http://schemas.microsoft.com/office/drawing/2014/main" id="{A3C36D21-9C63-EE18-73DC-4883596E876F}"/>
              </a:ext>
            </a:extLst>
          </p:cNvPr>
          <p:cNvSpPr>
            <a:spLocks noGrp="1"/>
          </p:cNvSpPr>
          <p:nvPr>
            <p:ph type="body" sz="quarter" idx="82" hasCustomPrompt="1"/>
          </p:nvPr>
        </p:nvSpPr>
        <p:spPr>
          <a:xfrm>
            <a:off x="1517279" y="3328554"/>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8" name="Picture Placeholder 37">
            <a:extLst>
              <a:ext uri="{FF2B5EF4-FFF2-40B4-BE49-F238E27FC236}">
                <a16:creationId xmlns:a16="http://schemas.microsoft.com/office/drawing/2014/main" id="{368CA624-5D3A-8A9B-E0A9-D823C1014D3C}"/>
              </a:ext>
            </a:extLst>
          </p:cNvPr>
          <p:cNvSpPr>
            <a:spLocks noGrp="1"/>
          </p:cNvSpPr>
          <p:nvPr>
            <p:ph type="pic" sz="quarter" idx="83"/>
          </p:nvPr>
        </p:nvSpPr>
        <p:spPr>
          <a:xfrm>
            <a:off x="1650041"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9" name="Picture Placeholder 37">
            <a:extLst>
              <a:ext uri="{FF2B5EF4-FFF2-40B4-BE49-F238E27FC236}">
                <a16:creationId xmlns:a16="http://schemas.microsoft.com/office/drawing/2014/main" id="{0192DC39-CAE8-EC2C-0992-71329FFE899B}"/>
              </a:ext>
            </a:extLst>
          </p:cNvPr>
          <p:cNvSpPr>
            <a:spLocks noGrp="1"/>
          </p:cNvSpPr>
          <p:nvPr>
            <p:ph type="pic" sz="quarter" idx="84"/>
          </p:nvPr>
        </p:nvSpPr>
        <p:spPr>
          <a:xfrm>
            <a:off x="3574034"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0" name="Text Placeholder 3">
            <a:extLst>
              <a:ext uri="{FF2B5EF4-FFF2-40B4-BE49-F238E27FC236}">
                <a16:creationId xmlns:a16="http://schemas.microsoft.com/office/drawing/2014/main" id="{61431323-D03A-F2B1-7E80-BBFE1756E166}"/>
              </a:ext>
            </a:extLst>
          </p:cNvPr>
          <p:cNvSpPr>
            <a:spLocks noGrp="1"/>
          </p:cNvSpPr>
          <p:nvPr>
            <p:ph type="body" sz="quarter" idx="85" hasCustomPrompt="1"/>
          </p:nvPr>
        </p:nvSpPr>
        <p:spPr>
          <a:xfrm>
            <a:off x="3441272" y="469011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1" name="Text Placeholder 3">
            <a:extLst>
              <a:ext uri="{FF2B5EF4-FFF2-40B4-BE49-F238E27FC236}">
                <a16:creationId xmlns:a16="http://schemas.microsoft.com/office/drawing/2014/main" id="{7DC2EEAD-03B0-F109-B0EE-C3264EDEDECA}"/>
              </a:ext>
            </a:extLst>
          </p:cNvPr>
          <p:cNvSpPr>
            <a:spLocks noGrp="1"/>
          </p:cNvSpPr>
          <p:nvPr>
            <p:ph type="body" sz="quarter" idx="86" hasCustomPrompt="1"/>
          </p:nvPr>
        </p:nvSpPr>
        <p:spPr>
          <a:xfrm>
            <a:off x="3441272" y="487476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2" name="Text Placeholder 3">
            <a:extLst>
              <a:ext uri="{FF2B5EF4-FFF2-40B4-BE49-F238E27FC236}">
                <a16:creationId xmlns:a16="http://schemas.microsoft.com/office/drawing/2014/main" id="{5523783E-079F-D072-5504-3A335481357C}"/>
              </a:ext>
            </a:extLst>
          </p:cNvPr>
          <p:cNvSpPr>
            <a:spLocks noGrp="1"/>
          </p:cNvSpPr>
          <p:nvPr>
            <p:ph type="body" sz="quarter" idx="87" hasCustomPrompt="1"/>
          </p:nvPr>
        </p:nvSpPr>
        <p:spPr>
          <a:xfrm>
            <a:off x="1517279" y="469011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3" name="Text Placeholder 3">
            <a:extLst>
              <a:ext uri="{FF2B5EF4-FFF2-40B4-BE49-F238E27FC236}">
                <a16:creationId xmlns:a16="http://schemas.microsoft.com/office/drawing/2014/main" id="{100DD2B6-88EC-C197-8614-11050742054F}"/>
              </a:ext>
            </a:extLst>
          </p:cNvPr>
          <p:cNvSpPr>
            <a:spLocks noGrp="1"/>
          </p:cNvSpPr>
          <p:nvPr>
            <p:ph type="body" sz="quarter" idx="88" hasCustomPrompt="1"/>
          </p:nvPr>
        </p:nvSpPr>
        <p:spPr>
          <a:xfrm>
            <a:off x="1517279" y="487476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4" name="Picture Placeholder 37">
            <a:extLst>
              <a:ext uri="{FF2B5EF4-FFF2-40B4-BE49-F238E27FC236}">
                <a16:creationId xmlns:a16="http://schemas.microsoft.com/office/drawing/2014/main" id="{2E5AFB2E-04FF-E7B0-986D-85A32573E7C6}"/>
              </a:ext>
            </a:extLst>
          </p:cNvPr>
          <p:cNvSpPr>
            <a:spLocks noGrp="1"/>
          </p:cNvSpPr>
          <p:nvPr>
            <p:ph type="pic" sz="quarter" idx="89"/>
          </p:nvPr>
        </p:nvSpPr>
        <p:spPr>
          <a:xfrm>
            <a:off x="4557103" y="419978"/>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5" name="Text Placeholder 3">
            <a:extLst>
              <a:ext uri="{FF2B5EF4-FFF2-40B4-BE49-F238E27FC236}">
                <a16:creationId xmlns:a16="http://schemas.microsoft.com/office/drawing/2014/main" id="{DDDE4121-049E-D64B-09D3-E867D511B33D}"/>
              </a:ext>
            </a:extLst>
          </p:cNvPr>
          <p:cNvSpPr>
            <a:spLocks noGrp="1"/>
          </p:cNvSpPr>
          <p:nvPr>
            <p:ph type="body" sz="quarter" idx="90" hasCustomPrompt="1"/>
          </p:nvPr>
        </p:nvSpPr>
        <p:spPr>
          <a:xfrm>
            <a:off x="4424341" y="1459193"/>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6" name="Text Placeholder 3">
            <a:extLst>
              <a:ext uri="{FF2B5EF4-FFF2-40B4-BE49-F238E27FC236}">
                <a16:creationId xmlns:a16="http://schemas.microsoft.com/office/drawing/2014/main" id="{4F283B26-FBB9-B1E1-2573-CB828A9A4CE9}"/>
              </a:ext>
            </a:extLst>
          </p:cNvPr>
          <p:cNvSpPr>
            <a:spLocks noGrp="1"/>
          </p:cNvSpPr>
          <p:nvPr>
            <p:ph type="body" sz="quarter" idx="91" hasCustomPrompt="1"/>
          </p:nvPr>
        </p:nvSpPr>
        <p:spPr>
          <a:xfrm>
            <a:off x="4424341" y="1643839"/>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7" name="Picture Placeholder 37">
            <a:extLst>
              <a:ext uri="{FF2B5EF4-FFF2-40B4-BE49-F238E27FC236}">
                <a16:creationId xmlns:a16="http://schemas.microsoft.com/office/drawing/2014/main" id="{55AE4B37-9099-32BB-9512-69220CD47C8C}"/>
              </a:ext>
            </a:extLst>
          </p:cNvPr>
          <p:cNvSpPr>
            <a:spLocks noGrp="1"/>
          </p:cNvSpPr>
          <p:nvPr>
            <p:ph type="pic" sz="quarter" idx="92"/>
          </p:nvPr>
        </p:nvSpPr>
        <p:spPr>
          <a:xfrm>
            <a:off x="6477381" y="419978"/>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8" name="Text Placeholder 3">
            <a:extLst>
              <a:ext uri="{FF2B5EF4-FFF2-40B4-BE49-F238E27FC236}">
                <a16:creationId xmlns:a16="http://schemas.microsoft.com/office/drawing/2014/main" id="{F8F2EB86-1DE6-E887-8610-9CF92E5F78DD}"/>
              </a:ext>
            </a:extLst>
          </p:cNvPr>
          <p:cNvSpPr>
            <a:spLocks noGrp="1"/>
          </p:cNvSpPr>
          <p:nvPr>
            <p:ph type="body" sz="quarter" idx="93" hasCustomPrompt="1"/>
          </p:nvPr>
        </p:nvSpPr>
        <p:spPr>
          <a:xfrm>
            <a:off x="6344619" y="1459193"/>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9" name="Text Placeholder 3">
            <a:extLst>
              <a:ext uri="{FF2B5EF4-FFF2-40B4-BE49-F238E27FC236}">
                <a16:creationId xmlns:a16="http://schemas.microsoft.com/office/drawing/2014/main" id="{038FA23B-3C5C-91CF-85ED-3CBAE530D786}"/>
              </a:ext>
            </a:extLst>
          </p:cNvPr>
          <p:cNvSpPr>
            <a:spLocks noGrp="1"/>
          </p:cNvSpPr>
          <p:nvPr>
            <p:ph type="body" sz="quarter" idx="94" hasCustomPrompt="1"/>
          </p:nvPr>
        </p:nvSpPr>
        <p:spPr>
          <a:xfrm>
            <a:off x="6344619" y="1643839"/>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cxnSp>
        <p:nvCxnSpPr>
          <p:cNvPr id="81" name="Straight Connector 80">
            <a:extLst>
              <a:ext uri="{FF2B5EF4-FFF2-40B4-BE49-F238E27FC236}">
                <a16:creationId xmlns:a16="http://schemas.microsoft.com/office/drawing/2014/main" id="{DCDAD881-E7F4-D662-E9E1-388A55CF3DA0}"/>
              </a:ext>
            </a:extLst>
          </p:cNvPr>
          <p:cNvCxnSpPr>
            <a:cxnSpLocks/>
          </p:cNvCxnSpPr>
          <p:nvPr userDrawn="1"/>
        </p:nvCxnSpPr>
        <p:spPr>
          <a:xfrm>
            <a:off x="5559662" y="852503"/>
            <a:ext cx="8056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Picture Placeholder 37">
            <a:extLst>
              <a:ext uri="{FF2B5EF4-FFF2-40B4-BE49-F238E27FC236}">
                <a16:creationId xmlns:a16="http://schemas.microsoft.com/office/drawing/2014/main" id="{46A8033F-38CC-0D18-5733-377462DA8E28}"/>
              </a:ext>
            </a:extLst>
          </p:cNvPr>
          <p:cNvSpPr>
            <a:spLocks noGrp="1"/>
          </p:cNvSpPr>
          <p:nvPr>
            <p:ph type="pic" sz="quarter" idx="95"/>
          </p:nvPr>
        </p:nvSpPr>
        <p:spPr>
          <a:xfrm>
            <a:off x="5523222" y="5268336"/>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3" name="Picture Placeholder 37">
            <a:extLst>
              <a:ext uri="{FF2B5EF4-FFF2-40B4-BE49-F238E27FC236}">
                <a16:creationId xmlns:a16="http://schemas.microsoft.com/office/drawing/2014/main" id="{D93B6E66-AB2E-CE0A-7E6D-3C2147B5C892}"/>
              </a:ext>
            </a:extLst>
          </p:cNvPr>
          <p:cNvSpPr>
            <a:spLocks noGrp="1"/>
          </p:cNvSpPr>
          <p:nvPr>
            <p:ph type="pic" sz="quarter" idx="96"/>
          </p:nvPr>
        </p:nvSpPr>
        <p:spPr>
          <a:xfrm>
            <a:off x="7447215" y="5268336"/>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 name="Text Placeholder 3">
            <a:extLst>
              <a:ext uri="{FF2B5EF4-FFF2-40B4-BE49-F238E27FC236}">
                <a16:creationId xmlns:a16="http://schemas.microsoft.com/office/drawing/2014/main" id="{01E6BDB4-9F5E-0785-0693-C0D4911C85C2}"/>
              </a:ext>
            </a:extLst>
          </p:cNvPr>
          <p:cNvSpPr>
            <a:spLocks noGrp="1"/>
          </p:cNvSpPr>
          <p:nvPr>
            <p:ph type="body" sz="quarter" idx="100" hasCustomPrompt="1"/>
          </p:nvPr>
        </p:nvSpPr>
        <p:spPr>
          <a:xfrm>
            <a:off x="7314453" y="6307551"/>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 name="Rectangle 5">
            <a:extLst>
              <a:ext uri="{FF2B5EF4-FFF2-40B4-BE49-F238E27FC236}">
                <a16:creationId xmlns:a16="http://schemas.microsoft.com/office/drawing/2014/main" id="{0446A682-9F17-46EE-A49E-3B373171CE06}"/>
              </a:ext>
            </a:extLst>
          </p:cNvPr>
          <p:cNvSpPr/>
          <p:nvPr userDrawn="1"/>
        </p:nvSpPr>
        <p:spPr>
          <a:xfrm>
            <a:off x="5874589" y="6432201"/>
            <a:ext cx="470030" cy="3136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3">
            <a:extLst>
              <a:ext uri="{FF2B5EF4-FFF2-40B4-BE49-F238E27FC236}">
                <a16:creationId xmlns:a16="http://schemas.microsoft.com/office/drawing/2014/main" id="{0B895899-EAE8-A3E1-393E-FCF7C2DC3EA9}"/>
              </a:ext>
            </a:extLst>
          </p:cNvPr>
          <p:cNvSpPr>
            <a:spLocks noGrp="1"/>
          </p:cNvSpPr>
          <p:nvPr>
            <p:ph type="body" sz="quarter" idx="101" hasCustomPrompt="1"/>
          </p:nvPr>
        </p:nvSpPr>
        <p:spPr>
          <a:xfrm>
            <a:off x="7314453" y="6492197"/>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0" name="Text Placeholder 3">
            <a:extLst>
              <a:ext uri="{FF2B5EF4-FFF2-40B4-BE49-F238E27FC236}">
                <a16:creationId xmlns:a16="http://schemas.microsoft.com/office/drawing/2014/main" id="{B4F4FE41-7B3F-7FAD-76FF-49489ECF3960}"/>
              </a:ext>
            </a:extLst>
          </p:cNvPr>
          <p:cNvSpPr>
            <a:spLocks noGrp="1"/>
          </p:cNvSpPr>
          <p:nvPr>
            <p:ph type="body" sz="quarter" idx="102" hasCustomPrompt="1"/>
          </p:nvPr>
        </p:nvSpPr>
        <p:spPr>
          <a:xfrm>
            <a:off x="5390460" y="6307551"/>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1" name="Text Placeholder 3">
            <a:extLst>
              <a:ext uri="{FF2B5EF4-FFF2-40B4-BE49-F238E27FC236}">
                <a16:creationId xmlns:a16="http://schemas.microsoft.com/office/drawing/2014/main" id="{9FD43C49-9812-24B8-4BFC-BD4E269C9709}"/>
              </a:ext>
            </a:extLst>
          </p:cNvPr>
          <p:cNvSpPr>
            <a:spLocks noGrp="1"/>
          </p:cNvSpPr>
          <p:nvPr>
            <p:ph type="body" sz="quarter" idx="103" hasCustomPrompt="1"/>
          </p:nvPr>
        </p:nvSpPr>
        <p:spPr>
          <a:xfrm>
            <a:off x="5390460" y="6492197"/>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4" name="Picture Placeholder 37">
            <a:extLst>
              <a:ext uri="{FF2B5EF4-FFF2-40B4-BE49-F238E27FC236}">
                <a16:creationId xmlns:a16="http://schemas.microsoft.com/office/drawing/2014/main" id="{BA48DDE1-A7D9-24C2-DABB-9D92B508DC53}"/>
              </a:ext>
            </a:extLst>
          </p:cNvPr>
          <p:cNvSpPr>
            <a:spLocks noGrp="1"/>
          </p:cNvSpPr>
          <p:nvPr>
            <p:ph type="pic" sz="quarter" idx="105"/>
          </p:nvPr>
        </p:nvSpPr>
        <p:spPr>
          <a:xfrm>
            <a:off x="3574034" y="5268336"/>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2" name="Text Placeholder 3">
            <a:extLst>
              <a:ext uri="{FF2B5EF4-FFF2-40B4-BE49-F238E27FC236}">
                <a16:creationId xmlns:a16="http://schemas.microsoft.com/office/drawing/2014/main" id="{429C8853-017A-0792-9382-2F3F7DFF5DA6}"/>
              </a:ext>
            </a:extLst>
          </p:cNvPr>
          <p:cNvSpPr>
            <a:spLocks noGrp="1"/>
          </p:cNvSpPr>
          <p:nvPr>
            <p:ph type="body" sz="quarter" idx="106" hasCustomPrompt="1"/>
          </p:nvPr>
        </p:nvSpPr>
        <p:spPr>
          <a:xfrm>
            <a:off x="3441272" y="6307551"/>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23" name="Text Placeholder 3">
            <a:extLst>
              <a:ext uri="{FF2B5EF4-FFF2-40B4-BE49-F238E27FC236}">
                <a16:creationId xmlns:a16="http://schemas.microsoft.com/office/drawing/2014/main" id="{5C03960D-76B4-9151-A6FE-95CAB82B8450}"/>
              </a:ext>
            </a:extLst>
          </p:cNvPr>
          <p:cNvSpPr>
            <a:spLocks noGrp="1"/>
          </p:cNvSpPr>
          <p:nvPr>
            <p:ph type="body" sz="quarter" idx="107" hasCustomPrompt="1"/>
          </p:nvPr>
        </p:nvSpPr>
        <p:spPr>
          <a:xfrm>
            <a:off x="3441272" y="6492197"/>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cxnSp>
        <p:nvCxnSpPr>
          <p:cNvPr id="26" name="Straight Connector 25">
            <a:extLst>
              <a:ext uri="{FF2B5EF4-FFF2-40B4-BE49-F238E27FC236}">
                <a16:creationId xmlns:a16="http://schemas.microsoft.com/office/drawing/2014/main" id="{492CF87C-7FBC-549A-6CAA-87B741963285}"/>
              </a:ext>
            </a:extLst>
          </p:cNvPr>
          <p:cNvCxnSpPr>
            <a:cxnSpLocks/>
          </p:cNvCxnSpPr>
          <p:nvPr userDrawn="1"/>
        </p:nvCxnSpPr>
        <p:spPr>
          <a:xfrm>
            <a:off x="3035193" y="5156358"/>
            <a:ext cx="587060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C0560F1-8096-222E-3EB1-91EE77A40B50}"/>
              </a:ext>
            </a:extLst>
          </p:cNvPr>
          <p:cNvCxnSpPr>
            <a:cxnSpLocks/>
          </p:cNvCxnSpPr>
          <p:nvPr userDrawn="1"/>
        </p:nvCxnSpPr>
        <p:spPr>
          <a:xfrm>
            <a:off x="393939" y="1937520"/>
            <a:ext cx="11404121"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2FBB5A50-CB62-1D24-B52E-D3D6484053F4}"/>
              </a:ext>
            </a:extLst>
          </p:cNvPr>
          <p:cNvSpPr/>
          <p:nvPr userDrawn="1"/>
        </p:nvSpPr>
        <p:spPr>
          <a:xfrm>
            <a:off x="384134" y="1910283"/>
            <a:ext cx="54475" cy="54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7388EF82-4C74-DFC8-F0D0-25CA810CAF0B}"/>
              </a:ext>
            </a:extLst>
          </p:cNvPr>
          <p:cNvSpPr/>
          <p:nvPr userDrawn="1"/>
        </p:nvSpPr>
        <p:spPr>
          <a:xfrm>
            <a:off x="11756285" y="1910283"/>
            <a:ext cx="54475" cy="54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54C888B2-1A9E-9DAD-C527-728936186F0F}"/>
              </a:ext>
            </a:extLst>
          </p:cNvPr>
          <p:cNvSpPr txBox="1"/>
          <p:nvPr userDrawn="1"/>
        </p:nvSpPr>
        <p:spPr>
          <a:xfrm>
            <a:off x="564995" y="1329042"/>
            <a:ext cx="3186873" cy="400110"/>
          </a:xfrm>
          <a:prstGeom prst="rect">
            <a:avLst/>
          </a:prstGeom>
          <a:noFill/>
        </p:spPr>
        <p:txBody>
          <a:bodyPr wrap="square" rtlCol="0">
            <a:spAutoFit/>
          </a:bodyPr>
          <a:lstStyle/>
          <a:p>
            <a:r>
              <a:rPr lang="en-US" sz="2000" b="1"/>
              <a:t>Org chart title</a:t>
            </a:r>
          </a:p>
        </p:txBody>
      </p:sp>
      <p:sp>
        <p:nvSpPr>
          <p:cNvPr id="13" name="Text Placeholder 11">
            <a:extLst>
              <a:ext uri="{FF2B5EF4-FFF2-40B4-BE49-F238E27FC236}">
                <a16:creationId xmlns:a16="http://schemas.microsoft.com/office/drawing/2014/main" id="{43DC5DF0-BE58-D061-839D-F8F16ADCD81C}"/>
              </a:ext>
            </a:extLst>
          </p:cNvPr>
          <p:cNvSpPr>
            <a:spLocks noGrp="1"/>
          </p:cNvSpPr>
          <p:nvPr>
            <p:ph type="body" sz="quarter" idx="10" hasCustomPrompt="1"/>
          </p:nvPr>
        </p:nvSpPr>
        <p:spPr>
          <a:xfrm>
            <a:off x="1295794" y="6451099"/>
            <a:ext cx="1919712" cy="207019"/>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236570657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41" name="Picture Placeholder 37"/>
          <p:cNvSpPr>
            <a:spLocks noGrp="1"/>
          </p:cNvSpPr>
          <p:nvPr>
            <p:ph type="pic" sz="quarter" idx="30"/>
          </p:nvPr>
        </p:nvSpPr>
        <p:spPr>
          <a:xfrm>
            <a:off x="5523222"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42" name="Picture Placeholder 37"/>
          <p:cNvSpPr>
            <a:spLocks noGrp="1"/>
          </p:cNvSpPr>
          <p:nvPr>
            <p:ph type="pic" sz="quarter" idx="31"/>
          </p:nvPr>
        </p:nvSpPr>
        <p:spPr>
          <a:xfrm>
            <a:off x="7447215"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43" name="Picture Placeholder 37"/>
          <p:cNvSpPr>
            <a:spLocks noGrp="1"/>
          </p:cNvSpPr>
          <p:nvPr>
            <p:ph type="pic" sz="quarter" idx="32"/>
          </p:nvPr>
        </p:nvSpPr>
        <p:spPr>
          <a:xfrm>
            <a:off x="9418174"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9" name="Text Placeholder 3"/>
          <p:cNvSpPr>
            <a:spLocks noGrp="1"/>
          </p:cNvSpPr>
          <p:nvPr>
            <p:ph type="body" sz="quarter" idx="46" hasCustomPrompt="1"/>
          </p:nvPr>
        </p:nvSpPr>
        <p:spPr>
          <a:xfrm>
            <a:off x="9285412" y="3711067"/>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30" name="Text Placeholder 3"/>
          <p:cNvSpPr>
            <a:spLocks noGrp="1"/>
          </p:cNvSpPr>
          <p:nvPr>
            <p:ph type="body" sz="quarter" idx="47" hasCustomPrompt="1"/>
          </p:nvPr>
        </p:nvSpPr>
        <p:spPr>
          <a:xfrm>
            <a:off x="9285412" y="3895713"/>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6" name="Text Placeholder 3">
            <a:extLst>
              <a:ext uri="{FF2B5EF4-FFF2-40B4-BE49-F238E27FC236}">
                <a16:creationId xmlns:a16="http://schemas.microsoft.com/office/drawing/2014/main" id="{02024F27-B01F-DEB4-FC44-F947335D1B53}"/>
              </a:ext>
            </a:extLst>
          </p:cNvPr>
          <p:cNvSpPr>
            <a:spLocks noGrp="1"/>
          </p:cNvSpPr>
          <p:nvPr>
            <p:ph type="body" sz="quarter" idx="64" hasCustomPrompt="1"/>
          </p:nvPr>
        </p:nvSpPr>
        <p:spPr>
          <a:xfrm>
            <a:off x="7314453" y="3711067"/>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7" name="Text Placeholder 3">
            <a:extLst>
              <a:ext uri="{FF2B5EF4-FFF2-40B4-BE49-F238E27FC236}">
                <a16:creationId xmlns:a16="http://schemas.microsoft.com/office/drawing/2014/main" id="{A4BE195B-D1AD-9B5C-992E-E5A3B36195EF}"/>
              </a:ext>
            </a:extLst>
          </p:cNvPr>
          <p:cNvSpPr>
            <a:spLocks noGrp="1"/>
          </p:cNvSpPr>
          <p:nvPr>
            <p:ph type="body" sz="quarter" idx="65" hasCustomPrompt="1"/>
          </p:nvPr>
        </p:nvSpPr>
        <p:spPr>
          <a:xfrm>
            <a:off x="7314453" y="3895713"/>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8" name="Text Placeholder 3">
            <a:extLst>
              <a:ext uri="{FF2B5EF4-FFF2-40B4-BE49-F238E27FC236}">
                <a16:creationId xmlns:a16="http://schemas.microsoft.com/office/drawing/2014/main" id="{812886F4-8070-C3C5-C58A-EA3D3405C212}"/>
              </a:ext>
            </a:extLst>
          </p:cNvPr>
          <p:cNvSpPr>
            <a:spLocks noGrp="1"/>
          </p:cNvSpPr>
          <p:nvPr>
            <p:ph type="body" sz="quarter" idx="66" hasCustomPrompt="1"/>
          </p:nvPr>
        </p:nvSpPr>
        <p:spPr>
          <a:xfrm>
            <a:off x="5390460" y="3711067"/>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9" name="Text Placeholder 3">
            <a:extLst>
              <a:ext uri="{FF2B5EF4-FFF2-40B4-BE49-F238E27FC236}">
                <a16:creationId xmlns:a16="http://schemas.microsoft.com/office/drawing/2014/main" id="{18A40408-06EE-9C0D-A5E7-23B79FAE9D40}"/>
              </a:ext>
            </a:extLst>
          </p:cNvPr>
          <p:cNvSpPr>
            <a:spLocks noGrp="1"/>
          </p:cNvSpPr>
          <p:nvPr>
            <p:ph type="body" sz="quarter" idx="67" hasCustomPrompt="1"/>
          </p:nvPr>
        </p:nvSpPr>
        <p:spPr>
          <a:xfrm>
            <a:off x="5390460" y="3895713"/>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20" name="Picture Placeholder 37">
            <a:extLst>
              <a:ext uri="{FF2B5EF4-FFF2-40B4-BE49-F238E27FC236}">
                <a16:creationId xmlns:a16="http://schemas.microsoft.com/office/drawing/2014/main" id="{9AC2581B-43FC-C3D6-85EB-90C68FCE50F7}"/>
              </a:ext>
            </a:extLst>
          </p:cNvPr>
          <p:cNvSpPr>
            <a:spLocks noGrp="1"/>
          </p:cNvSpPr>
          <p:nvPr>
            <p:ph type="pic" sz="quarter" idx="68"/>
          </p:nvPr>
        </p:nvSpPr>
        <p:spPr>
          <a:xfrm>
            <a:off x="5523222"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1" name="Picture Placeholder 37">
            <a:extLst>
              <a:ext uri="{FF2B5EF4-FFF2-40B4-BE49-F238E27FC236}">
                <a16:creationId xmlns:a16="http://schemas.microsoft.com/office/drawing/2014/main" id="{E0CCF41D-CC54-D5A1-879E-7E6FF5695E0F}"/>
              </a:ext>
            </a:extLst>
          </p:cNvPr>
          <p:cNvSpPr>
            <a:spLocks noGrp="1"/>
          </p:cNvSpPr>
          <p:nvPr>
            <p:ph type="pic" sz="quarter" idx="69"/>
          </p:nvPr>
        </p:nvSpPr>
        <p:spPr>
          <a:xfrm>
            <a:off x="7447215"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50" name="Picture Placeholder 37">
            <a:extLst>
              <a:ext uri="{FF2B5EF4-FFF2-40B4-BE49-F238E27FC236}">
                <a16:creationId xmlns:a16="http://schemas.microsoft.com/office/drawing/2014/main" id="{0DC88914-5A4B-6B2E-5752-BD008A4D1812}"/>
              </a:ext>
            </a:extLst>
          </p:cNvPr>
          <p:cNvSpPr>
            <a:spLocks noGrp="1"/>
          </p:cNvSpPr>
          <p:nvPr>
            <p:ph type="pic" sz="quarter" idx="70"/>
          </p:nvPr>
        </p:nvSpPr>
        <p:spPr>
          <a:xfrm>
            <a:off x="9418174"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51" name="Text Placeholder 3">
            <a:extLst>
              <a:ext uri="{FF2B5EF4-FFF2-40B4-BE49-F238E27FC236}">
                <a16:creationId xmlns:a16="http://schemas.microsoft.com/office/drawing/2014/main" id="{0E62500F-3C93-00CE-01EE-04932AC79217}"/>
              </a:ext>
            </a:extLst>
          </p:cNvPr>
          <p:cNvSpPr>
            <a:spLocks noGrp="1"/>
          </p:cNvSpPr>
          <p:nvPr>
            <p:ph type="body" sz="quarter" idx="71" hasCustomPrompt="1"/>
          </p:nvPr>
        </p:nvSpPr>
        <p:spPr>
          <a:xfrm>
            <a:off x="9285412" y="548876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52" name="Text Placeholder 3">
            <a:extLst>
              <a:ext uri="{FF2B5EF4-FFF2-40B4-BE49-F238E27FC236}">
                <a16:creationId xmlns:a16="http://schemas.microsoft.com/office/drawing/2014/main" id="{3BFC658A-09FA-94DF-C900-834ECDDB1384}"/>
              </a:ext>
            </a:extLst>
          </p:cNvPr>
          <p:cNvSpPr>
            <a:spLocks noGrp="1"/>
          </p:cNvSpPr>
          <p:nvPr>
            <p:ph type="body" sz="quarter" idx="72" hasCustomPrompt="1"/>
          </p:nvPr>
        </p:nvSpPr>
        <p:spPr>
          <a:xfrm>
            <a:off x="9285412" y="567341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53" name="Text Placeholder 3">
            <a:extLst>
              <a:ext uri="{FF2B5EF4-FFF2-40B4-BE49-F238E27FC236}">
                <a16:creationId xmlns:a16="http://schemas.microsoft.com/office/drawing/2014/main" id="{EB607FC9-161D-F952-6448-9C7B1E794593}"/>
              </a:ext>
            </a:extLst>
          </p:cNvPr>
          <p:cNvSpPr>
            <a:spLocks noGrp="1"/>
          </p:cNvSpPr>
          <p:nvPr>
            <p:ph type="body" sz="quarter" idx="73" hasCustomPrompt="1"/>
          </p:nvPr>
        </p:nvSpPr>
        <p:spPr>
          <a:xfrm>
            <a:off x="7314453" y="548876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59" name="Text Placeholder 3">
            <a:extLst>
              <a:ext uri="{FF2B5EF4-FFF2-40B4-BE49-F238E27FC236}">
                <a16:creationId xmlns:a16="http://schemas.microsoft.com/office/drawing/2014/main" id="{4E929D35-1F70-14F7-2799-6D3288AC5FD4}"/>
              </a:ext>
            </a:extLst>
          </p:cNvPr>
          <p:cNvSpPr>
            <a:spLocks noGrp="1"/>
          </p:cNvSpPr>
          <p:nvPr>
            <p:ph type="body" sz="quarter" idx="74" hasCustomPrompt="1"/>
          </p:nvPr>
        </p:nvSpPr>
        <p:spPr>
          <a:xfrm>
            <a:off x="7314453" y="567341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0" name="Text Placeholder 3">
            <a:extLst>
              <a:ext uri="{FF2B5EF4-FFF2-40B4-BE49-F238E27FC236}">
                <a16:creationId xmlns:a16="http://schemas.microsoft.com/office/drawing/2014/main" id="{FE706F17-22DD-F65B-2B67-69E134D743F9}"/>
              </a:ext>
            </a:extLst>
          </p:cNvPr>
          <p:cNvSpPr>
            <a:spLocks noGrp="1"/>
          </p:cNvSpPr>
          <p:nvPr>
            <p:ph type="body" sz="quarter" idx="75" hasCustomPrompt="1"/>
          </p:nvPr>
        </p:nvSpPr>
        <p:spPr>
          <a:xfrm>
            <a:off x="5390460" y="548876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1" name="Text Placeholder 3">
            <a:extLst>
              <a:ext uri="{FF2B5EF4-FFF2-40B4-BE49-F238E27FC236}">
                <a16:creationId xmlns:a16="http://schemas.microsoft.com/office/drawing/2014/main" id="{56B16C58-DCF6-D7E5-01E7-723A157ADFF3}"/>
              </a:ext>
            </a:extLst>
          </p:cNvPr>
          <p:cNvSpPr>
            <a:spLocks noGrp="1"/>
          </p:cNvSpPr>
          <p:nvPr>
            <p:ph type="body" sz="quarter" idx="76" hasCustomPrompt="1"/>
          </p:nvPr>
        </p:nvSpPr>
        <p:spPr>
          <a:xfrm>
            <a:off x="5390460" y="567341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2" name="Picture Placeholder 37">
            <a:extLst>
              <a:ext uri="{FF2B5EF4-FFF2-40B4-BE49-F238E27FC236}">
                <a16:creationId xmlns:a16="http://schemas.microsoft.com/office/drawing/2014/main" id="{E761584E-F034-FF2F-47C5-D68C29D10BEE}"/>
              </a:ext>
            </a:extLst>
          </p:cNvPr>
          <p:cNvSpPr>
            <a:spLocks noGrp="1"/>
          </p:cNvSpPr>
          <p:nvPr>
            <p:ph type="pic" sz="quarter" idx="77"/>
          </p:nvPr>
        </p:nvSpPr>
        <p:spPr>
          <a:xfrm>
            <a:off x="1650041"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3" name="Picture Placeholder 37">
            <a:extLst>
              <a:ext uri="{FF2B5EF4-FFF2-40B4-BE49-F238E27FC236}">
                <a16:creationId xmlns:a16="http://schemas.microsoft.com/office/drawing/2014/main" id="{8F8DF60D-B37A-45A0-98E5-FB19836CAA24}"/>
              </a:ext>
            </a:extLst>
          </p:cNvPr>
          <p:cNvSpPr>
            <a:spLocks noGrp="1"/>
          </p:cNvSpPr>
          <p:nvPr>
            <p:ph type="pic" sz="quarter" idx="78"/>
          </p:nvPr>
        </p:nvSpPr>
        <p:spPr>
          <a:xfrm>
            <a:off x="3574034"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4" name="Text Placeholder 3">
            <a:extLst>
              <a:ext uri="{FF2B5EF4-FFF2-40B4-BE49-F238E27FC236}">
                <a16:creationId xmlns:a16="http://schemas.microsoft.com/office/drawing/2014/main" id="{755FC9DA-D986-A865-B423-CFB578D5433C}"/>
              </a:ext>
            </a:extLst>
          </p:cNvPr>
          <p:cNvSpPr>
            <a:spLocks noGrp="1"/>
          </p:cNvSpPr>
          <p:nvPr>
            <p:ph type="body" sz="quarter" idx="79" hasCustomPrompt="1"/>
          </p:nvPr>
        </p:nvSpPr>
        <p:spPr>
          <a:xfrm>
            <a:off x="3441272" y="3711067"/>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5" name="Text Placeholder 3">
            <a:extLst>
              <a:ext uri="{FF2B5EF4-FFF2-40B4-BE49-F238E27FC236}">
                <a16:creationId xmlns:a16="http://schemas.microsoft.com/office/drawing/2014/main" id="{205B0A66-3484-5236-4108-0E4FC84DB04F}"/>
              </a:ext>
            </a:extLst>
          </p:cNvPr>
          <p:cNvSpPr>
            <a:spLocks noGrp="1"/>
          </p:cNvSpPr>
          <p:nvPr>
            <p:ph type="body" sz="quarter" idx="80" hasCustomPrompt="1"/>
          </p:nvPr>
        </p:nvSpPr>
        <p:spPr>
          <a:xfrm>
            <a:off x="3441272" y="3895713"/>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6" name="Text Placeholder 3">
            <a:extLst>
              <a:ext uri="{FF2B5EF4-FFF2-40B4-BE49-F238E27FC236}">
                <a16:creationId xmlns:a16="http://schemas.microsoft.com/office/drawing/2014/main" id="{A00F35F9-52A0-70F9-D571-256BA020CCA9}"/>
              </a:ext>
            </a:extLst>
          </p:cNvPr>
          <p:cNvSpPr>
            <a:spLocks noGrp="1"/>
          </p:cNvSpPr>
          <p:nvPr>
            <p:ph type="body" sz="quarter" idx="81" hasCustomPrompt="1"/>
          </p:nvPr>
        </p:nvSpPr>
        <p:spPr>
          <a:xfrm>
            <a:off x="1517279" y="3711067"/>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7" name="Text Placeholder 3">
            <a:extLst>
              <a:ext uri="{FF2B5EF4-FFF2-40B4-BE49-F238E27FC236}">
                <a16:creationId xmlns:a16="http://schemas.microsoft.com/office/drawing/2014/main" id="{A3C36D21-9C63-EE18-73DC-4883596E876F}"/>
              </a:ext>
            </a:extLst>
          </p:cNvPr>
          <p:cNvSpPr>
            <a:spLocks noGrp="1"/>
          </p:cNvSpPr>
          <p:nvPr>
            <p:ph type="body" sz="quarter" idx="82" hasCustomPrompt="1"/>
          </p:nvPr>
        </p:nvSpPr>
        <p:spPr>
          <a:xfrm>
            <a:off x="1517279" y="3895713"/>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8" name="Picture Placeholder 37">
            <a:extLst>
              <a:ext uri="{FF2B5EF4-FFF2-40B4-BE49-F238E27FC236}">
                <a16:creationId xmlns:a16="http://schemas.microsoft.com/office/drawing/2014/main" id="{368CA624-5D3A-8A9B-E0A9-D823C1014D3C}"/>
              </a:ext>
            </a:extLst>
          </p:cNvPr>
          <p:cNvSpPr>
            <a:spLocks noGrp="1"/>
          </p:cNvSpPr>
          <p:nvPr>
            <p:ph type="pic" sz="quarter" idx="83"/>
          </p:nvPr>
        </p:nvSpPr>
        <p:spPr>
          <a:xfrm>
            <a:off x="1650041"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9" name="Picture Placeholder 37">
            <a:extLst>
              <a:ext uri="{FF2B5EF4-FFF2-40B4-BE49-F238E27FC236}">
                <a16:creationId xmlns:a16="http://schemas.microsoft.com/office/drawing/2014/main" id="{0192DC39-CAE8-EC2C-0992-71329FFE899B}"/>
              </a:ext>
            </a:extLst>
          </p:cNvPr>
          <p:cNvSpPr>
            <a:spLocks noGrp="1"/>
          </p:cNvSpPr>
          <p:nvPr>
            <p:ph type="pic" sz="quarter" idx="84"/>
          </p:nvPr>
        </p:nvSpPr>
        <p:spPr>
          <a:xfrm>
            <a:off x="3574034"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0" name="Text Placeholder 3">
            <a:extLst>
              <a:ext uri="{FF2B5EF4-FFF2-40B4-BE49-F238E27FC236}">
                <a16:creationId xmlns:a16="http://schemas.microsoft.com/office/drawing/2014/main" id="{61431323-D03A-F2B1-7E80-BBFE1756E166}"/>
              </a:ext>
            </a:extLst>
          </p:cNvPr>
          <p:cNvSpPr>
            <a:spLocks noGrp="1"/>
          </p:cNvSpPr>
          <p:nvPr>
            <p:ph type="body" sz="quarter" idx="85" hasCustomPrompt="1"/>
          </p:nvPr>
        </p:nvSpPr>
        <p:spPr>
          <a:xfrm>
            <a:off x="3441272" y="548876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1" name="Text Placeholder 3">
            <a:extLst>
              <a:ext uri="{FF2B5EF4-FFF2-40B4-BE49-F238E27FC236}">
                <a16:creationId xmlns:a16="http://schemas.microsoft.com/office/drawing/2014/main" id="{7DC2EEAD-03B0-F109-B0EE-C3264EDEDECA}"/>
              </a:ext>
            </a:extLst>
          </p:cNvPr>
          <p:cNvSpPr>
            <a:spLocks noGrp="1"/>
          </p:cNvSpPr>
          <p:nvPr>
            <p:ph type="body" sz="quarter" idx="86" hasCustomPrompt="1"/>
          </p:nvPr>
        </p:nvSpPr>
        <p:spPr>
          <a:xfrm>
            <a:off x="3441272" y="567341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2" name="Text Placeholder 3">
            <a:extLst>
              <a:ext uri="{FF2B5EF4-FFF2-40B4-BE49-F238E27FC236}">
                <a16:creationId xmlns:a16="http://schemas.microsoft.com/office/drawing/2014/main" id="{5523783E-079F-D072-5504-3A335481357C}"/>
              </a:ext>
            </a:extLst>
          </p:cNvPr>
          <p:cNvSpPr>
            <a:spLocks noGrp="1"/>
          </p:cNvSpPr>
          <p:nvPr>
            <p:ph type="body" sz="quarter" idx="87" hasCustomPrompt="1"/>
          </p:nvPr>
        </p:nvSpPr>
        <p:spPr>
          <a:xfrm>
            <a:off x="1517279" y="5488766"/>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3" name="Text Placeholder 3">
            <a:extLst>
              <a:ext uri="{FF2B5EF4-FFF2-40B4-BE49-F238E27FC236}">
                <a16:creationId xmlns:a16="http://schemas.microsoft.com/office/drawing/2014/main" id="{100DD2B6-88EC-C197-8614-11050742054F}"/>
              </a:ext>
            </a:extLst>
          </p:cNvPr>
          <p:cNvSpPr>
            <a:spLocks noGrp="1"/>
          </p:cNvSpPr>
          <p:nvPr>
            <p:ph type="body" sz="quarter" idx="88" hasCustomPrompt="1"/>
          </p:nvPr>
        </p:nvSpPr>
        <p:spPr>
          <a:xfrm>
            <a:off x="1517279" y="5673412"/>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4" name="Picture Placeholder 37">
            <a:extLst>
              <a:ext uri="{FF2B5EF4-FFF2-40B4-BE49-F238E27FC236}">
                <a16:creationId xmlns:a16="http://schemas.microsoft.com/office/drawing/2014/main" id="{2E5AFB2E-04FF-E7B0-986D-85A32573E7C6}"/>
              </a:ext>
            </a:extLst>
          </p:cNvPr>
          <p:cNvSpPr>
            <a:spLocks noGrp="1"/>
          </p:cNvSpPr>
          <p:nvPr>
            <p:ph type="pic" sz="quarter" idx="89"/>
          </p:nvPr>
        </p:nvSpPr>
        <p:spPr>
          <a:xfrm>
            <a:off x="4557103" y="419978"/>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5" name="Text Placeholder 3">
            <a:extLst>
              <a:ext uri="{FF2B5EF4-FFF2-40B4-BE49-F238E27FC236}">
                <a16:creationId xmlns:a16="http://schemas.microsoft.com/office/drawing/2014/main" id="{DDDE4121-049E-D64B-09D3-E867D511B33D}"/>
              </a:ext>
            </a:extLst>
          </p:cNvPr>
          <p:cNvSpPr>
            <a:spLocks noGrp="1"/>
          </p:cNvSpPr>
          <p:nvPr>
            <p:ph type="body" sz="quarter" idx="90" hasCustomPrompt="1"/>
          </p:nvPr>
        </p:nvSpPr>
        <p:spPr>
          <a:xfrm>
            <a:off x="4424341" y="1459193"/>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6" name="Text Placeholder 3">
            <a:extLst>
              <a:ext uri="{FF2B5EF4-FFF2-40B4-BE49-F238E27FC236}">
                <a16:creationId xmlns:a16="http://schemas.microsoft.com/office/drawing/2014/main" id="{4F283B26-FBB9-B1E1-2573-CB828A9A4CE9}"/>
              </a:ext>
            </a:extLst>
          </p:cNvPr>
          <p:cNvSpPr>
            <a:spLocks noGrp="1"/>
          </p:cNvSpPr>
          <p:nvPr>
            <p:ph type="body" sz="quarter" idx="91" hasCustomPrompt="1"/>
          </p:nvPr>
        </p:nvSpPr>
        <p:spPr>
          <a:xfrm>
            <a:off x="4424341" y="1643839"/>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7" name="Picture Placeholder 37">
            <a:extLst>
              <a:ext uri="{FF2B5EF4-FFF2-40B4-BE49-F238E27FC236}">
                <a16:creationId xmlns:a16="http://schemas.microsoft.com/office/drawing/2014/main" id="{55AE4B37-9099-32BB-9512-69220CD47C8C}"/>
              </a:ext>
            </a:extLst>
          </p:cNvPr>
          <p:cNvSpPr>
            <a:spLocks noGrp="1"/>
          </p:cNvSpPr>
          <p:nvPr>
            <p:ph type="pic" sz="quarter" idx="92"/>
          </p:nvPr>
        </p:nvSpPr>
        <p:spPr>
          <a:xfrm>
            <a:off x="6477381" y="419978"/>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8" name="Text Placeholder 3">
            <a:extLst>
              <a:ext uri="{FF2B5EF4-FFF2-40B4-BE49-F238E27FC236}">
                <a16:creationId xmlns:a16="http://schemas.microsoft.com/office/drawing/2014/main" id="{F8F2EB86-1DE6-E887-8610-9CF92E5F78DD}"/>
              </a:ext>
            </a:extLst>
          </p:cNvPr>
          <p:cNvSpPr>
            <a:spLocks noGrp="1"/>
          </p:cNvSpPr>
          <p:nvPr>
            <p:ph type="body" sz="quarter" idx="93" hasCustomPrompt="1"/>
          </p:nvPr>
        </p:nvSpPr>
        <p:spPr>
          <a:xfrm>
            <a:off x="6344619" y="1459193"/>
            <a:ext cx="1179925" cy="124650"/>
          </a:xfrm>
          <a:prstGeom prst="rect">
            <a:avLst/>
          </a:prstGeom>
        </p:spPr>
        <p:txBody>
          <a:bodyPr wrap="square" lIns="0" tIns="0" rIns="0" bIns="0">
            <a:sp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9" name="Text Placeholder 3">
            <a:extLst>
              <a:ext uri="{FF2B5EF4-FFF2-40B4-BE49-F238E27FC236}">
                <a16:creationId xmlns:a16="http://schemas.microsoft.com/office/drawing/2014/main" id="{038FA23B-3C5C-91CF-85ED-3CBAE530D786}"/>
              </a:ext>
            </a:extLst>
          </p:cNvPr>
          <p:cNvSpPr>
            <a:spLocks noGrp="1"/>
          </p:cNvSpPr>
          <p:nvPr>
            <p:ph type="body" sz="quarter" idx="94" hasCustomPrompt="1"/>
          </p:nvPr>
        </p:nvSpPr>
        <p:spPr>
          <a:xfrm>
            <a:off x="6344619" y="1643839"/>
            <a:ext cx="1179925" cy="110800"/>
          </a:xfrm>
          <a:prstGeom prst="rect">
            <a:avLst/>
          </a:prstGeom>
        </p:spPr>
        <p:txBody>
          <a:bodyPr wrap="square" lIns="0" tIns="0" rIns="0" bIns="0">
            <a:sp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cxnSp>
        <p:nvCxnSpPr>
          <p:cNvPr id="80" name="Straight Connector 79">
            <a:extLst>
              <a:ext uri="{FF2B5EF4-FFF2-40B4-BE49-F238E27FC236}">
                <a16:creationId xmlns:a16="http://schemas.microsoft.com/office/drawing/2014/main" id="{4901BA5B-AD3F-261C-4428-3FF671241E3F}"/>
              </a:ext>
            </a:extLst>
          </p:cNvPr>
          <p:cNvCxnSpPr>
            <a:cxnSpLocks/>
          </p:cNvCxnSpPr>
          <p:nvPr userDrawn="1"/>
        </p:nvCxnSpPr>
        <p:spPr>
          <a:xfrm>
            <a:off x="393939" y="2191520"/>
            <a:ext cx="11404121"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DAD881-E7F4-D662-E9E1-388A55CF3DA0}"/>
              </a:ext>
            </a:extLst>
          </p:cNvPr>
          <p:cNvCxnSpPr>
            <a:cxnSpLocks/>
          </p:cNvCxnSpPr>
          <p:nvPr userDrawn="1"/>
        </p:nvCxnSpPr>
        <p:spPr>
          <a:xfrm>
            <a:off x="5559662" y="852503"/>
            <a:ext cx="8056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38DDEB2F-319D-9F1E-1013-F2FA350B80E6}"/>
              </a:ext>
            </a:extLst>
          </p:cNvPr>
          <p:cNvSpPr/>
          <p:nvPr userDrawn="1"/>
        </p:nvSpPr>
        <p:spPr>
          <a:xfrm>
            <a:off x="384134" y="2164283"/>
            <a:ext cx="54475" cy="54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112A10B-F660-1784-3E16-A2553E6DC1C9}"/>
              </a:ext>
            </a:extLst>
          </p:cNvPr>
          <p:cNvSpPr/>
          <p:nvPr userDrawn="1"/>
        </p:nvSpPr>
        <p:spPr>
          <a:xfrm>
            <a:off x="11756285" y="2164283"/>
            <a:ext cx="54475" cy="54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484F6B31-9649-476B-9E4C-F590071979FA}"/>
              </a:ext>
            </a:extLst>
          </p:cNvPr>
          <p:cNvSpPr txBox="1"/>
          <p:nvPr userDrawn="1"/>
        </p:nvSpPr>
        <p:spPr>
          <a:xfrm>
            <a:off x="564995" y="1329042"/>
            <a:ext cx="3186873" cy="400110"/>
          </a:xfrm>
          <a:prstGeom prst="rect">
            <a:avLst/>
          </a:prstGeom>
          <a:noFill/>
        </p:spPr>
        <p:txBody>
          <a:bodyPr wrap="square" rtlCol="0">
            <a:spAutoFit/>
          </a:bodyPr>
          <a:lstStyle/>
          <a:p>
            <a:r>
              <a:rPr lang="en-US" sz="2000" b="1"/>
              <a:t>Org chart title</a:t>
            </a:r>
          </a:p>
        </p:txBody>
      </p:sp>
      <p:sp>
        <p:nvSpPr>
          <p:cNvPr id="3" name="Text Placeholder 11">
            <a:extLst>
              <a:ext uri="{FF2B5EF4-FFF2-40B4-BE49-F238E27FC236}">
                <a16:creationId xmlns:a16="http://schemas.microsoft.com/office/drawing/2014/main" id="{04A38687-5C03-6B45-2C3C-F2B3A3B47AC7}"/>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a:t>INFORMATION CLASSIFICATION</a:t>
            </a:r>
          </a:p>
        </p:txBody>
      </p:sp>
    </p:spTree>
    <p:extLst>
      <p:ext uri="{BB962C8B-B14F-4D97-AF65-F5344CB8AC3E}">
        <p14:creationId xmlns:p14="http://schemas.microsoft.com/office/powerpoint/2010/main" val="403120748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8A0E1-2714-1204-A4B7-44516A541317}"/>
              </a:ext>
            </a:extLst>
          </p:cNvPr>
          <p:cNvSpPr>
            <a:spLocks noGrp="1"/>
          </p:cNvSpPr>
          <p:nvPr>
            <p:ph type="title"/>
          </p:nvPr>
        </p:nvSpPr>
        <p:spPr/>
        <p:txBody>
          <a:bodyPr/>
          <a:lstStyle/>
          <a:p>
            <a:r>
              <a:rPr lang="en-US"/>
              <a:t>Click to edit Master title style</a:t>
            </a:r>
          </a:p>
        </p:txBody>
      </p:sp>
      <p:sp>
        <p:nvSpPr>
          <p:cNvPr id="3" name="Content Placeholder 5">
            <a:extLst>
              <a:ext uri="{FF2B5EF4-FFF2-40B4-BE49-F238E27FC236}">
                <a16:creationId xmlns:a16="http://schemas.microsoft.com/office/drawing/2014/main" id="{B7AE00F6-1637-F44D-EAD9-EEB761898531}"/>
              </a:ext>
            </a:extLst>
          </p:cNvPr>
          <p:cNvSpPr>
            <a:spLocks noGrp="1"/>
          </p:cNvSpPr>
          <p:nvPr>
            <p:ph type="body" sz="quarter" idx="11" hasCustomPrompt="1"/>
          </p:nvPr>
        </p:nvSpPr>
        <p:spPr>
          <a:xfrm>
            <a:off x="609600" y="1901825"/>
            <a:ext cx="10972801" cy="4425950"/>
          </a:xfrm>
          <a:prstGeom prst="rect">
            <a:avLst/>
          </a:prstGeom>
        </p:spPr>
        <p:txBody>
          <a:bodyPr>
            <a:normAutofit/>
          </a:bodyPr>
          <a:lstStyle>
            <a:lvl1pPr marL="0" indent="0">
              <a:buNone/>
              <a:defRPr/>
            </a:lvl1pPr>
          </a:lstStyle>
          <a:p>
            <a:pPr marL="0" indent="0" algn="l">
              <a:buNone/>
            </a:pPr>
            <a:r>
              <a:rPr lang="en-US"/>
              <a:t>For more slide layouts, photos and icons, visit the </a:t>
            </a:r>
            <a:r>
              <a:rPr lang="en-US">
                <a:hlinkClick r:id="rId2" invalidUrl="https://cummins365.sharepoint.com/sites/C94/Wiki/2018 PowerPoint Templates.aspx"/>
              </a:rPr>
              <a:t>Corporate Communications PowerPoint </a:t>
            </a:r>
            <a:r>
              <a:rPr lang="en-US"/>
              <a:t>site.</a:t>
            </a:r>
          </a:p>
          <a:p>
            <a:pPr marL="0" indent="0">
              <a:buNone/>
            </a:pPr>
            <a:r>
              <a:rPr lang="en-US"/>
              <a:t>For information on data classification, visit the Information Asset Protection site.</a:t>
            </a:r>
          </a:p>
          <a:p>
            <a:pPr marL="0" indent="0">
              <a:buNone/>
            </a:pPr>
            <a:endParaRPr lang="en-US"/>
          </a:p>
          <a:p>
            <a:pPr marL="0" indent="0">
              <a:buNone/>
            </a:pPr>
            <a:r>
              <a:rPr lang="en-US"/>
              <a:t>To click on the links above, you must first view this presentation in Slide Show mode.</a:t>
            </a:r>
          </a:p>
        </p:txBody>
      </p:sp>
    </p:spTree>
    <p:extLst>
      <p:ext uri="{BB962C8B-B14F-4D97-AF65-F5344CB8AC3E}">
        <p14:creationId xmlns:p14="http://schemas.microsoft.com/office/powerpoint/2010/main" val="312668720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94122222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1261702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ulleted Text">
    <p:spTree>
      <p:nvGrpSpPr>
        <p:cNvPr id="1" name=""/>
        <p:cNvGrpSpPr/>
        <p:nvPr/>
      </p:nvGrpSpPr>
      <p:grpSpPr>
        <a:xfrm>
          <a:off x="0" y="0"/>
          <a:ext cx="0" cy="0"/>
          <a:chOff x="0" y="0"/>
          <a:chExt cx="0" cy="0"/>
        </a:xfrm>
      </p:grpSpPr>
      <p:sp>
        <p:nvSpPr>
          <p:cNvPr id="2"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lvl1pPr>
              <a:lnSpc>
                <a:spcPts val="4800"/>
              </a:lnSpc>
              <a:defRPr/>
            </a:lvl1pPr>
          </a:lstStyle>
          <a:p>
            <a:r>
              <a:rPr lang="en-US"/>
              <a:t>Click to edit Master title style</a:t>
            </a:r>
          </a:p>
        </p:txBody>
      </p:sp>
      <p:sp>
        <p:nvSpPr>
          <p:cNvPr id="4" name="Text Placeholder 3"/>
          <p:cNvSpPr>
            <a:spLocks noGrp="1"/>
          </p:cNvSpPr>
          <p:nvPr>
            <p:ph type="body" sz="quarter" idx="11"/>
          </p:nvPr>
        </p:nvSpPr>
        <p:spPr>
          <a:xfrm>
            <a:off x="609600" y="1901825"/>
            <a:ext cx="10972801" cy="4425950"/>
          </a:xfrm>
          <a:prstGeom prst="rect">
            <a:avLst/>
          </a:prstGeom>
        </p:spPr>
        <p:txBody>
          <a:bodyPr>
            <a:normAutofit/>
          </a:bodyPr>
          <a:lstStyle>
            <a:lvl1pPr>
              <a:lnSpc>
                <a:spcPct val="100000"/>
              </a:lnSpc>
              <a:defRPr sz="1800"/>
            </a:lvl1pPr>
            <a:lvl2pPr>
              <a:lnSpc>
                <a:spcPct val="100000"/>
              </a:lnSpc>
              <a:defRPr sz="1800"/>
            </a:lvl2pPr>
            <a:lvl3pPr>
              <a:lnSpc>
                <a:spcPct val="100000"/>
              </a:lnSpc>
              <a:defRPr sz="1600"/>
            </a:lvl3pPr>
            <a:lvl4pPr>
              <a:lnSpc>
                <a:spcPct val="100000"/>
              </a:lnSpc>
              <a:defRPr sz="16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40955300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B2A336-B7CF-BFFF-3A31-ADF1F5A3BE39}"/>
              </a:ext>
            </a:extLst>
          </p:cNvPr>
          <p:cNvSpPr>
            <a:spLocks noGrp="1"/>
          </p:cNvSpPr>
          <p:nvPr>
            <p:ph type="dt" sz="half" idx="10"/>
          </p:nvPr>
        </p:nvSpPr>
        <p:spPr/>
        <p:txBody>
          <a:bodyPr/>
          <a:lstStyle/>
          <a:p>
            <a:fld id="{0FF68ACE-C650-4040-A287-80AD15C0E066}" type="datetimeFigureOut">
              <a:rPr lang="en-US" smtClean="0"/>
              <a:t>12/10/2025</a:t>
            </a:fld>
            <a:endParaRPr lang="en-US"/>
          </a:p>
        </p:txBody>
      </p:sp>
      <p:sp>
        <p:nvSpPr>
          <p:cNvPr id="3" name="Footer Placeholder 2">
            <a:extLst>
              <a:ext uri="{FF2B5EF4-FFF2-40B4-BE49-F238E27FC236}">
                <a16:creationId xmlns:a16="http://schemas.microsoft.com/office/drawing/2014/main" id="{F25180F0-EDD4-7047-DFD5-C13D963F2C6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47C9BA-8F75-31EF-6716-9EBF550F856A}"/>
              </a:ext>
            </a:extLst>
          </p:cNvPr>
          <p:cNvSpPr>
            <a:spLocks noGrp="1"/>
          </p:cNvSpPr>
          <p:nvPr>
            <p:ph type="sldNum" sz="quarter" idx="12"/>
          </p:nvPr>
        </p:nvSpPr>
        <p:spPr/>
        <p:txBody>
          <a:bodyPr/>
          <a:lstStyle/>
          <a:p>
            <a:fld id="{DDE0A4D2-D290-4598-8AC3-C7C5020AA02D}" type="slidenum">
              <a:rPr lang="en-US" smtClean="0"/>
              <a:t>‹#›</a:t>
            </a:fld>
            <a:endParaRPr lang="en-US"/>
          </a:p>
        </p:txBody>
      </p:sp>
    </p:spTree>
    <p:extLst>
      <p:ext uri="{BB962C8B-B14F-4D97-AF65-F5344CB8AC3E}">
        <p14:creationId xmlns:p14="http://schemas.microsoft.com/office/powerpoint/2010/main" val="189060363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a:t>Presenter Name</a:t>
            </a:r>
          </a:p>
        </p:txBody>
      </p:sp>
      <p:pic>
        <p:nvPicPr>
          <p:cNvPr id="8" name="Picture 7">
            <a:extLst>
              <a:ext uri="{FF2B5EF4-FFF2-40B4-BE49-F238E27FC236}">
                <a16:creationId xmlns:a16="http://schemas.microsoft.com/office/drawing/2014/main" id="{FFB454A8-248D-0947-9C79-0456FFBAC775}"/>
              </a:ext>
            </a:extLst>
          </p:cNvPr>
          <p:cNvPicPr>
            <a:picLocks noChangeAspect="1"/>
          </p:cNvPicPr>
          <p:nvPr userDrawn="1"/>
        </p:nvPicPr>
        <p:blipFill>
          <a:blip r:embed="rId2"/>
          <a:stretch>
            <a:fillRect/>
          </a:stretch>
        </p:blipFill>
        <p:spPr>
          <a:xfrm>
            <a:off x="6309360" y="457200"/>
            <a:ext cx="723900" cy="635000"/>
          </a:xfrm>
          <a:prstGeom prst="rect">
            <a:avLst/>
          </a:prstGeom>
        </p:spPr>
      </p:pic>
      <p:pic>
        <p:nvPicPr>
          <p:cNvPr id="3" name="Picture 4">
            <a:extLst>
              <a:ext uri="{FF2B5EF4-FFF2-40B4-BE49-F238E27FC236}">
                <a16:creationId xmlns:a16="http://schemas.microsoft.com/office/drawing/2014/main" id="{8289892E-85F9-5D94-8340-039458A45EF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419789" y="72965"/>
            <a:ext cx="672469" cy="7881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red and black machine&#10;&#10;Description automatically generated">
            <a:extLst>
              <a:ext uri="{FF2B5EF4-FFF2-40B4-BE49-F238E27FC236}">
                <a16:creationId xmlns:a16="http://schemas.microsoft.com/office/drawing/2014/main" id="{75FED643-8E9E-36E6-EEE6-76A924FF90D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19459" y="-328441"/>
            <a:ext cx="7514882" cy="7514882"/>
          </a:xfrm>
          <a:prstGeom prst="rect">
            <a:avLst/>
          </a:prstGeom>
        </p:spPr>
      </p:pic>
    </p:spTree>
    <p:extLst>
      <p:ext uri="{BB962C8B-B14F-4D97-AF65-F5344CB8AC3E}">
        <p14:creationId xmlns:p14="http://schemas.microsoft.com/office/powerpoint/2010/main" val="300579750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1231012" y="377088"/>
            <a:ext cx="7662533" cy="890587"/>
          </a:xfrm>
        </p:spPr>
        <p:txBody>
          <a:bodyPr/>
          <a:lstStyle/>
          <a:p>
            <a:r>
              <a:rPr lang="en-US"/>
              <a:t>Click to edit Master title style</a:t>
            </a:r>
          </a:p>
        </p:txBody>
      </p:sp>
      <p:sp>
        <p:nvSpPr>
          <p:cNvPr id="3" name="Content Placeholder 2"/>
          <p:cNvSpPr>
            <a:spLocks noGrp="1"/>
          </p:cNvSpPr>
          <p:nvPr>
            <p:ph idx="1"/>
          </p:nvPr>
        </p:nvSpPr>
        <p:spPr>
          <a:xfrm>
            <a:off x="1234033" y="1790701"/>
            <a:ext cx="10621097" cy="44427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8">
            <a:extLst>
              <a:ext uri="{FF2B5EF4-FFF2-40B4-BE49-F238E27FC236}">
                <a16:creationId xmlns:a16="http://schemas.microsoft.com/office/drawing/2014/main" id="{532C3D4E-C72D-48EA-B7C0-65EECAC3AFED}"/>
              </a:ext>
            </a:extLst>
          </p:cNvPr>
          <p:cNvSpPr>
            <a:spLocks noGrp="1"/>
          </p:cNvSpPr>
          <p:nvPr>
            <p:ph type="body" sz="quarter" idx="12" hasCustomPrompt="1"/>
          </p:nvPr>
        </p:nvSpPr>
        <p:spPr>
          <a:xfrm>
            <a:off x="7347083" y="6583362"/>
            <a:ext cx="2711000" cy="244682"/>
          </a:xfrm>
          <a:prstGeom prst="rect">
            <a:avLst/>
          </a:prstGeom>
        </p:spPr>
        <p:txBody>
          <a:bodyPr vert="horz" wrap="none">
            <a:spAutoFit/>
          </a:bodyPr>
          <a:lstStyle>
            <a:lvl1pPr marL="0" indent="0" algn="r">
              <a:buNone/>
              <a:defRPr sz="1100">
                <a:solidFill>
                  <a:schemeClr val="accent5"/>
                </a:solidFill>
              </a:defRPr>
            </a:lvl1pPr>
          </a:lstStyle>
          <a:p>
            <a:pPr lvl="0"/>
            <a:r>
              <a:rPr lang="en-US"/>
              <a:t>Cummins Scania Confidential Restricted</a:t>
            </a:r>
          </a:p>
        </p:txBody>
      </p:sp>
    </p:spTree>
    <p:extLst>
      <p:ext uri="{BB962C8B-B14F-4D97-AF65-F5344CB8AC3E}">
        <p14:creationId xmlns:p14="http://schemas.microsoft.com/office/powerpoint/2010/main" val="405171858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Paragraph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285750" indent="-285750">
              <a:lnSpc>
                <a:spcPct val="100000"/>
              </a:lnSpc>
              <a:buFont typeface="Arial" panose="020B0604020202020204" pitchFamily="34" charset="0"/>
              <a:buChar char="•"/>
              <a:defRPr sz="1800"/>
            </a:lvl1pPr>
            <a:lvl2pPr marL="742950" indent="-285750">
              <a:lnSpc>
                <a:spcPct val="100000"/>
              </a:lnSpc>
              <a:buFont typeface="Arial" panose="020B0604020202020204" pitchFamily="34" charset="0"/>
              <a:buChar char="•"/>
              <a:defRPr sz="1800"/>
            </a:lvl2pPr>
            <a:lvl3pPr marL="1200150" indent="-285750">
              <a:lnSpc>
                <a:spcPct val="100000"/>
              </a:lnSpc>
              <a:buFont typeface="Arial" panose="020B0604020202020204" pitchFamily="34" charset="0"/>
              <a:buChar char="•"/>
              <a:defRPr sz="1600"/>
            </a:lvl3pPr>
            <a:lvl4pPr marL="1657350" indent="-285750">
              <a:lnSpc>
                <a:spcPct val="100000"/>
              </a:lnSpc>
              <a:buFont typeface="Arial" panose="020B0604020202020204" pitchFamily="34" charset="0"/>
              <a:buChar char="•"/>
              <a:defRPr sz="1600"/>
            </a:lvl4pPr>
            <a:lvl5pPr marL="2114550" indent="-285750">
              <a:lnSpc>
                <a:spcPct val="100000"/>
              </a:lnSpc>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952528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413297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2B462374-77DB-9D7C-773B-D302A2B86C80}"/>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Tree>
    <p:extLst>
      <p:ext uri="{BB962C8B-B14F-4D97-AF65-F5344CB8AC3E}">
        <p14:creationId xmlns:p14="http://schemas.microsoft.com/office/powerpoint/2010/main" val="135974007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A17D037B-58C8-FBB2-716F-FB244C695B76}"/>
              </a:ext>
            </a:extLst>
          </p:cNvPr>
          <p:cNvSpPr>
            <a:spLocks noGrp="1"/>
          </p:cNvSpPr>
          <p:nvPr>
            <p:ph type="body" sz="quarter" idx="10" hasCustomPrompt="1"/>
          </p:nvPr>
        </p:nvSpPr>
        <p:spPr>
          <a:xfrm>
            <a:off x="585500" y="291579"/>
            <a:ext cx="11035000"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3" name="Text Placeholder 11">
            <a:extLst>
              <a:ext uri="{FF2B5EF4-FFF2-40B4-BE49-F238E27FC236}">
                <a16:creationId xmlns:a16="http://schemas.microsoft.com/office/drawing/2014/main" id="{815259F0-583E-B29F-F0BC-B6559B52B271}"/>
              </a:ext>
            </a:extLst>
          </p:cNvPr>
          <p:cNvSpPr>
            <a:spLocks noGrp="1"/>
          </p:cNvSpPr>
          <p:nvPr>
            <p:ph type="body" sz="quarter" idx="12"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
        <p:nvSpPr>
          <p:cNvPr id="4" name="Content Placeholder 10">
            <a:extLst>
              <a:ext uri="{FF2B5EF4-FFF2-40B4-BE49-F238E27FC236}">
                <a16:creationId xmlns:a16="http://schemas.microsoft.com/office/drawing/2014/main" id="{CD798967-DB86-4E4A-C26C-E0AA3AAB0A13}"/>
              </a:ext>
            </a:extLst>
          </p:cNvPr>
          <p:cNvSpPr>
            <a:spLocks noGrp="1"/>
          </p:cNvSpPr>
          <p:nvPr>
            <p:ph sz="quarter" idx="13" hasCustomPrompt="1"/>
          </p:nvPr>
        </p:nvSpPr>
        <p:spPr>
          <a:xfrm>
            <a:off x="585500" y="1615389"/>
            <a:ext cx="11034999" cy="4548883"/>
          </a:xfrm>
          <a:prstGeom prst="rect">
            <a:avLst/>
          </a:prstGeom>
        </p:spPr>
        <p:txBody>
          <a:bodyPr numCol="1" spcCol="457200">
            <a:normAutofit/>
          </a:bodyPr>
          <a:lstStyle>
            <a:lvl1pPr marL="0" indent="0">
              <a:buFont typeface="Arial" panose="020B0604020202020204" pitchFamily="34" charset="0"/>
              <a:buNone/>
              <a:tabLst>
                <a:tab pos="283464" algn="l"/>
                <a:tab pos="676656" algn="l"/>
                <a:tab pos="1088136" algn="l"/>
                <a:tab pos="1280160" algn="l"/>
              </a:tabLst>
              <a:defRPr sz="1800">
                <a:latin typeface="Aptos" panose="020B0004020202020204" pitchFamily="34" charset="0"/>
              </a:defRPr>
            </a:lvl1pPr>
            <a:lvl2pPr marL="633413" indent="-333375">
              <a:buFont typeface="System Font Regular"/>
              <a:buChar char="—"/>
              <a:tabLst>
                <a:tab pos="283464" algn="l"/>
                <a:tab pos="676656" algn="l"/>
                <a:tab pos="1088136" algn="l"/>
                <a:tab pos="1280160" algn="l"/>
              </a:tabLst>
              <a:defRPr sz="1800">
                <a:latin typeface="Aptos" panose="020B0004020202020204" pitchFamily="34" charset="0"/>
              </a:defRPr>
            </a:lvl2pPr>
            <a:lvl3pPr marL="1038225" indent="-369888">
              <a:buFont typeface="Courier New" panose="02070309020205020404" pitchFamily="49" charset="0"/>
              <a:buChar char="o"/>
              <a:tabLst>
                <a:tab pos="283464" algn="l"/>
                <a:tab pos="676656" algn="l"/>
                <a:tab pos="1088136" algn="l"/>
                <a:tab pos="1280160" algn="l"/>
              </a:tabLst>
              <a:defRPr sz="1800">
                <a:latin typeface="Aptos" panose="020B0004020202020204" pitchFamily="34" charset="0"/>
              </a:defRPr>
            </a:lvl3pPr>
            <a:lvl4pPr marL="1381125" marR="0" indent="-285750" algn="l" defTabSz="914400" rtl="0" eaLnBrk="1" fontAlgn="auto" latinLnBrk="0" hangingPunct="1">
              <a:lnSpc>
                <a:spcPct val="90000"/>
              </a:lnSpc>
              <a:spcBef>
                <a:spcPts val="500"/>
              </a:spcBef>
              <a:spcAft>
                <a:spcPts val="0"/>
              </a:spcAft>
              <a:buClrTx/>
              <a:buSzPct val="80000"/>
              <a:buFont typeface="Arial" panose="020B0604020202020204" pitchFamily="34" charset="0"/>
              <a:buChar char="•"/>
              <a:tabLst>
                <a:tab pos="283464" algn="l"/>
                <a:tab pos="676656" algn="l"/>
                <a:tab pos="1088136" algn="l"/>
                <a:tab pos="1280160" algn="l"/>
              </a:tabLst>
              <a:defRPr sz="1600">
                <a:latin typeface="Aptos" panose="020B0004020202020204" pitchFamily="34" charset="0"/>
              </a:defRPr>
            </a:lvl4pPr>
            <a:lvl5pPr marL="1716088" indent="-282575">
              <a:buFont typeface="Arial" panose="020B0604020202020204" pitchFamily="34" charset="0"/>
              <a:buChar char="•"/>
              <a:tabLst>
                <a:tab pos="283464" algn="l"/>
                <a:tab pos="676656" algn="l"/>
                <a:tab pos="1088136" algn="l"/>
                <a:tab pos="1280160" algn="l"/>
              </a:tabLst>
              <a:defRPr sz="1400">
                <a:latin typeface="Aptos" panose="020B0004020202020204" pitchFamily="34" charset="0"/>
              </a:defRPr>
            </a:lvl5pPr>
            <a:lvl6pPr marL="2232025" indent="0">
              <a:buFont typeface="Arial" panose="020B0604020202020204" pitchFamily="34" charset="0"/>
              <a:buNone/>
              <a:tabLst>
                <a:tab pos="283464" algn="l"/>
                <a:tab pos="676656" algn="l"/>
                <a:tab pos="1088136" algn="l"/>
                <a:tab pos="1280160" algn="l"/>
              </a:tabLst>
              <a:defRPr sz="1400"/>
            </a:lvl6pPr>
            <a:lvl7pPr marL="2689225" indent="0">
              <a:buNone/>
              <a:defRPr sz="1400"/>
            </a:lvl7pPr>
            <a:lvl8pPr>
              <a:tabLst>
                <a:tab pos="283464" algn="l"/>
                <a:tab pos="676656" algn="l"/>
                <a:tab pos="1088136" algn="l"/>
                <a:tab pos="1280160" algn="l"/>
                <a:tab pos="1325880" algn="l"/>
              </a:tabLst>
              <a:defRPr sz="1400"/>
            </a:lvl8pPr>
            <a:lvl9pPr marL="3321050" indent="0">
              <a:buNone/>
              <a:defRPr/>
            </a:lvl9pPr>
          </a:lstStyle>
          <a:p>
            <a:pPr lvl="0"/>
            <a:r>
              <a:rPr lang="en-US" dirty="0"/>
              <a:t>Text</a:t>
            </a:r>
          </a:p>
          <a:p>
            <a:pPr lvl="1"/>
            <a:r>
              <a:rPr lang="en-US" dirty="0"/>
              <a:t>Text</a:t>
            </a:r>
          </a:p>
          <a:p>
            <a:pPr lvl="2"/>
            <a:r>
              <a:rPr lang="en-US" dirty="0"/>
              <a:t>Text</a:t>
            </a:r>
          </a:p>
          <a:p>
            <a:pPr lvl="3"/>
            <a:r>
              <a:rPr lang="en-US" dirty="0"/>
              <a:t>Text</a:t>
            </a:r>
          </a:p>
          <a:p>
            <a:pPr marL="1716088" marR="0" lvl="4" indent="-282575" algn="l" defTabSz="914400" rtl="0" eaLnBrk="1" fontAlgn="auto" latinLnBrk="0" hangingPunct="1">
              <a:lnSpc>
                <a:spcPct val="90000"/>
              </a:lnSpc>
              <a:spcBef>
                <a:spcPts val="500"/>
              </a:spcBef>
              <a:spcAft>
                <a:spcPts val="0"/>
              </a:spcAft>
              <a:buClrTx/>
              <a:buSzTx/>
              <a:buFont typeface="Arial" panose="020B0604020202020204" pitchFamily="34" charset="0"/>
              <a:buChar char="•"/>
              <a:tabLst>
                <a:tab pos="283464" algn="l"/>
                <a:tab pos="676656" algn="l"/>
                <a:tab pos="1088136" algn="l"/>
              </a:tabLst>
              <a:defRPr/>
            </a:pPr>
            <a:r>
              <a:rPr lang="en-US" dirty="0"/>
              <a:t>Text</a:t>
            </a:r>
          </a:p>
          <a:p>
            <a:pPr marL="2232025" marR="0" lvl="5" indent="-282575" algn="l" defTabSz="914400" rtl="0" eaLnBrk="1" fontAlgn="auto" latinLnBrk="0" hangingPunct="1">
              <a:lnSpc>
                <a:spcPct val="90000"/>
              </a:lnSpc>
              <a:spcBef>
                <a:spcPts val="500"/>
              </a:spcBef>
              <a:spcAft>
                <a:spcPts val="0"/>
              </a:spcAft>
              <a:buClrTx/>
              <a:buSzTx/>
              <a:buFont typeface="Arial" panose="020B0604020202020204" pitchFamily="34" charset="0"/>
              <a:buChar char="•"/>
              <a:tabLst>
                <a:tab pos="283464" algn="l"/>
                <a:tab pos="676656" algn="l"/>
                <a:tab pos="1088136" algn="l"/>
              </a:tabLst>
              <a:defRPr/>
            </a:pPr>
            <a:endParaRPr lang="en-US" dirty="0"/>
          </a:p>
          <a:p>
            <a:pPr marL="2689225" marR="0" lvl="6" indent="-282575" algn="l" defTabSz="914400" rtl="0" eaLnBrk="1" fontAlgn="auto" latinLnBrk="0" hangingPunct="1">
              <a:lnSpc>
                <a:spcPct val="90000"/>
              </a:lnSpc>
              <a:spcBef>
                <a:spcPts val="500"/>
              </a:spcBef>
              <a:spcAft>
                <a:spcPts val="0"/>
              </a:spcAft>
              <a:buClrTx/>
              <a:buSzTx/>
              <a:buFont typeface="Arial" panose="020B0604020202020204" pitchFamily="34" charset="0"/>
              <a:buChar char="•"/>
              <a:tabLst>
                <a:tab pos="283464" algn="l"/>
                <a:tab pos="676656" algn="l"/>
                <a:tab pos="1088136" algn="l"/>
              </a:tabLst>
              <a:defRPr/>
            </a:pPr>
            <a:endParaRPr lang="en-US" dirty="0"/>
          </a:p>
          <a:p>
            <a:pPr marL="3603625" marR="0" lvl="8" indent="-282575" algn="l" defTabSz="914400" rtl="0" eaLnBrk="1" fontAlgn="auto" latinLnBrk="0" hangingPunct="1">
              <a:lnSpc>
                <a:spcPct val="90000"/>
              </a:lnSpc>
              <a:spcBef>
                <a:spcPts val="500"/>
              </a:spcBef>
              <a:spcAft>
                <a:spcPts val="0"/>
              </a:spcAft>
              <a:buClrTx/>
              <a:buSzTx/>
              <a:buFont typeface="Arial" panose="020B0604020202020204" pitchFamily="34" charset="0"/>
              <a:buChar char="•"/>
              <a:tabLst>
                <a:tab pos="283464" algn="l"/>
                <a:tab pos="676656" algn="l"/>
                <a:tab pos="1088136" algn="l"/>
              </a:tabLst>
              <a:defRPr/>
            </a:pPr>
            <a:endParaRPr lang="en-US" dirty="0"/>
          </a:p>
          <a:p>
            <a:pPr marL="3886200" marR="0" lvl="8" indent="-282575" algn="l" defTabSz="914400" rtl="0" eaLnBrk="1" fontAlgn="auto" latinLnBrk="0" hangingPunct="1">
              <a:lnSpc>
                <a:spcPct val="90000"/>
              </a:lnSpc>
              <a:spcBef>
                <a:spcPts val="500"/>
              </a:spcBef>
              <a:spcAft>
                <a:spcPts val="0"/>
              </a:spcAft>
              <a:buClrTx/>
              <a:buSzTx/>
              <a:buFont typeface="Arial" panose="020B0604020202020204" pitchFamily="34" charset="0"/>
              <a:buChar char="•"/>
              <a:tabLst>
                <a:tab pos="283464" algn="l"/>
                <a:tab pos="676656" algn="l"/>
                <a:tab pos="1088136" algn="l"/>
              </a:tabLst>
              <a:defRPr/>
            </a:pPr>
            <a:endParaRPr lang="en-US" dirty="0"/>
          </a:p>
          <a:p>
            <a:pPr marL="2514600" marR="0" lvl="5" indent="-282575" algn="l" defTabSz="914400" rtl="0" eaLnBrk="1" fontAlgn="auto" latinLnBrk="0" hangingPunct="1">
              <a:lnSpc>
                <a:spcPct val="90000"/>
              </a:lnSpc>
              <a:spcBef>
                <a:spcPts val="500"/>
              </a:spcBef>
              <a:spcAft>
                <a:spcPts val="0"/>
              </a:spcAft>
              <a:buClrTx/>
              <a:buSzTx/>
              <a:buFont typeface="Arial" panose="020B0604020202020204" pitchFamily="34" charset="0"/>
              <a:buChar char="•"/>
              <a:tabLst>
                <a:tab pos="283464" algn="l"/>
                <a:tab pos="676656" algn="l"/>
                <a:tab pos="1088136" algn="l"/>
              </a:tabLst>
              <a:defRPr/>
            </a:pPr>
            <a:endParaRPr lang="en-US" dirty="0"/>
          </a:p>
          <a:p>
            <a:pPr lvl="4"/>
            <a:endParaRPr lang="en-US" dirty="0"/>
          </a:p>
        </p:txBody>
      </p:sp>
    </p:spTree>
    <p:extLst>
      <p:ext uri="{BB962C8B-B14F-4D97-AF65-F5344CB8AC3E}">
        <p14:creationId xmlns:p14="http://schemas.microsoft.com/office/powerpoint/2010/main" val="15224976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428D1C9C-BE46-4A54-416E-FBE7F327FADC}"/>
              </a:ext>
            </a:extLst>
          </p:cNvPr>
          <p:cNvSpPr>
            <a:spLocks noGrp="1"/>
          </p:cNvSpPr>
          <p:nvPr>
            <p:ph type="body" sz="quarter" idx="10" hasCustomPrompt="1"/>
          </p:nvPr>
        </p:nvSpPr>
        <p:spPr>
          <a:xfrm>
            <a:off x="585500" y="291579"/>
            <a:ext cx="11035000"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5" name="Text Placeholder 11">
            <a:extLst>
              <a:ext uri="{FF2B5EF4-FFF2-40B4-BE49-F238E27FC236}">
                <a16:creationId xmlns:a16="http://schemas.microsoft.com/office/drawing/2014/main" id="{C6862878-47E4-2EA9-5168-968A02CF51DE}"/>
              </a:ext>
            </a:extLst>
          </p:cNvPr>
          <p:cNvSpPr>
            <a:spLocks noGrp="1"/>
          </p:cNvSpPr>
          <p:nvPr>
            <p:ph type="body" sz="quarter" idx="11"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Tree>
    <p:extLst>
      <p:ext uri="{BB962C8B-B14F-4D97-AF65-F5344CB8AC3E}">
        <p14:creationId xmlns:p14="http://schemas.microsoft.com/office/powerpoint/2010/main" val="199030264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A17D037B-58C8-FBB2-716F-FB244C695B76}"/>
              </a:ext>
            </a:extLst>
          </p:cNvPr>
          <p:cNvSpPr>
            <a:spLocks noGrp="1"/>
          </p:cNvSpPr>
          <p:nvPr>
            <p:ph type="body" sz="quarter" idx="10" hasCustomPrompt="1"/>
          </p:nvPr>
        </p:nvSpPr>
        <p:spPr>
          <a:xfrm>
            <a:off x="585500" y="291579"/>
            <a:ext cx="11035000"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3" name="Text Placeholder 11">
            <a:extLst>
              <a:ext uri="{FF2B5EF4-FFF2-40B4-BE49-F238E27FC236}">
                <a16:creationId xmlns:a16="http://schemas.microsoft.com/office/drawing/2014/main" id="{9701E983-79B5-2BE5-EAA9-AC2E102043A6}"/>
              </a:ext>
            </a:extLst>
          </p:cNvPr>
          <p:cNvSpPr>
            <a:spLocks noGrp="1"/>
          </p:cNvSpPr>
          <p:nvPr>
            <p:ph type="body" sz="quarter" idx="12"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
        <p:nvSpPr>
          <p:cNvPr id="4" name="Content Placeholder 3">
            <a:extLst>
              <a:ext uri="{FF2B5EF4-FFF2-40B4-BE49-F238E27FC236}">
                <a16:creationId xmlns:a16="http://schemas.microsoft.com/office/drawing/2014/main" id="{005C03AC-537C-BEB3-ED47-953244B3F4A1}"/>
              </a:ext>
            </a:extLst>
          </p:cNvPr>
          <p:cNvSpPr>
            <a:spLocks noGrp="1"/>
          </p:cNvSpPr>
          <p:nvPr>
            <p:ph sz="quarter" idx="14" hasCustomPrompt="1"/>
          </p:nvPr>
        </p:nvSpPr>
        <p:spPr>
          <a:xfrm>
            <a:off x="585788" y="1616075"/>
            <a:ext cx="11034712" cy="4548188"/>
          </a:xfrm>
        </p:spPr>
        <p:txBody>
          <a:bodyPr numCol="2"/>
          <a:lstStyle/>
          <a:p>
            <a:pPr lvl="0"/>
            <a:r>
              <a:rPr lang="en-US" dirty="0"/>
              <a:t>Text</a:t>
            </a:r>
          </a:p>
        </p:txBody>
      </p:sp>
    </p:spTree>
    <p:extLst>
      <p:ext uri="{BB962C8B-B14F-4D97-AF65-F5344CB8AC3E}">
        <p14:creationId xmlns:p14="http://schemas.microsoft.com/office/powerpoint/2010/main" val="215315470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text box_bullets">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F629D3AD-8178-91BD-9112-8714006726E9}"/>
              </a:ext>
            </a:extLst>
          </p:cNvPr>
          <p:cNvSpPr>
            <a:spLocks noGrp="1"/>
          </p:cNvSpPr>
          <p:nvPr>
            <p:ph type="body" sz="quarter" idx="10" hasCustomPrompt="1"/>
          </p:nvPr>
        </p:nvSpPr>
        <p:spPr>
          <a:xfrm>
            <a:off x="585500" y="291579"/>
            <a:ext cx="11035000" cy="1184960"/>
          </a:xfrm>
          <a:prstGeom prst="rect">
            <a:avLst/>
          </a:prstGeom>
        </p:spPr>
        <p:txBody>
          <a:bodyPr rIns="91440"/>
          <a:lstStyle>
            <a:lvl1pPr marL="0" indent="0">
              <a:lnSpc>
                <a:spcPct val="80000"/>
              </a:lnSpc>
              <a:buFontTx/>
              <a:buNone/>
              <a:defRPr sz="3400" b="1"/>
            </a:lvl1pPr>
          </a:lstStyle>
          <a:p>
            <a:r>
              <a:rPr lang="en-US" dirty="0"/>
              <a:t>Title </a:t>
            </a:r>
          </a:p>
        </p:txBody>
      </p:sp>
      <p:sp>
        <p:nvSpPr>
          <p:cNvPr id="2" name="Text Placeholder 11">
            <a:extLst>
              <a:ext uri="{FF2B5EF4-FFF2-40B4-BE49-F238E27FC236}">
                <a16:creationId xmlns:a16="http://schemas.microsoft.com/office/drawing/2014/main" id="{883F5D7C-08DF-EA5F-3655-7A5B30D56D71}"/>
              </a:ext>
            </a:extLst>
          </p:cNvPr>
          <p:cNvSpPr>
            <a:spLocks noGrp="1"/>
          </p:cNvSpPr>
          <p:nvPr>
            <p:ph type="body" sz="quarter" idx="14"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
        <p:nvSpPr>
          <p:cNvPr id="7" name="Content Placeholder 10">
            <a:extLst>
              <a:ext uri="{FF2B5EF4-FFF2-40B4-BE49-F238E27FC236}">
                <a16:creationId xmlns:a16="http://schemas.microsoft.com/office/drawing/2014/main" id="{5F929B0C-4B90-FD02-9D96-AED854FFA438}"/>
              </a:ext>
            </a:extLst>
          </p:cNvPr>
          <p:cNvSpPr>
            <a:spLocks noGrp="1"/>
          </p:cNvSpPr>
          <p:nvPr>
            <p:ph sz="quarter" idx="11" hasCustomPrompt="1"/>
          </p:nvPr>
        </p:nvSpPr>
        <p:spPr>
          <a:xfrm>
            <a:off x="585788" y="1615389"/>
            <a:ext cx="5352168" cy="4548883"/>
          </a:xfrm>
          <a:prstGeom prst="rect">
            <a:avLst/>
          </a:prstGeom>
        </p:spPr>
        <p:txBody>
          <a:bodyPr numCol="1" spcCol="228600">
            <a:normAutofit/>
          </a:bodyPr>
          <a:lstStyle>
            <a:lvl1pPr marL="287338" indent="-287338">
              <a:buFont typeface="Arial" panose="020B0604020202020204" pitchFamily="34" charset="0"/>
              <a:buChar char="•"/>
              <a:tabLst>
                <a:tab pos="457200" algn="l"/>
                <a:tab pos="914400" algn="l"/>
                <a:tab pos="1371600" algn="l"/>
                <a:tab pos="1828800" algn="l"/>
              </a:tabLst>
              <a:defRPr sz="1800">
                <a:latin typeface="Aptos" panose="020B0004020202020204" pitchFamily="34" charset="0"/>
              </a:defRPr>
            </a:lvl1pPr>
            <a:lvl2pPr marL="633413" indent="-333375">
              <a:buFont typeface="System Font Regular"/>
              <a:buChar char="—"/>
              <a:tabLst>
                <a:tab pos="457200" algn="l"/>
                <a:tab pos="914400" algn="l"/>
                <a:tab pos="1371600" algn="l"/>
                <a:tab pos="1828800" algn="l"/>
              </a:tabLst>
              <a:defRPr sz="1800">
                <a:latin typeface="Aptos" panose="020B0004020202020204" pitchFamily="34" charset="0"/>
              </a:defRPr>
            </a:lvl2pPr>
            <a:lvl3pPr marL="1038225" indent="-369888">
              <a:buFont typeface="Courier New" panose="02070309020205020404" pitchFamily="49" charset="0"/>
              <a:buChar char="o"/>
              <a:tabLst>
                <a:tab pos="283464" algn="l"/>
                <a:tab pos="676656" algn="l"/>
                <a:tab pos="1088136" algn="l"/>
              </a:tabLst>
              <a:defRPr sz="1800">
                <a:latin typeface="Aptos" panose="020B0004020202020204" pitchFamily="34" charset="0"/>
              </a:defRPr>
            </a:lvl3pPr>
            <a:lvl4pPr marL="1381125" marR="0" indent="-285750" algn="l" defTabSz="914400" rtl="0" eaLnBrk="1" fontAlgn="auto" latinLnBrk="0" hangingPunct="1">
              <a:lnSpc>
                <a:spcPct val="90000"/>
              </a:lnSpc>
              <a:spcBef>
                <a:spcPts val="500"/>
              </a:spcBef>
              <a:spcAft>
                <a:spcPts val="0"/>
              </a:spcAft>
              <a:buClrTx/>
              <a:buSzPct val="80000"/>
              <a:buFont typeface="Arial" panose="020B0604020202020204" pitchFamily="34" charset="0"/>
              <a:buChar char="•"/>
              <a:tabLst>
                <a:tab pos="457200" algn="l"/>
                <a:tab pos="914400" algn="l"/>
                <a:tab pos="1371600" algn="l"/>
                <a:tab pos="1828800" algn="l"/>
              </a:tabLst>
              <a:defRPr sz="1600">
                <a:latin typeface="Aptos" panose="020B0004020202020204" pitchFamily="34" charset="0"/>
              </a:defRPr>
            </a:lvl4pPr>
            <a:lvl5pPr marL="1716088" indent="-282575">
              <a:buFont typeface="Arial" panose="020B0604020202020204" pitchFamily="34" charset="0"/>
              <a:buChar char="•"/>
              <a:tabLst>
                <a:tab pos="457200" algn="l"/>
                <a:tab pos="914400" algn="l"/>
                <a:tab pos="1371600" algn="l"/>
                <a:tab pos="1828800" algn="l"/>
              </a:tabLst>
              <a:defRPr sz="1400">
                <a:latin typeface="Aptos" panose="020B0004020202020204" pitchFamily="34" charset="0"/>
              </a:defRPr>
            </a:lvl5pPr>
            <a:lvl6pPr marL="2514600" indent="-228600">
              <a:buFont typeface="Arial" panose="020B0604020202020204" pitchFamily="34" charset="0"/>
              <a:buChar char="•"/>
              <a:defRPr sz="1600"/>
            </a:lvl6pPr>
          </a:lstStyle>
          <a:p>
            <a:pPr lvl="0"/>
            <a:r>
              <a:rPr lang="en-US" dirty="0"/>
              <a:t>Text</a:t>
            </a:r>
          </a:p>
          <a:p>
            <a:pPr lvl="1"/>
            <a:r>
              <a:rPr lang="en-US" dirty="0"/>
              <a:t>Text</a:t>
            </a:r>
          </a:p>
          <a:p>
            <a:pPr lvl="2"/>
            <a:r>
              <a:rPr lang="en-US" dirty="0"/>
              <a:t>Text</a:t>
            </a:r>
          </a:p>
          <a:p>
            <a:pPr lvl="3"/>
            <a:r>
              <a:rPr lang="en-US" dirty="0"/>
              <a:t>Text</a:t>
            </a:r>
          </a:p>
        </p:txBody>
      </p:sp>
      <p:sp>
        <p:nvSpPr>
          <p:cNvPr id="3" name="Content Placeholder 10">
            <a:extLst>
              <a:ext uri="{FF2B5EF4-FFF2-40B4-BE49-F238E27FC236}">
                <a16:creationId xmlns:a16="http://schemas.microsoft.com/office/drawing/2014/main" id="{639E8ECE-B7DF-9520-060C-4BC76E6B10D0}"/>
              </a:ext>
            </a:extLst>
          </p:cNvPr>
          <p:cNvSpPr>
            <a:spLocks noGrp="1"/>
          </p:cNvSpPr>
          <p:nvPr>
            <p:ph sz="quarter" idx="15" hasCustomPrompt="1"/>
          </p:nvPr>
        </p:nvSpPr>
        <p:spPr>
          <a:xfrm>
            <a:off x="6254044" y="1615388"/>
            <a:ext cx="5352168" cy="4548883"/>
          </a:xfrm>
          <a:prstGeom prst="rect">
            <a:avLst/>
          </a:prstGeom>
        </p:spPr>
        <p:txBody>
          <a:bodyPr numCol="1" spcCol="228600">
            <a:normAutofit/>
          </a:bodyPr>
          <a:lstStyle>
            <a:lvl1pPr marL="287338" indent="-287338">
              <a:buFont typeface="Arial" panose="020B0604020202020204" pitchFamily="34" charset="0"/>
              <a:buChar char="•"/>
              <a:tabLst>
                <a:tab pos="283464" algn="l"/>
                <a:tab pos="676656" algn="l"/>
                <a:tab pos="1088136" algn="l"/>
              </a:tabLst>
              <a:defRPr sz="1800">
                <a:latin typeface="Aptos" panose="020B0004020202020204" pitchFamily="34" charset="0"/>
              </a:defRPr>
            </a:lvl1pPr>
            <a:lvl2pPr marL="633413" indent="-333375">
              <a:buFont typeface="System Font Regular"/>
              <a:buChar char="—"/>
              <a:tabLst>
                <a:tab pos="283464" algn="l"/>
                <a:tab pos="676656" algn="l"/>
                <a:tab pos="1088136" algn="l"/>
              </a:tabLst>
              <a:defRPr sz="1800">
                <a:latin typeface="Aptos" panose="020B0004020202020204" pitchFamily="34" charset="0"/>
              </a:defRPr>
            </a:lvl2pPr>
            <a:lvl3pPr marL="1038225" indent="-369888">
              <a:buFont typeface="Courier New" panose="02070309020205020404" pitchFamily="49" charset="0"/>
              <a:buChar char="o"/>
              <a:tabLst>
                <a:tab pos="283464" algn="l"/>
                <a:tab pos="676656" algn="l"/>
                <a:tab pos="1088136" algn="l"/>
              </a:tabLst>
              <a:defRPr sz="1800">
                <a:latin typeface="Aptos" panose="020B0004020202020204" pitchFamily="34" charset="0"/>
              </a:defRPr>
            </a:lvl3pPr>
            <a:lvl4pPr marL="1381125" marR="0" indent="-285750" algn="l" defTabSz="914400" rtl="0" eaLnBrk="1" fontAlgn="auto" latinLnBrk="0" hangingPunct="1">
              <a:lnSpc>
                <a:spcPct val="90000"/>
              </a:lnSpc>
              <a:spcBef>
                <a:spcPts val="500"/>
              </a:spcBef>
              <a:spcAft>
                <a:spcPts val="0"/>
              </a:spcAft>
              <a:buClrTx/>
              <a:buSzPct val="80000"/>
              <a:buFont typeface="Arial" panose="020B0604020202020204" pitchFamily="34" charset="0"/>
              <a:buChar char="•"/>
              <a:tabLst>
                <a:tab pos="283464" algn="l"/>
                <a:tab pos="676656" algn="l"/>
                <a:tab pos="1088136" algn="l"/>
              </a:tabLst>
              <a:defRPr sz="1600">
                <a:latin typeface="Aptos" panose="020B0004020202020204" pitchFamily="34" charset="0"/>
              </a:defRPr>
            </a:lvl4pPr>
            <a:lvl5pPr marL="1716088" indent="-282575">
              <a:buFont typeface="Arial" panose="020B0604020202020204" pitchFamily="34" charset="0"/>
              <a:buChar char="•"/>
              <a:tabLst>
                <a:tab pos="283464" algn="l"/>
                <a:tab pos="676656" algn="l"/>
                <a:tab pos="1088136" algn="l"/>
              </a:tabLst>
              <a:defRPr sz="1400">
                <a:latin typeface="Aptos" panose="020B0004020202020204" pitchFamily="34" charset="0"/>
              </a:defRPr>
            </a:lvl5pPr>
            <a:lvl6pPr marL="2514600" indent="-228600">
              <a:buFont typeface="Arial" panose="020B0604020202020204" pitchFamily="34" charset="0"/>
              <a:buChar char="•"/>
              <a:defRPr sz="1600"/>
            </a:lvl6pPr>
          </a:lstStyle>
          <a:p>
            <a:pPr lvl="0"/>
            <a:r>
              <a:rPr lang="en-US" dirty="0"/>
              <a:t>Text</a:t>
            </a:r>
          </a:p>
          <a:p>
            <a:pPr lvl="1"/>
            <a:r>
              <a:rPr lang="en-US" dirty="0"/>
              <a:t>Text</a:t>
            </a:r>
          </a:p>
          <a:p>
            <a:pPr lvl="2"/>
            <a:r>
              <a:rPr lang="en-US" dirty="0"/>
              <a:t>Text</a:t>
            </a:r>
          </a:p>
          <a:p>
            <a:pPr lvl="3"/>
            <a:r>
              <a:rPr lang="en-US" dirty="0"/>
              <a:t>Text</a:t>
            </a:r>
          </a:p>
        </p:txBody>
      </p:sp>
    </p:spTree>
    <p:extLst>
      <p:ext uri="{BB962C8B-B14F-4D97-AF65-F5344CB8AC3E}">
        <p14:creationId xmlns:p14="http://schemas.microsoft.com/office/powerpoint/2010/main" val="22637707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59561648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text box_numbered list">
    <p:spTree>
      <p:nvGrpSpPr>
        <p:cNvPr id="1" name=""/>
        <p:cNvGrpSpPr/>
        <p:nvPr/>
      </p:nvGrpSpPr>
      <p:grpSpPr>
        <a:xfrm>
          <a:off x="0" y="0"/>
          <a:ext cx="0" cy="0"/>
          <a:chOff x="0" y="0"/>
          <a:chExt cx="0" cy="0"/>
        </a:xfrm>
      </p:grpSpPr>
      <p:sp>
        <p:nvSpPr>
          <p:cNvPr id="3" name="Content Placeholder 10">
            <a:extLst>
              <a:ext uri="{FF2B5EF4-FFF2-40B4-BE49-F238E27FC236}">
                <a16:creationId xmlns:a16="http://schemas.microsoft.com/office/drawing/2014/main" id="{418FF483-ADA8-6A92-0BD8-2BD42B1F4AE5}"/>
              </a:ext>
            </a:extLst>
          </p:cNvPr>
          <p:cNvSpPr>
            <a:spLocks noGrp="1"/>
          </p:cNvSpPr>
          <p:nvPr>
            <p:ph sz="quarter" idx="11" hasCustomPrompt="1"/>
          </p:nvPr>
        </p:nvSpPr>
        <p:spPr>
          <a:xfrm>
            <a:off x="585788" y="1615389"/>
            <a:ext cx="5352168" cy="4548883"/>
          </a:xfrm>
          <a:prstGeom prst="rect">
            <a:avLst/>
          </a:prstGeom>
        </p:spPr>
        <p:txBody>
          <a:bodyPr numCol="1" spcCol="228600">
            <a:normAutofit/>
          </a:bodyPr>
          <a:lstStyle>
            <a:lvl1pPr marL="342900" indent="-342900">
              <a:buFont typeface="+mj-lt"/>
              <a:buAutoNum type="arabicPeriod"/>
              <a:tabLst>
                <a:tab pos="283464" algn="l"/>
                <a:tab pos="676656" algn="l"/>
                <a:tab pos="1088136" algn="l"/>
              </a:tabLst>
              <a:defRPr sz="1800">
                <a:latin typeface="Aptos" panose="020B0004020202020204" pitchFamily="34" charset="0"/>
              </a:defRPr>
            </a:lvl1pPr>
            <a:lvl2pPr marL="688975" indent="-331788">
              <a:buFont typeface="+mj-lt"/>
              <a:buAutoNum type="alphaLcPeriod"/>
              <a:tabLst>
                <a:tab pos="283464" algn="l"/>
                <a:tab pos="676656" algn="l"/>
                <a:tab pos="1088136" algn="l"/>
              </a:tabLst>
              <a:defRPr sz="1800">
                <a:latin typeface="Aptos" panose="020B0004020202020204" pitchFamily="34" charset="0"/>
              </a:defRPr>
            </a:lvl2pPr>
            <a:lvl3pPr marL="923925" indent="-222250">
              <a:buFont typeface="Arial" panose="020B0604020202020204" pitchFamily="34" charset="0"/>
              <a:buChar char="•"/>
              <a:tabLst>
                <a:tab pos="283464" algn="l"/>
                <a:tab pos="676656" algn="l"/>
                <a:tab pos="1088136" algn="l"/>
              </a:tabLst>
              <a:defRPr sz="1800">
                <a:latin typeface="Aptos" panose="020B0004020202020204" pitchFamily="34" charset="0"/>
              </a:defRPr>
            </a:lvl3pPr>
            <a:lvl4pPr marL="923925" indent="284163">
              <a:buFont typeface="Courier New" panose="02070309020205020404" pitchFamily="49" charset="0"/>
              <a:buChar char="o"/>
              <a:tabLst>
                <a:tab pos="283464" algn="l"/>
                <a:tab pos="676656" algn="l"/>
                <a:tab pos="1088136" algn="l"/>
              </a:tabLst>
              <a:defRPr sz="1600">
                <a:latin typeface="Aptos" panose="020B0004020202020204" pitchFamily="34" charset="0"/>
              </a:defRPr>
            </a:lvl4pPr>
            <a:lvl5pPr marL="1603375" indent="-346075">
              <a:buFont typeface="System Font Regular"/>
              <a:buChar char="—"/>
              <a:tabLst>
                <a:tab pos="283464" algn="l"/>
                <a:tab pos="676656" algn="l"/>
                <a:tab pos="1088136" algn="l"/>
              </a:tabLst>
              <a:defRPr sz="1600">
                <a:latin typeface="Aptos" panose="020B0004020202020204" pitchFamily="34" charset="0"/>
              </a:defRPr>
            </a:lvl5pPr>
            <a:lvl6pPr marL="1892300" indent="-288925">
              <a:buFont typeface="Arial" panose="020B0604020202020204" pitchFamily="34" charset="0"/>
              <a:buChar char="•"/>
              <a:tabLst/>
              <a:defRPr sz="1600"/>
            </a:lvl6pPr>
          </a:lstStyle>
          <a:p>
            <a:pPr lvl="0"/>
            <a:r>
              <a:rPr lang="en-US" dirty="0"/>
              <a:t>Text</a:t>
            </a:r>
          </a:p>
          <a:p>
            <a:pPr lvl="1"/>
            <a:r>
              <a:rPr lang="en-US" dirty="0"/>
              <a:t>Text</a:t>
            </a:r>
          </a:p>
          <a:p>
            <a:pPr lvl="2"/>
            <a:r>
              <a:rPr lang="en-US" dirty="0"/>
              <a:t>Text</a:t>
            </a:r>
          </a:p>
          <a:p>
            <a:pPr lvl="3"/>
            <a:r>
              <a:rPr lang="en-US" dirty="0"/>
              <a:t>Text</a:t>
            </a:r>
          </a:p>
          <a:p>
            <a:pPr lvl="4"/>
            <a:r>
              <a:rPr lang="en-US" dirty="0"/>
              <a:t>Text</a:t>
            </a:r>
          </a:p>
          <a:p>
            <a:pPr lvl="5"/>
            <a:r>
              <a:rPr lang="en-US" dirty="0"/>
              <a:t>Text</a:t>
            </a:r>
          </a:p>
        </p:txBody>
      </p:sp>
      <p:sp>
        <p:nvSpPr>
          <p:cNvPr id="5" name="Text Placeholder 6">
            <a:extLst>
              <a:ext uri="{FF2B5EF4-FFF2-40B4-BE49-F238E27FC236}">
                <a16:creationId xmlns:a16="http://schemas.microsoft.com/office/drawing/2014/main" id="{F629D3AD-8178-91BD-9112-8714006726E9}"/>
              </a:ext>
            </a:extLst>
          </p:cNvPr>
          <p:cNvSpPr>
            <a:spLocks noGrp="1"/>
          </p:cNvSpPr>
          <p:nvPr>
            <p:ph type="body" sz="quarter" idx="10" hasCustomPrompt="1"/>
          </p:nvPr>
        </p:nvSpPr>
        <p:spPr>
          <a:xfrm>
            <a:off x="585500" y="291579"/>
            <a:ext cx="11035000" cy="1184960"/>
          </a:xfrm>
          <a:prstGeom prst="rect">
            <a:avLst/>
          </a:prstGeom>
        </p:spPr>
        <p:txBody>
          <a:bodyPr rIns="91440"/>
          <a:lstStyle>
            <a:lvl1pPr marL="0" indent="0">
              <a:lnSpc>
                <a:spcPct val="80000"/>
              </a:lnSpc>
              <a:buFontTx/>
              <a:buNone/>
              <a:defRPr sz="3400" b="1"/>
            </a:lvl1pPr>
          </a:lstStyle>
          <a:p>
            <a:r>
              <a:rPr lang="en-US" dirty="0"/>
              <a:t>Title </a:t>
            </a:r>
          </a:p>
        </p:txBody>
      </p:sp>
      <p:sp>
        <p:nvSpPr>
          <p:cNvPr id="2" name="Text Placeholder 11">
            <a:extLst>
              <a:ext uri="{FF2B5EF4-FFF2-40B4-BE49-F238E27FC236}">
                <a16:creationId xmlns:a16="http://schemas.microsoft.com/office/drawing/2014/main" id="{883F5D7C-08DF-EA5F-3655-7A5B30D56D71}"/>
              </a:ext>
            </a:extLst>
          </p:cNvPr>
          <p:cNvSpPr>
            <a:spLocks noGrp="1"/>
          </p:cNvSpPr>
          <p:nvPr>
            <p:ph type="body" sz="quarter" idx="14"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
        <p:nvSpPr>
          <p:cNvPr id="4" name="Content Placeholder 10">
            <a:extLst>
              <a:ext uri="{FF2B5EF4-FFF2-40B4-BE49-F238E27FC236}">
                <a16:creationId xmlns:a16="http://schemas.microsoft.com/office/drawing/2014/main" id="{ADEF60A1-FD62-F3B6-918D-419ACD8C4166}"/>
              </a:ext>
            </a:extLst>
          </p:cNvPr>
          <p:cNvSpPr>
            <a:spLocks noGrp="1"/>
          </p:cNvSpPr>
          <p:nvPr>
            <p:ph sz="quarter" idx="15" hasCustomPrompt="1"/>
          </p:nvPr>
        </p:nvSpPr>
        <p:spPr>
          <a:xfrm>
            <a:off x="6250186" y="1615389"/>
            <a:ext cx="5352168" cy="4548883"/>
          </a:xfrm>
          <a:prstGeom prst="rect">
            <a:avLst/>
          </a:prstGeom>
        </p:spPr>
        <p:txBody>
          <a:bodyPr numCol="1" spcCol="228600">
            <a:normAutofit/>
          </a:bodyPr>
          <a:lstStyle>
            <a:lvl1pPr marL="342900" indent="-342900">
              <a:buFont typeface="+mj-lt"/>
              <a:buAutoNum type="arabicPeriod"/>
              <a:tabLst>
                <a:tab pos="283464" algn="l"/>
                <a:tab pos="676656" algn="l"/>
                <a:tab pos="1088136" algn="l"/>
              </a:tabLst>
              <a:defRPr sz="1800">
                <a:latin typeface="Aptos" panose="020B0004020202020204" pitchFamily="34" charset="0"/>
              </a:defRPr>
            </a:lvl1pPr>
            <a:lvl2pPr marL="688975" indent="-331788">
              <a:buFont typeface="+mj-lt"/>
              <a:buAutoNum type="alphaLcPeriod"/>
              <a:tabLst>
                <a:tab pos="283464" algn="l"/>
                <a:tab pos="676656" algn="l"/>
                <a:tab pos="1088136" algn="l"/>
              </a:tabLst>
              <a:defRPr sz="1800">
                <a:latin typeface="Aptos" panose="020B0004020202020204" pitchFamily="34" charset="0"/>
              </a:defRPr>
            </a:lvl2pPr>
            <a:lvl3pPr marL="923925" indent="-222250">
              <a:buFont typeface="Arial" panose="020B0604020202020204" pitchFamily="34" charset="0"/>
              <a:buChar char="•"/>
              <a:tabLst>
                <a:tab pos="283464" algn="l"/>
                <a:tab pos="676656" algn="l"/>
                <a:tab pos="1088136" algn="l"/>
              </a:tabLst>
              <a:defRPr sz="1800">
                <a:latin typeface="Aptos" panose="020B0004020202020204" pitchFamily="34" charset="0"/>
              </a:defRPr>
            </a:lvl3pPr>
            <a:lvl4pPr marL="923925" indent="284163">
              <a:buFont typeface="Courier New" panose="02070309020205020404" pitchFamily="49" charset="0"/>
              <a:buChar char="o"/>
              <a:tabLst>
                <a:tab pos="283464" algn="l"/>
                <a:tab pos="676656" algn="l"/>
                <a:tab pos="1088136" algn="l"/>
              </a:tabLst>
              <a:defRPr sz="1600">
                <a:latin typeface="Aptos" panose="020B0004020202020204" pitchFamily="34" charset="0"/>
              </a:defRPr>
            </a:lvl4pPr>
            <a:lvl5pPr marL="1603375" indent="-346075">
              <a:buFont typeface="System Font Regular"/>
              <a:buChar char="—"/>
              <a:tabLst>
                <a:tab pos="283464" algn="l"/>
                <a:tab pos="676656" algn="l"/>
                <a:tab pos="1088136" algn="l"/>
              </a:tabLst>
              <a:defRPr sz="1600">
                <a:latin typeface="Aptos" panose="020B0004020202020204" pitchFamily="34" charset="0"/>
              </a:defRPr>
            </a:lvl5pPr>
            <a:lvl6pPr marL="1892300" indent="-288925">
              <a:buFont typeface="Arial" panose="020B0604020202020204" pitchFamily="34" charset="0"/>
              <a:buChar char="•"/>
              <a:tabLst/>
              <a:defRPr sz="1600"/>
            </a:lvl6pPr>
          </a:lstStyle>
          <a:p>
            <a:pPr lvl="0"/>
            <a:r>
              <a:rPr lang="en-US" dirty="0"/>
              <a:t>Text</a:t>
            </a:r>
          </a:p>
          <a:p>
            <a:pPr lvl="1"/>
            <a:r>
              <a:rPr lang="en-US" dirty="0"/>
              <a:t>Text</a:t>
            </a:r>
          </a:p>
          <a:p>
            <a:pPr lvl="2"/>
            <a:r>
              <a:rPr lang="en-US" dirty="0"/>
              <a:t>Text</a:t>
            </a:r>
          </a:p>
          <a:p>
            <a:pPr lvl="3"/>
            <a:r>
              <a:rPr lang="en-US" dirty="0"/>
              <a:t>Text</a:t>
            </a:r>
          </a:p>
          <a:p>
            <a:pPr lvl="4"/>
            <a:r>
              <a:rPr lang="en-US" dirty="0"/>
              <a:t>Text</a:t>
            </a:r>
          </a:p>
          <a:p>
            <a:pPr lvl="5"/>
            <a:r>
              <a:rPr lang="en-US" dirty="0"/>
              <a:t>Text</a:t>
            </a:r>
          </a:p>
        </p:txBody>
      </p:sp>
    </p:spTree>
    <p:extLst>
      <p:ext uri="{BB962C8B-B14F-4D97-AF65-F5344CB8AC3E}">
        <p14:creationId xmlns:p14="http://schemas.microsoft.com/office/powerpoint/2010/main" val="5653791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_image left">
    <p:spTree>
      <p:nvGrpSpPr>
        <p:cNvPr id="1" name=""/>
        <p:cNvGrpSpPr/>
        <p:nvPr/>
      </p:nvGrpSpPr>
      <p:grpSpPr>
        <a:xfrm>
          <a:off x="0" y="0"/>
          <a:ext cx="0" cy="0"/>
          <a:chOff x="0" y="0"/>
          <a:chExt cx="0" cy="0"/>
        </a:xfrm>
      </p:grpSpPr>
      <p:pic>
        <p:nvPicPr>
          <p:cNvPr id="3" name="Picture 2" descr="A white background with lines&#10;&#10;Description automatically generated">
            <a:extLst>
              <a:ext uri="{FF2B5EF4-FFF2-40B4-BE49-F238E27FC236}">
                <a16:creationId xmlns:a16="http://schemas.microsoft.com/office/drawing/2014/main" id="{BBED2E0F-C75D-0FB0-6105-E1B0887EF9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50109"/>
          <a:stretch/>
        </p:blipFill>
        <p:spPr>
          <a:xfrm rot="10800000">
            <a:off x="0" y="0"/>
            <a:ext cx="12197318" cy="3429000"/>
          </a:xfrm>
          <a:prstGeom prst="rect">
            <a:avLst/>
          </a:prstGeom>
        </p:spPr>
      </p:pic>
      <p:cxnSp>
        <p:nvCxnSpPr>
          <p:cNvPr id="15" name="Straight Connector 14"/>
          <p:cNvCxnSpPr/>
          <p:nvPr userDrawn="1"/>
        </p:nvCxnSpPr>
        <p:spPr>
          <a:xfrm>
            <a:off x="10741367" y="750118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13">
            <a:extLst>
              <a:ext uri="{FF2B5EF4-FFF2-40B4-BE49-F238E27FC236}">
                <a16:creationId xmlns:a16="http://schemas.microsoft.com/office/drawing/2014/main" id="{582BC42E-337D-DFB9-68B3-8D77AE8AB3E2}"/>
              </a:ext>
            </a:extLst>
          </p:cNvPr>
          <p:cNvSpPr>
            <a:spLocks noGrp="1"/>
          </p:cNvSpPr>
          <p:nvPr>
            <p:ph type="body" sz="quarter" idx="16" hasCustomPrompt="1"/>
          </p:nvPr>
        </p:nvSpPr>
        <p:spPr>
          <a:xfrm>
            <a:off x="587761" y="4765607"/>
            <a:ext cx="7813290" cy="716536"/>
          </a:xfrm>
          <a:prstGeom prst="rect">
            <a:avLst/>
          </a:prstGeom>
        </p:spPr>
        <p:txBody>
          <a:bodyPr anchor="t"/>
          <a:lstStyle>
            <a:lvl1pPr marL="0" indent="0">
              <a:lnSpc>
                <a:spcPts val="2400"/>
              </a:lnSpc>
              <a:buNone/>
              <a:defRPr sz="2000">
                <a:latin typeface="Aptos" panose="020B0004020202020204" pitchFamily="34" charset="0"/>
              </a:defRPr>
            </a:lvl1pPr>
          </a:lstStyle>
          <a:p>
            <a:pPr>
              <a:lnSpc>
                <a:spcPct val="100000"/>
              </a:lnSpc>
            </a:pPr>
            <a:r>
              <a:rPr lang="en-US" sz="2000" b="0"/>
              <a:t>Subhead title for section</a:t>
            </a:r>
          </a:p>
        </p:txBody>
      </p:sp>
      <p:sp>
        <p:nvSpPr>
          <p:cNvPr id="2" name="Title 1">
            <a:extLst>
              <a:ext uri="{FF2B5EF4-FFF2-40B4-BE49-F238E27FC236}">
                <a16:creationId xmlns:a16="http://schemas.microsoft.com/office/drawing/2014/main" id="{84A34E95-7407-00FF-8392-D2C166709ACF}"/>
              </a:ext>
            </a:extLst>
          </p:cNvPr>
          <p:cNvSpPr>
            <a:spLocks noGrp="1"/>
          </p:cNvSpPr>
          <p:nvPr>
            <p:ph type="title" hasCustomPrompt="1"/>
          </p:nvPr>
        </p:nvSpPr>
        <p:spPr>
          <a:xfrm>
            <a:off x="587760" y="3613660"/>
            <a:ext cx="7813290" cy="1159307"/>
          </a:xfrm>
          <a:prstGeom prst="rect">
            <a:avLst/>
          </a:prstGeom>
        </p:spPr>
        <p:txBody>
          <a:bodyPr rIns="914400" anchor="b" anchorCtr="0">
            <a:normAutofit/>
          </a:bodyPr>
          <a:lstStyle>
            <a:lvl1pPr>
              <a:lnSpc>
                <a:spcPct val="80000"/>
              </a:lnSpc>
              <a:defRPr sz="3400">
                <a:latin typeface="Aptos" panose="020B0004020202020204" pitchFamily="34" charset="0"/>
              </a:defRPr>
            </a:lvl1pPr>
          </a:lstStyle>
          <a:p>
            <a:r>
              <a:rPr lang="en-US"/>
              <a:t>Section title</a:t>
            </a:r>
          </a:p>
        </p:txBody>
      </p:sp>
      <p:sp>
        <p:nvSpPr>
          <p:cNvPr id="6" name="Round Same Side Corner Rectangle 5">
            <a:extLst>
              <a:ext uri="{FF2B5EF4-FFF2-40B4-BE49-F238E27FC236}">
                <a16:creationId xmlns:a16="http://schemas.microsoft.com/office/drawing/2014/main" id="{5BFFF836-895A-08CC-3A71-172327C5F84F}"/>
              </a:ext>
            </a:extLst>
          </p:cNvPr>
          <p:cNvSpPr/>
          <p:nvPr userDrawn="1"/>
        </p:nvSpPr>
        <p:spPr>
          <a:xfrm rot="5400000">
            <a:off x="-10274" y="4250463"/>
            <a:ext cx="395856" cy="395856"/>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1">
            <a:extLst>
              <a:ext uri="{FF2B5EF4-FFF2-40B4-BE49-F238E27FC236}">
                <a16:creationId xmlns:a16="http://schemas.microsoft.com/office/drawing/2014/main" id="{DA043BB1-5599-20A4-8DF3-3836BAFC345A}"/>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Tree>
    <p:extLst>
      <p:ext uri="{BB962C8B-B14F-4D97-AF65-F5344CB8AC3E}">
        <p14:creationId xmlns:p14="http://schemas.microsoft.com/office/powerpoint/2010/main" val="14268097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_flex_blue ">
    <p:spTree>
      <p:nvGrpSpPr>
        <p:cNvPr id="1" name=""/>
        <p:cNvGrpSpPr/>
        <p:nvPr/>
      </p:nvGrpSpPr>
      <p:grpSpPr>
        <a:xfrm>
          <a:off x="0" y="0"/>
          <a:ext cx="0" cy="0"/>
          <a:chOff x="0" y="0"/>
          <a:chExt cx="0" cy="0"/>
        </a:xfrm>
      </p:grpSpPr>
      <p:sp>
        <p:nvSpPr>
          <p:cNvPr id="3" name="Round Single Corner Rectangle 2">
            <a:extLst>
              <a:ext uri="{FF2B5EF4-FFF2-40B4-BE49-F238E27FC236}">
                <a16:creationId xmlns:a16="http://schemas.microsoft.com/office/drawing/2014/main" id="{077B400E-D4A9-95D6-78AF-CE23695E51A3}"/>
              </a:ext>
            </a:extLst>
          </p:cNvPr>
          <p:cNvSpPr/>
          <p:nvPr userDrawn="1"/>
        </p:nvSpPr>
        <p:spPr>
          <a:xfrm>
            <a:off x="0" y="2121744"/>
            <a:ext cx="11704320" cy="4217670"/>
          </a:xfrm>
          <a:prstGeom prst="round1Rect">
            <a:avLst>
              <a:gd name="adj" fmla="val 1437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79120" y="2617554"/>
            <a:ext cx="8192921" cy="1325563"/>
          </a:xfrm>
          <a:prstGeom prst="rect">
            <a:avLst/>
          </a:prstGeom>
        </p:spPr>
        <p:txBody>
          <a:bodyPr anchor="b">
            <a:normAutofit/>
          </a:bodyPr>
          <a:lstStyle>
            <a:lvl1pPr>
              <a:lnSpc>
                <a:spcPct val="80000"/>
              </a:lnSpc>
              <a:defRPr sz="3400">
                <a:solidFill>
                  <a:schemeClr val="tx1"/>
                </a:solidFill>
                <a:latin typeface="Aptos" panose="020B0004020202020204" pitchFamily="34" charset="0"/>
              </a:defRPr>
            </a:lvl1pPr>
          </a:lstStyle>
          <a:p>
            <a:r>
              <a:rPr lang="en-US"/>
              <a:t>Section title</a:t>
            </a:r>
          </a:p>
        </p:txBody>
      </p:sp>
      <p:sp>
        <p:nvSpPr>
          <p:cNvPr id="14" name="Text Placeholder 13">
            <a:extLst>
              <a:ext uri="{FF2B5EF4-FFF2-40B4-BE49-F238E27FC236}">
                <a16:creationId xmlns:a16="http://schemas.microsoft.com/office/drawing/2014/main" id="{862A837B-3EE9-9BC5-8EE4-29A295B9E74E}"/>
              </a:ext>
            </a:extLst>
          </p:cNvPr>
          <p:cNvSpPr>
            <a:spLocks noGrp="1"/>
          </p:cNvSpPr>
          <p:nvPr>
            <p:ph type="body" sz="quarter" idx="16" hasCustomPrompt="1"/>
          </p:nvPr>
        </p:nvSpPr>
        <p:spPr>
          <a:xfrm>
            <a:off x="579120" y="4230579"/>
            <a:ext cx="3438725" cy="396285"/>
          </a:xfrm>
          <a:prstGeom prst="rect">
            <a:avLst/>
          </a:prstGeom>
        </p:spPr>
        <p:txBody>
          <a:bodyPr anchor="t"/>
          <a:lstStyle>
            <a:lvl1pPr marL="0" indent="0">
              <a:lnSpc>
                <a:spcPts val="2400"/>
              </a:lnSpc>
              <a:buNone/>
              <a:defRPr sz="1800" b="1">
                <a:latin typeface="Aptos" panose="020B0004020202020204" pitchFamily="34" charset="0"/>
              </a:defRPr>
            </a:lvl1pPr>
          </a:lstStyle>
          <a:p>
            <a:pPr>
              <a:lnSpc>
                <a:spcPct val="100000"/>
              </a:lnSpc>
            </a:pPr>
            <a:r>
              <a:rPr lang="en-US" sz="2000" b="0"/>
              <a:t>Insert text</a:t>
            </a:r>
          </a:p>
        </p:txBody>
      </p:sp>
      <p:sp>
        <p:nvSpPr>
          <p:cNvPr id="6" name="Text Placeholder 13">
            <a:extLst>
              <a:ext uri="{FF2B5EF4-FFF2-40B4-BE49-F238E27FC236}">
                <a16:creationId xmlns:a16="http://schemas.microsoft.com/office/drawing/2014/main" id="{56528EBD-FD04-8E11-E1DA-8D39BC7FD78C}"/>
              </a:ext>
            </a:extLst>
          </p:cNvPr>
          <p:cNvSpPr>
            <a:spLocks noGrp="1"/>
          </p:cNvSpPr>
          <p:nvPr>
            <p:ph type="body" sz="quarter" idx="17" hasCustomPrompt="1"/>
          </p:nvPr>
        </p:nvSpPr>
        <p:spPr>
          <a:xfrm>
            <a:off x="4265134" y="4230579"/>
            <a:ext cx="3438725" cy="396285"/>
          </a:xfrm>
          <a:prstGeom prst="rect">
            <a:avLst/>
          </a:prstGeom>
        </p:spPr>
        <p:txBody>
          <a:bodyPr anchor="t"/>
          <a:lstStyle>
            <a:lvl1pPr marL="0" indent="0">
              <a:lnSpc>
                <a:spcPts val="2400"/>
              </a:lnSpc>
              <a:buNone/>
              <a:defRPr sz="1800" b="1">
                <a:latin typeface="Aptos" panose="020B0004020202020204" pitchFamily="34" charset="0"/>
              </a:defRPr>
            </a:lvl1pPr>
          </a:lstStyle>
          <a:p>
            <a:pPr>
              <a:lnSpc>
                <a:spcPct val="100000"/>
              </a:lnSpc>
            </a:pPr>
            <a:r>
              <a:rPr lang="en-US" sz="2000" b="0"/>
              <a:t>Insert text</a:t>
            </a:r>
          </a:p>
        </p:txBody>
      </p:sp>
      <p:sp>
        <p:nvSpPr>
          <p:cNvPr id="5" name="Text Placeholder 4">
            <a:extLst>
              <a:ext uri="{FF2B5EF4-FFF2-40B4-BE49-F238E27FC236}">
                <a16:creationId xmlns:a16="http://schemas.microsoft.com/office/drawing/2014/main" id="{53D1278E-64B1-0209-FB40-5B22FD4C56DC}"/>
              </a:ext>
            </a:extLst>
          </p:cNvPr>
          <p:cNvSpPr>
            <a:spLocks noGrp="1"/>
          </p:cNvSpPr>
          <p:nvPr>
            <p:ph type="body" sz="quarter" idx="18" hasCustomPrompt="1"/>
          </p:nvPr>
        </p:nvSpPr>
        <p:spPr>
          <a:xfrm>
            <a:off x="571500" y="4754564"/>
            <a:ext cx="3446463" cy="1223328"/>
          </a:xfrm>
          <a:prstGeom prst="rect">
            <a:avLst/>
          </a:prstGeom>
        </p:spPr>
        <p:txBody>
          <a:bodyPr>
            <a:normAutofit/>
          </a:bodyPr>
          <a:lstStyle>
            <a:lvl1pPr marL="0" indent="0">
              <a:buNone/>
              <a:defRPr sz="1200"/>
            </a:lvl1pPr>
          </a:lstStyle>
          <a:p>
            <a:pPr lvl="0"/>
            <a:r>
              <a:rPr lang="en-US"/>
              <a:t>Body text</a:t>
            </a:r>
          </a:p>
        </p:txBody>
      </p:sp>
      <p:sp>
        <p:nvSpPr>
          <p:cNvPr id="7" name="Text Placeholder 4">
            <a:extLst>
              <a:ext uri="{FF2B5EF4-FFF2-40B4-BE49-F238E27FC236}">
                <a16:creationId xmlns:a16="http://schemas.microsoft.com/office/drawing/2014/main" id="{6945DE25-F12E-8634-06C5-CD9A22DD7C4F}"/>
              </a:ext>
            </a:extLst>
          </p:cNvPr>
          <p:cNvSpPr>
            <a:spLocks noGrp="1"/>
          </p:cNvSpPr>
          <p:nvPr>
            <p:ph type="body" sz="quarter" idx="19" hasCustomPrompt="1"/>
          </p:nvPr>
        </p:nvSpPr>
        <p:spPr>
          <a:xfrm>
            <a:off x="4265134" y="4754563"/>
            <a:ext cx="3446463" cy="1223328"/>
          </a:xfrm>
          <a:prstGeom prst="rect">
            <a:avLst/>
          </a:prstGeom>
        </p:spPr>
        <p:txBody>
          <a:bodyPr>
            <a:normAutofit/>
          </a:bodyPr>
          <a:lstStyle>
            <a:lvl1pPr marL="0" indent="0">
              <a:buNone/>
              <a:defRPr sz="1200"/>
            </a:lvl1pPr>
          </a:lstStyle>
          <a:p>
            <a:pPr lvl="0"/>
            <a:r>
              <a:rPr lang="en-US"/>
              <a:t>Body text</a:t>
            </a:r>
          </a:p>
        </p:txBody>
      </p:sp>
      <p:grpSp>
        <p:nvGrpSpPr>
          <p:cNvPr id="10" name="Group 9">
            <a:extLst>
              <a:ext uri="{FF2B5EF4-FFF2-40B4-BE49-F238E27FC236}">
                <a16:creationId xmlns:a16="http://schemas.microsoft.com/office/drawing/2014/main" id="{8F5728D3-58A0-D1F2-671B-1F66A8784290}"/>
              </a:ext>
            </a:extLst>
          </p:cNvPr>
          <p:cNvGrpSpPr>
            <a:grpSpLocks noChangeAspect="1"/>
          </p:cNvGrpSpPr>
          <p:nvPr userDrawn="1"/>
        </p:nvGrpSpPr>
        <p:grpSpPr>
          <a:xfrm>
            <a:off x="10927257" y="6488501"/>
            <a:ext cx="720091" cy="109404"/>
            <a:chOff x="8670176" y="6598728"/>
            <a:chExt cx="724928" cy="110139"/>
          </a:xfrm>
        </p:grpSpPr>
        <p:sp>
          <p:nvSpPr>
            <p:cNvPr id="11" name="Freeform 10">
              <a:extLst>
                <a:ext uri="{FF2B5EF4-FFF2-40B4-BE49-F238E27FC236}">
                  <a16:creationId xmlns:a16="http://schemas.microsoft.com/office/drawing/2014/main" id="{16EFF3AA-372B-63FC-6986-1BD7FEC4A45A}"/>
                </a:ext>
              </a:extLst>
            </p:cNvPr>
            <p:cNvSpPr/>
            <p:nvPr/>
          </p:nvSpPr>
          <p:spPr>
            <a:xfrm>
              <a:off x="8774500" y="6630582"/>
              <a:ext cx="85113" cy="78163"/>
            </a:xfrm>
            <a:custGeom>
              <a:avLst/>
              <a:gdLst>
                <a:gd name="connsiteX0" fmla="*/ 41348 w 85113"/>
                <a:gd name="connsiteY0" fmla="*/ 60277 h 78163"/>
                <a:gd name="connsiteX1" fmla="*/ 29771 w 85113"/>
                <a:gd name="connsiteY1" fmla="*/ 44840 h 78163"/>
                <a:gd name="connsiteX2" fmla="*/ 29771 w 85113"/>
                <a:gd name="connsiteY2" fmla="*/ 123 h 78163"/>
                <a:gd name="connsiteX3" fmla="*/ 0 w 85113"/>
                <a:gd name="connsiteY3" fmla="*/ 123 h 78163"/>
                <a:gd name="connsiteX4" fmla="*/ 0 w 85113"/>
                <a:gd name="connsiteY4" fmla="*/ 50966 h 78163"/>
                <a:gd name="connsiteX5" fmla="*/ 29516 w 85113"/>
                <a:gd name="connsiteY5" fmla="*/ 78164 h 78163"/>
                <a:gd name="connsiteX6" fmla="*/ 54325 w 85113"/>
                <a:gd name="connsiteY6" fmla="*/ 67505 h 78163"/>
                <a:gd name="connsiteX7" fmla="*/ 54834 w 85113"/>
                <a:gd name="connsiteY7" fmla="*/ 75958 h 78163"/>
                <a:gd name="connsiteX8" fmla="*/ 85114 w 85113"/>
                <a:gd name="connsiteY8" fmla="*/ 75958 h 78163"/>
                <a:gd name="connsiteX9" fmla="*/ 84096 w 85113"/>
                <a:gd name="connsiteY9" fmla="*/ 56479 h 78163"/>
                <a:gd name="connsiteX10" fmla="*/ 84096 w 85113"/>
                <a:gd name="connsiteY10" fmla="*/ 0 h 78163"/>
                <a:gd name="connsiteX11" fmla="*/ 54325 w 85113"/>
                <a:gd name="connsiteY11" fmla="*/ 0 h 78163"/>
                <a:gd name="connsiteX12" fmla="*/ 54325 w 85113"/>
                <a:gd name="connsiteY12" fmla="*/ 43615 h 78163"/>
                <a:gd name="connsiteX13" fmla="*/ 41475 w 85113"/>
                <a:gd name="connsiteY13" fmla="*/ 60154 h 7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113" h="78163">
                  <a:moveTo>
                    <a:pt x="41348" y="60277"/>
                  </a:moveTo>
                  <a:cubicBezTo>
                    <a:pt x="32061" y="60277"/>
                    <a:pt x="30152" y="52313"/>
                    <a:pt x="29771" y="44840"/>
                  </a:cubicBezTo>
                  <a:lnTo>
                    <a:pt x="29771" y="123"/>
                  </a:lnTo>
                  <a:cubicBezTo>
                    <a:pt x="29771" y="123"/>
                    <a:pt x="0" y="123"/>
                    <a:pt x="0" y="123"/>
                  </a:cubicBezTo>
                  <a:lnTo>
                    <a:pt x="0" y="50966"/>
                  </a:lnTo>
                  <a:cubicBezTo>
                    <a:pt x="0" y="67627"/>
                    <a:pt x="12595" y="78164"/>
                    <a:pt x="29516" y="78164"/>
                  </a:cubicBezTo>
                  <a:cubicBezTo>
                    <a:pt x="39694" y="78164"/>
                    <a:pt x="47455" y="75101"/>
                    <a:pt x="54325" y="67505"/>
                  </a:cubicBezTo>
                  <a:lnTo>
                    <a:pt x="54834" y="75958"/>
                  </a:lnTo>
                  <a:lnTo>
                    <a:pt x="85114" y="75958"/>
                  </a:lnTo>
                  <a:cubicBezTo>
                    <a:pt x="84350" y="67750"/>
                    <a:pt x="84223" y="63217"/>
                    <a:pt x="84096" y="56479"/>
                  </a:cubicBezTo>
                  <a:lnTo>
                    <a:pt x="84096" y="0"/>
                  </a:lnTo>
                  <a:cubicBezTo>
                    <a:pt x="84096" y="0"/>
                    <a:pt x="54325" y="0"/>
                    <a:pt x="54325" y="0"/>
                  </a:cubicBezTo>
                  <a:lnTo>
                    <a:pt x="54325" y="43615"/>
                  </a:lnTo>
                  <a:cubicBezTo>
                    <a:pt x="54325" y="44595"/>
                    <a:pt x="56234" y="60154"/>
                    <a:pt x="41475" y="60154"/>
                  </a:cubicBezTo>
                </a:path>
              </a:pathLst>
            </a:custGeom>
            <a:solidFill>
              <a:srgbClr val="231F20"/>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AC036F7-A964-B025-01FF-983A55E78DDF}"/>
                </a:ext>
              </a:extLst>
            </p:cNvPr>
            <p:cNvSpPr/>
            <p:nvPr/>
          </p:nvSpPr>
          <p:spPr>
            <a:xfrm>
              <a:off x="8866866" y="6628620"/>
              <a:ext cx="139311" cy="78042"/>
            </a:xfrm>
            <a:custGeom>
              <a:avLst/>
              <a:gdLst>
                <a:gd name="connsiteX0" fmla="*/ 29389 w 139311"/>
                <a:gd name="connsiteY0" fmla="*/ 2084 h 78042"/>
                <a:gd name="connsiteX1" fmla="*/ 0 w 139311"/>
                <a:gd name="connsiteY1" fmla="*/ 2084 h 78042"/>
                <a:gd name="connsiteX2" fmla="*/ 1018 w 139311"/>
                <a:gd name="connsiteY2" fmla="*/ 21563 h 78042"/>
                <a:gd name="connsiteX3" fmla="*/ 1018 w 139311"/>
                <a:gd name="connsiteY3" fmla="*/ 78042 h 78042"/>
                <a:gd name="connsiteX4" fmla="*/ 30788 w 139311"/>
                <a:gd name="connsiteY4" fmla="*/ 78042 h 78042"/>
                <a:gd name="connsiteX5" fmla="*/ 30788 w 139311"/>
                <a:gd name="connsiteY5" fmla="*/ 34427 h 78042"/>
                <a:gd name="connsiteX6" fmla="*/ 43765 w 139311"/>
                <a:gd name="connsiteY6" fmla="*/ 17888 h 78042"/>
                <a:gd name="connsiteX7" fmla="*/ 55343 w 139311"/>
                <a:gd name="connsiteY7" fmla="*/ 33325 h 78042"/>
                <a:gd name="connsiteX8" fmla="*/ 55343 w 139311"/>
                <a:gd name="connsiteY8" fmla="*/ 78042 h 78042"/>
                <a:gd name="connsiteX9" fmla="*/ 85114 w 139311"/>
                <a:gd name="connsiteY9" fmla="*/ 78042 h 78042"/>
                <a:gd name="connsiteX10" fmla="*/ 85114 w 139311"/>
                <a:gd name="connsiteY10" fmla="*/ 34427 h 78042"/>
                <a:gd name="connsiteX11" fmla="*/ 97963 w 139311"/>
                <a:gd name="connsiteY11" fmla="*/ 18011 h 78042"/>
                <a:gd name="connsiteX12" fmla="*/ 109541 w 139311"/>
                <a:gd name="connsiteY12" fmla="*/ 33447 h 78042"/>
                <a:gd name="connsiteX13" fmla="*/ 109541 w 139311"/>
                <a:gd name="connsiteY13" fmla="*/ 78042 h 78042"/>
                <a:gd name="connsiteX14" fmla="*/ 139312 w 139311"/>
                <a:gd name="connsiteY14" fmla="*/ 78042 h 78042"/>
                <a:gd name="connsiteX15" fmla="*/ 139312 w 139311"/>
                <a:gd name="connsiteY15" fmla="*/ 27322 h 78042"/>
                <a:gd name="connsiteX16" fmla="*/ 109795 w 139311"/>
                <a:gd name="connsiteY16" fmla="*/ 1 h 78042"/>
                <a:gd name="connsiteX17" fmla="*/ 81679 w 139311"/>
                <a:gd name="connsiteY17" fmla="*/ 14580 h 78042"/>
                <a:gd name="connsiteX18" fmla="*/ 58015 w 139311"/>
                <a:gd name="connsiteY18" fmla="*/ 491 h 78042"/>
                <a:gd name="connsiteX19" fmla="*/ 30280 w 139311"/>
                <a:gd name="connsiteY19" fmla="*/ 14948 h 78042"/>
                <a:gd name="connsiteX20" fmla="*/ 30025 w 139311"/>
                <a:gd name="connsiteY20" fmla="*/ 14948 h 78042"/>
                <a:gd name="connsiteX21" fmla="*/ 29516 w 139311"/>
                <a:gd name="connsiteY21" fmla="*/ 2329 h 7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311" h="78042">
                  <a:moveTo>
                    <a:pt x="29389" y="2084"/>
                  </a:moveTo>
                  <a:lnTo>
                    <a:pt x="0" y="2084"/>
                  </a:lnTo>
                  <a:cubicBezTo>
                    <a:pt x="763" y="10292"/>
                    <a:pt x="1018" y="14825"/>
                    <a:pt x="1018" y="21563"/>
                  </a:cubicBezTo>
                  <a:lnTo>
                    <a:pt x="1018" y="78042"/>
                  </a:lnTo>
                  <a:cubicBezTo>
                    <a:pt x="1018" y="78042"/>
                    <a:pt x="30788" y="78042"/>
                    <a:pt x="30788" y="78042"/>
                  </a:cubicBezTo>
                  <a:lnTo>
                    <a:pt x="30788" y="34427"/>
                  </a:lnTo>
                  <a:cubicBezTo>
                    <a:pt x="30788" y="33570"/>
                    <a:pt x="28880" y="17888"/>
                    <a:pt x="43765" y="17888"/>
                  </a:cubicBezTo>
                  <a:cubicBezTo>
                    <a:pt x="53053" y="17888"/>
                    <a:pt x="54961" y="25851"/>
                    <a:pt x="55343" y="33325"/>
                  </a:cubicBezTo>
                  <a:lnTo>
                    <a:pt x="55343" y="78042"/>
                  </a:lnTo>
                  <a:cubicBezTo>
                    <a:pt x="55343" y="78042"/>
                    <a:pt x="85114" y="78042"/>
                    <a:pt x="85114" y="78042"/>
                  </a:cubicBezTo>
                  <a:lnTo>
                    <a:pt x="85114" y="34427"/>
                  </a:lnTo>
                  <a:cubicBezTo>
                    <a:pt x="85114" y="33570"/>
                    <a:pt x="83205" y="18011"/>
                    <a:pt x="97963" y="18011"/>
                  </a:cubicBezTo>
                  <a:cubicBezTo>
                    <a:pt x="107251" y="18011"/>
                    <a:pt x="109159" y="25974"/>
                    <a:pt x="109541" y="33447"/>
                  </a:cubicBezTo>
                  <a:lnTo>
                    <a:pt x="109541" y="78042"/>
                  </a:lnTo>
                  <a:cubicBezTo>
                    <a:pt x="109541" y="78042"/>
                    <a:pt x="139312" y="78042"/>
                    <a:pt x="139312" y="78042"/>
                  </a:cubicBezTo>
                  <a:lnTo>
                    <a:pt x="139312" y="27322"/>
                  </a:lnTo>
                  <a:cubicBezTo>
                    <a:pt x="139312" y="10537"/>
                    <a:pt x="126716" y="-121"/>
                    <a:pt x="109795" y="1"/>
                  </a:cubicBezTo>
                  <a:cubicBezTo>
                    <a:pt x="97963" y="369"/>
                    <a:pt x="87022" y="5514"/>
                    <a:pt x="81679" y="14580"/>
                  </a:cubicBezTo>
                  <a:cubicBezTo>
                    <a:pt x="78371" y="5392"/>
                    <a:pt x="67557" y="491"/>
                    <a:pt x="58015" y="491"/>
                  </a:cubicBezTo>
                  <a:cubicBezTo>
                    <a:pt x="46183" y="491"/>
                    <a:pt x="35750" y="4412"/>
                    <a:pt x="30280" y="14948"/>
                  </a:cubicBezTo>
                  <a:lnTo>
                    <a:pt x="30025" y="14948"/>
                  </a:lnTo>
                  <a:lnTo>
                    <a:pt x="29516" y="2329"/>
                  </a:lnTo>
                  <a:close/>
                </a:path>
              </a:pathLst>
            </a:custGeom>
            <a:solidFill>
              <a:srgbClr val="231F20"/>
            </a:solidFill>
            <a:ln w="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DD055D0C-809A-8555-44B4-C65E2F6A17BC}"/>
                </a:ext>
              </a:extLst>
            </p:cNvPr>
            <p:cNvSpPr/>
            <p:nvPr/>
          </p:nvSpPr>
          <p:spPr>
            <a:xfrm>
              <a:off x="8670176" y="6598728"/>
              <a:ext cx="96691" cy="107934"/>
            </a:xfrm>
            <a:custGeom>
              <a:avLst/>
              <a:gdLst>
                <a:gd name="connsiteX0" fmla="*/ 60686 w 96691"/>
                <a:gd name="connsiteY0" fmla="*/ 30751 h 107934"/>
                <a:gd name="connsiteX1" fmla="*/ 96691 w 96691"/>
                <a:gd name="connsiteY1" fmla="*/ 30751 h 107934"/>
                <a:gd name="connsiteX2" fmla="*/ 96691 w 96691"/>
                <a:gd name="connsiteY2" fmla="*/ 0 h 107934"/>
                <a:gd name="connsiteX3" fmla="*/ 56106 w 96691"/>
                <a:gd name="connsiteY3" fmla="*/ 0 h 107934"/>
                <a:gd name="connsiteX4" fmla="*/ 0 w 96691"/>
                <a:gd name="connsiteY4" fmla="*/ 53906 h 107934"/>
                <a:gd name="connsiteX5" fmla="*/ 55979 w 96691"/>
                <a:gd name="connsiteY5" fmla="*/ 107935 h 107934"/>
                <a:gd name="connsiteX6" fmla="*/ 96691 w 96691"/>
                <a:gd name="connsiteY6" fmla="*/ 107935 h 107934"/>
                <a:gd name="connsiteX7" fmla="*/ 96691 w 96691"/>
                <a:gd name="connsiteY7" fmla="*/ 77184 h 107934"/>
                <a:gd name="connsiteX8" fmla="*/ 60432 w 96691"/>
                <a:gd name="connsiteY8" fmla="*/ 77184 h 107934"/>
                <a:gd name="connsiteX9" fmla="*/ 36386 w 96691"/>
                <a:gd name="connsiteY9" fmla="*/ 53906 h 107934"/>
                <a:gd name="connsiteX10" fmla="*/ 60559 w 96691"/>
                <a:gd name="connsiteY10" fmla="*/ 30751 h 10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691" h="107934">
                  <a:moveTo>
                    <a:pt x="60686" y="30751"/>
                  </a:moveTo>
                  <a:lnTo>
                    <a:pt x="96691" y="30751"/>
                  </a:lnTo>
                  <a:cubicBezTo>
                    <a:pt x="96691" y="30751"/>
                    <a:pt x="96691" y="0"/>
                    <a:pt x="96691" y="0"/>
                  </a:cubicBezTo>
                  <a:lnTo>
                    <a:pt x="56106" y="0"/>
                  </a:lnTo>
                  <a:cubicBezTo>
                    <a:pt x="25191" y="-122"/>
                    <a:pt x="0" y="24013"/>
                    <a:pt x="0" y="53906"/>
                  </a:cubicBezTo>
                  <a:cubicBezTo>
                    <a:pt x="0" y="83677"/>
                    <a:pt x="24936" y="107812"/>
                    <a:pt x="55979" y="107935"/>
                  </a:cubicBezTo>
                  <a:lnTo>
                    <a:pt x="96691" y="107935"/>
                  </a:lnTo>
                  <a:cubicBezTo>
                    <a:pt x="96691" y="107935"/>
                    <a:pt x="96691" y="77184"/>
                    <a:pt x="96691" y="77184"/>
                  </a:cubicBezTo>
                  <a:lnTo>
                    <a:pt x="60432" y="77184"/>
                  </a:lnTo>
                  <a:cubicBezTo>
                    <a:pt x="47073" y="77184"/>
                    <a:pt x="36386" y="66770"/>
                    <a:pt x="36386" y="53906"/>
                  </a:cubicBezTo>
                  <a:cubicBezTo>
                    <a:pt x="36386" y="41042"/>
                    <a:pt x="47201" y="30751"/>
                    <a:pt x="60559" y="30751"/>
                  </a:cubicBezTo>
                </a:path>
              </a:pathLst>
            </a:custGeom>
            <a:solidFill>
              <a:srgbClr val="231F20"/>
            </a:solidFill>
            <a:ln w="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2945128-F929-59CC-115C-36580AE13FB6}"/>
                </a:ext>
              </a:extLst>
            </p:cNvPr>
            <p:cNvSpPr/>
            <p:nvPr/>
          </p:nvSpPr>
          <p:spPr>
            <a:xfrm>
              <a:off x="9016228" y="6628499"/>
              <a:ext cx="139184" cy="78040"/>
            </a:xfrm>
            <a:custGeom>
              <a:avLst/>
              <a:gdLst>
                <a:gd name="connsiteX0" fmla="*/ 29389 w 139184"/>
                <a:gd name="connsiteY0" fmla="*/ 2083 h 78040"/>
                <a:gd name="connsiteX1" fmla="*/ 0 w 139184"/>
                <a:gd name="connsiteY1" fmla="*/ 2083 h 78040"/>
                <a:gd name="connsiteX2" fmla="*/ 1018 w 139184"/>
                <a:gd name="connsiteY2" fmla="*/ 21562 h 78040"/>
                <a:gd name="connsiteX3" fmla="*/ 1018 w 139184"/>
                <a:gd name="connsiteY3" fmla="*/ 78041 h 78040"/>
                <a:gd name="connsiteX4" fmla="*/ 30789 w 139184"/>
                <a:gd name="connsiteY4" fmla="*/ 78041 h 78040"/>
                <a:gd name="connsiteX5" fmla="*/ 30789 w 139184"/>
                <a:gd name="connsiteY5" fmla="*/ 34426 h 78040"/>
                <a:gd name="connsiteX6" fmla="*/ 43638 w 139184"/>
                <a:gd name="connsiteY6" fmla="*/ 17887 h 78040"/>
                <a:gd name="connsiteX7" fmla="*/ 55216 w 139184"/>
                <a:gd name="connsiteY7" fmla="*/ 33324 h 78040"/>
                <a:gd name="connsiteX8" fmla="*/ 55216 w 139184"/>
                <a:gd name="connsiteY8" fmla="*/ 78041 h 78040"/>
                <a:gd name="connsiteX9" fmla="*/ 84986 w 139184"/>
                <a:gd name="connsiteY9" fmla="*/ 78041 h 78040"/>
                <a:gd name="connsiteX10" fmla="*/ 84986 w 139184"/>
                <a:gd name="connsiteY10" fmla="*/ 34426 h 78040"/>
                <a:gd name="connsiteX11" fmla="*/ 97836 w 139184"/>
                <a:gd name="connsiteY11" fmla="*/ 18009 h 78040"/>
                <a:gd name="connsiteX12" fmla="*/ 109414 w 139184"/>
                <a:gd name="connsiteY12" fmla="*/ 33446 h 78040"/>
                <a:gd name="connsiteX13" fmla="*/ 109414 w 139184"/>
                <a:gd name="connsiteY13" fmla="*/ 78041 h 78040"/>
                <a:gd name="connsiteX14" fmla="*/ 139184 w 139184"/>
                <a:gd name="connsiteY14" fmla="*/ 78041 h 78040"/>
                <a:gd name="connsiteX15" fmla="*/ 139184 w 139184"/>
                <a:gd name="connsiteY15" fmla="*/ 27320 h 78040"/>
                <a:gd name="connsiteX16" fmla="*/ 109668 w 139184"/>
                <a:gd name="connsiteY16" fmla="*/ 0 h 78040"/>
                <a:gd name="connsiteX17" fmla="*/ 81551 w 139184"/>
                <a:gd name="connsiteY17" fmla="*/ 14579 h 78040"/>
                <a:gd name="connsiteX18" fmla="*/ 57887 w 139184"/>
                <a:gd name="connsiteY18" fmla="*/ 490 h 78040"/>
                <a:gd name="connsiteX19" fmla="*/ 30152 w 139184"/>
                <a:gd name="connsiteY19" fmla="*/ 14824 h 78040"/>
                <a:gd name="connsiteX20" fmla="*/ 29898 w 139184"/>
                <a:gd name="connsiteY20" fmla="*/ 14824 h 78040"/>
                <a:gd name="connsiteX21" fmla="*/ 29389 w 139184"/>
                <a:gd name="connsiteY21" fmla="*/ 2205 h 7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184" h="78040">
                  <a:moveTo>
                    <a:pt x="29389" y="2083"/>
                  </a:moveTo>
                  <a:lnTo>
                    <a:pt x="0" y="2083"/>
                  </a:lnTo>
                  <a:cubicBezTo>
                    <a:pt x="763" y="10291"/>
                    <a:pt x="891" y="14824"/>
                    <a:pt x="1018" y="21562"/>
                  </a:cubicBezTo>
                  <a:lnTo>
                    <a:pt x="1018" y="78041"/>
                  </a:lnTo>
                  <a:cubicBezTo>
                    <a:pt x="1018" y="78041"/>
                    <a:pt x="30789" y="78041"/>
                    <a:pt x="30789" y="78041"/>
                  </a:cubicBezTo>
                  <a:lnTo>
                    <a:pt x="30789" y="34426"/>
                  </a:lnTo>
                  <a:cubicBezTo>
                    <a:pt x="30789" y="33569"/>
                    <a:pt x="28880" y="17887"/>
                    <a:pt x="43638" y="17887"/>
                  </a:cubicBezTo>
                  <a:cubicBezTo>
                    <a:pt x="52926" y="17887"/>
                    <a:pt x="54834" y="25850"/>
                    <a:pt x="55216" y="33324"/>
                  </a:cubicBezTo>
                  <a:lnTo>
                    <a:pt x="55216" y="78041"/>
                  </a:lnTo>
                  <a:cubicBezTo>
                    <a:pt x="55216" y="78041"/>
                    <a:pt x="84986" y="78041"/>
                    <a:pt x="84986" y="78041"/>
                  </a:cubicBezTo>
                  <a:lnTo>
                    <a:pt x="84986" y="34426"/>
                  </a:lnTo>
                  <a:cubicBezTo>
                    <a:pt x="84986" y="33569"/>
                    <a:pt x="83078" y="18009"/>
                    <a:pt x="97836" y="18009"/>
                  </a:cubicBezTo>
                  <a:cubicBezTo>
                    <a:pt x="107124" y="18009"/>
                    <a:pt x="109032" y="25973"/>
                    <a:pt x="109414" y="33446"/>
                  </a:cubicBezTo>
                  <a:lnTo>
                    <a:pt x="109414" y="78041"/>
                  </a:lnTo>
                  <a:cubicBezTo>
                    <a:pt x="109414" y="78041"/>
                    <a:pt x="139184" y="78041"/>
                    <a:pt x="139184" y="78041"/>
                  </a:cubicBezTo>
                  <a:lnTo>
                    <a:pt x="139184" y="27320"/>
                  </a:lnTo>
                  <a:cubicBezTo>
                    <a:pt x="139184" y="10536"/>
                    <a:pt x="126589" y="0"/>
                    <a:pt x="109668" y="0"/>
                  </a:cubicBezTo>
                  <a:cubicBezTo>
                    <a:pt x="97836" y="368"/>
                    <a:pt x="86895" y="5513"/>
                    <a:pt x="81551" y="14579"/>
                  </a:cubicBezTo>
                  <a:cubicBezTo>
                    <a:pt x="78243" y="5391"/>
                    <a:pt x="67429" y="490"/>
                    <a:pt x="57887" y="490"/>
                  </a:cubicBezTo>
                  <a:cubicBezTo>
                    <a:pt x="46056" y="490"/>
                    <a:pt x="35623" y="4410"/>
                    <a:pt x="30152" y="14824"/>
                  </a:cubicBezTo>
                  <a:lnTo>
                    <a:pt x="29898" y="14824"/>
                  </a:lnTo>
                  <a:lnTo>
                    <a:pt x="29389" y="2205"/>
                  </a:lnTo>
                  <a:close/>
                </a:path>
              </a:pathLst>
            </a:custGeom>
            <a:solidFill>
              <a:srgbClr val="231F20"/>
            </a:solidFill>
            <a:ln w="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1F53842C-36FD-C355-3000-C3ADC91CE456}"/>
                </a:ext>
              </a:extLst>
            </p:cNvPr>
            <p:cNvSpPr/>
            <p:nvPr/>
          </p:nvSpPr>
          <p:spPr>
            <a:xfrm>
              <a:off x="9164700" y="6599096"/>
              <a:ext cx="30025" cy="20214"/>
            </a:xfrm>
            <a:custGeom>
              <a:avLst/>
              <a:gdLst>
                <a:gd name="connsiteX0" fmla="*/ 0 w 30025"/>
                <a:gd name="connsiteY0" fmla="*/ 0 h 20214"/>
                <a:gd name="connsiteX1" fmla="*/ 30025 w 30025"/>
                <a:gd name="connsiteY1" fmla="*/ 0 h 20214"/>
                <a:gd name="connsiteX2" fmla="*/ 30025 w 30025"/>
                <a:gd name="connsiteY2" fmla="*/ 20215 h 20214"/>
                <a:gd name="connsiteX3" fmla="*/ 0 w 30025"/>
                <a:gd name="connsiteY3" fmla="*/ 20215 h 20214"/>
              </a:gdLst>
              <a:ahLst/>
              <a:cxnLst>
                <a:cxn ang="0">
                  <a:pos x="connsiteX0" y="connsiteY0"/>
                </a:cxn>
                <a:cxn ang="0">
                  <a:pos x="connsiteX1" y="connsiteY1"/>
                </a:cxn>
                <a:cxn ang="0">
                  <a:pos x="connsiteX2" y="connsiteY2"/>
                </a:cxn>
                <a:cxn ang="0">
                  <a:pos x="connsiteX3" y="connsiteY3"/>
                </a:cxn>
              </a:cxnLst>
              <a:rect l="l" t="t" r="r" b="b"/>
              <a:pathLst>
                <a:path w="30025" h="20214">
                  <a:moveTo>
                    <a:pt x="0" y="0"/>
                  </a:moveTo>
                  <a:lnTo>
                    <a:pt x="30025" y="0"/>
                  </a:lnTo>
                  <a:lnTo>
                    <a:pt x="30025" y="20215"/>
                  </a:lnTo>
                  <a:lnTo>
                    <a:pt x="0" y="20215"/>
                  </a:lnTo>
                  <a:close/>
                </a:path>
              </a:pathLst>
            </a:custGeom>
            <a:solidFill>
              <a:srgbClr val="231F20"/>
            </a:solidFill>
            <a:ln w="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4A4B07-AC4C-81DF-2E59-89575B3FB3E2}"/>
                </a:ext>
              </a:extLst>
            </p:cNvPr>
            <p:cNvSpPr/>
            <p:nvPr/>
          </p:nvSpPr>
          <p:spPr>
            <a:xfrm>
              <a:off x="9203249" y="6628375"/>
              <a:ext cx="85113" cy="78287"/>
            </a:xfrm>
            <a:custGeom>
              <a:avLst/>
              <a:gdLst>
                <a:gd name="connsiteX0" fmla="*/ 43765 w 85113"/>
                <a:gd name="connsiteY0" fmla="*/ 17888 h 78287"/>
                <a:gd name="connsiteX1" fmla="*/ 55343 w 85113"/>
                <a:gd name="connsiteY1" fmla="*/ 33325 h 78287"/>
                <a:gd name="connsiteX2" fmla="*/ 55343 w 85113"/>
                <a:gd name="connsiteY2" fmla="*/ 78042 h 78287"/>
                <a:gd name="connsiteX3" fmla="*/ 85114 w 85113"/>
                <a:gd name="connsiteY3" fmla="*/ 78042 h 78287"/>
                <a:gd name="connsiteX4" fmla="*/ 85114 w 85113"/>
                <a:gd name="connsiteY4" fmla="*/ 27199 h 78287"/>
                <a:gd name="connsiteX5" fmla="*/ 55597 w 85113"/>
                <a:gd name="connsiteY5" fmla="*/ 1 h 78287"/>
                <a:gd name="connsiteX6" fmla="*/ 30788 w 85113"/>
                <a:gd name="connsiteY6" fmla="*/ 10660 h 78287"/>
                <a:gd name="connsiteX7" fmla="*/ 30280 w 85113"/>
                <a:gd name="connsiteY7" fmla="*/ 2329 h 78287"/>
                <a:gd name="connsiteX8" fmla="*/ 0 w 85113"/>
                <a:gd name="connsiteY8" fmla="*/ 2329 h 78287"/>
                <a:gd name="connsiteX9" fmla="*/ 1018 w 85113"/>
                <a:gd name="connsiteY9" fmla="*/ 21808 h 78287"/>
                <a:gd name="connsiteX10" fmla="*/ 1018 w 85113"/>
                <a:gd name="connsiteY10" fmla="*/ 78287 h 78287"/>
                <a:gd name="connsiteX11" fmla="*/ 30788 w 85113"/>
                <a:gd name="connsiteY11" fmla="*/ 78287 h 78287"/>
                <a:gd name="connsiteX12" fmla="*/ 30788 w 85113"/>
                <a:gd name="connsiteY12" fmla="*/ 34672 h 78287"/>
                <a:gd name="connsiteX13" fmla="*/ 43638 w 85113"/>
                <a:gd name="connsiteY13" fmla="*/ 18133 h 7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113" h="78287">
                  <a:moveTo>
                    <a:pt x="43765" y="17888"/>
                  </a:moveTo>
                  <a:cubicBezTo>
                    <a:pt x="53053" y="17888"/>
                    <a:pt x="54961" y="25974"/>
                    <a:pt x="55343" y="33325"/>
                  </a:cubicBezTo>
                  <a:lnTo>
                    <a:pt x="55343" y="78042"/>
                  </a:lnTo>
                  <a:cubicBezTo>
                    <a:pt x="55343" y="78042"/>
                    <a:pt x="85114" y="78042"/>
                    <a:pt x="85114" y="78042"/>
                  </a:cubicBezTo>
                  <a:lnTo>
                    <a:pt x="85114" y="27199"/>
                  </a:lnTo>
                  <a:cubicBezTo>
                    <a:pt x="85114" y="10537"/>
                    <a:pt x="72518" y="-121"/>
                    <a:pt x="55597" y="1"/>
                  </a:cubicBezTo>
                  <a:cubicBezTo>
                    <a:pt x="45547" y="1"/>
                    <a:pt x="37659" y="3064"/>
                    <a:pt x="30788" y="10660"/>
                  </a:cubicBezTo>
                  <a:lnTo>
                    <a:pt x="30280" y="2329"/>
                  </a:lnTo>
                  <a:lnTo>
                    <a:pt x="0" y="2329"/>
                  </a:lnTo>
                  <a:cubicBezTo>
                    <a:pt x="763" y="10537"/>
                    <a:pt x="1018" y="15070"/>
                    <a:pt x="1018" y="21808"/>
                  </a:cubicBezTo>
                  <a:lnTo>
                    <a:pt x="1018" y="78287"/>
                  </a:lnTo>
                  <a:cubicBezTo>
                    <a:pt x="1018" y="78287"/>
                    <a:pt x="30788" y="78287"/>
                    <a:pt x="30788" y="78287"/>
                  </a:cubicBezTo>
                  <a:lnTo>
                    <a:pt x="30788" y="34672"/>
                  </a:lnTo>
                  <a:cubicBezTo>
                    <a:pt x="30788" y="33815"/>
                    <a:pt x="28880" y="18133"/>
                    <a:pt x="43638" y="18133"/>
                  </a:cubicBezTo>
                </a:path>
              </a:pathLst>
            </a:custGeom>
            <a:solidFill>
              <a:srgbClr val="231F20"/>
            </a:solidFill>
            <a:ln w="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33423434-57E5-BEAC-450F-F0E2702B91F3}"/>
                </a:ext>
              </a:extLst>
            </p:cNvPr>
            <p:cNvSpPr/>
            <p:nvPr/>
          </p:nvSpPr>
          <p:spPr>
            <a:xfrm>
              <a:off x="9164954" y="6630459"/>
              <a:ext cx="29770" cy="75958"/>
            </a:xfrm>
            <a:custGeom>
              <a:avLst/>
              <a:gdLst>
                <a:gd name="connsiteX0" fmla="*/ 0 w 29770"/>
                <a:gd name="connsiteY0" fmla="*/ 0 h 75958"/>
                <a:gd name="connsiteX1" fmla="*/ 29771 w 29770"/>
                <a:gd name="connsiteY1" fmla="*/ 0 h 75958"/>
                <a:gd name="connsiteX2" fmla="*/ 29771 w 29770"/>
                <a:gd name="connsiteY2" fmla="*/ 75958 h 75958"/>
                <a:gd name="connsiteX3" fmla="*/ 0 w 29770"/>
                <a:gd name="connsiteY3" fmla="*/ 75958 h 75958"/>
              </a:gdLst>
              <a:ahLst/>
              <a:cxnLst>
                <a:cxn ang="0">
                  <a:pos x="connsiteX0" y="connsiteY0"/>
                </a:cxn>
                <a:cxn ang="0">
                  <a:pos x="connsiteX1" y="connsiteY1"/>
                </a:cxn>
                <a:cxn ang="0">
                  <a:pos x="connsiteX2" y="connsiteY2"/>
                </a:cxn>
                <a:cxn ang="0">
                  <a:pos x="connsiteX3" y="connsiteY3"/>
                </a:cxn>
              </a:cxnLst>
              <a:rect l="l" t="t" r="r" b="b"/>
              <a:pathLst>
                <a:path w="29770" h="75958">
                  <a:moveTo>
                    <a:pt x="0" y="0"/>
                  </a:moveTo>
                  <a:lnTo>
                    <a:pt x="29771" y="0"/>
                  </a:lnTo>
                  <a:lnTo>
                    <a:pt x="29771" y="75958"/>
                  </a:lnTo>
                  <a:lnTo>
                    <a:pt x="0" y="75958"/>
                  </a:lnTo>
                  <a:close/>
                </a:path>
              </a:pathLst>
            </a:custGeom>
            <a:solidFill>
              <a:srgbClr val="231F20"/>
            </a:solidFill>
            <a:ln w="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3D8333B-A6A1-B1EA-1FBE-881967D00A13}"/>
                </a:ext>
              </a:extLst>
            </p:cNvPr>
            <p:cNvSpPr/>
            <p:nvPr/>
          </p:nvSpPr>
          <p:spPr>
            <a:xfrm>
              <a:off x="9294087" y="6628866"/>
              <a:ext cx="74554" cy="79511"/>
            </a:xfrm>
            <a:custGeom>
              <a:avLst/>
              <a:gdLst>
                <a:gd name="connsiteX0" fmla="*/ 45547 w 74554"/>
                <a:gd name="connsiteY0" fmla="*/ 25360 h 79511"/>
                <a:gd name="connsiteX1" fmla="*/ 43639 w 74554"/>
                <a:gd name="connsiteY1" fmla="*/ 19112 h 79511"/>
                <a:gd name="connsiteX2" fmla="*/ 35624 w 74554"/>
                <a:gd name="connsiteY2" fmla="*/ 16417 h 79511"/>
                <a:gd name="connsiteX3" fmla="*/ 28626 w 74554"/>
                <a:gd name="connsiteY3" fmla="*/ 23155 h 79511"/>
                <a:gd name="connsiteX4" fmla="*/ 58906 w 74554"/>
                <a:gd name="connsiteY4" fmla="*/ 33936 h 79511"/>
                <a:gd name="connsiteX5" fmla="*/ 74555 w 74554"/>
                <a:gd name="connsiteY5" fmla="*/ 54518 h 79511"/>
                <a:gd name="connsiteX6" fmla="*/ 37405 w 74554"/>
                <a:gd name="connsiteY6" fmla="*/ 79511 h 79511"/>
                <a:gd name="connsiteX7" fmla="*/ 1 w 74554"/>
                <a:gd name="connsiteY7" fmla="*/ 52926 h 79511"/>
                <a:gd name="connsiteX8" fmla="*/ 27863 w 74554"/>
                <a:gd name="connsiteY8" fmla="*/ 52926 h 79511"/>
                <a:gd name="connsiteX9" fmla="*/ 29899 w 74554"/>
                <a:gd name="connsiteY9" fmla="*/ 59664 h 79511"/>
                <a:gd name="connsiteX10" fmla="*/ 36896 w 74554"/>
                <a:gd name="connsiteY10" fmla="*/ 63094 h 79511"/>
                <a:gd name="connsiteX11" fmla="*/ 46820 w 74554"/>
                <a:gd name="connsiteY11" fmla="*/ 56234 h 79511"/>
                <a:gd name="connsiteX12" fmla="*/ 891 w 74554"/>
                <a:gd name="connsiteY12" fmla="*/ 23645 h 79511"/>
                <a:gd name="connsiteX13" fmla="*/ 36769 w 74554"/>
                <a:gd name="connsiteY13" fmla="*/ 0 h 79511"/>
                <a:gd name="connsiteX14" fmla="*/ 73410 w 74554"/>
                <a:gd name="connsiteY14" fmla="*/ 25360 h 79511"/>
                <a:gd name="connsiteX15" fmla="*/ 45547 w 74554"/>
                <a:gd name="connsiteY15" fmla="*/ 25360 h 7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54" h="79511">
                  <a:moveTo>
                    <a:pt x="45547" y="25360"/>
                  </a:moveTo>
                  <a:cubicBezTo>
                    <a:pt x="45547" y="22787"/>
                    <a:pt x="45038" y="20582"/>
                    <a:pt x="43639" y="19112"/>
                  </a:cubicBezTo>
                  <a:cubicBezTo>
                    <a:pt x="42112" y="17519"/>
                    <a:pt x="39568" y="16417"/>
                    <a:pt x="35624" y="16417"/>
                  </a:cubicBezTo>
                  <a:cubicBezTo>
                    <a:pt x="31298" y="16417"/>
                    <a:pt x="28626" y="18745"/>
                    <a:pt x="28626" y="23155"/>
                  </a:cubicBezTo>
                  <a:cubicBezTo>
                    <a:pt x="28626" y="28668"/>
                    <a:pt x="40585" y="28423"/>
                    <a:pt x="58906" y="33936"/>
                  </a:cubicBezTo>
                  <a:cubicBezTo>
                    <a:pt x="68193" y="36754"/>
                    <a:pt x="74555" y="42267"/>
                    <a:pt x="74555" y="54518"/>
                  </a:cubicBezTo>
                  <a:cubicBezTo>
                    <a:pt x="74555" y="74366"/>
                    <a:pt x="55216" y="79511"/>
                    <a:pt x="37405" y="79511"/>
                  </a:cubicBezTo>
                  <a:cubicBezTo>
                    <a:pt x="18448" y="79511"/>
                    <a:pt x="-127" y="75836"/>
                    <a:pt x="1" y="52926"/>
                  </a:cubicBezTo>
                  <a:lnTo>
                    <a:pt x="27863" y="52926"/>
                  </a:lnTo>
                  <a:cubicBezTo>
                    <a:pt x="27354" y="55131"/>
                    <a:pt x="28245" y="57704"/>
                    <a:pt x="29899" y="59664"/>
                  </a:cubicBezTo>
                  <a:cubicBezTo>
                    <a:pt x="31553" y="61624"/>
                    <a:pt x="34097" y="63094"/>
                    <a:pt x="36896" y="63094"/>
                  </a:cubicBezTo>
                  <a:cubicBezTo>
                    <a:pt x="42621" y="63094"/>
                    <a:pt x="46820" y="61012"/>
                    <a:pt x="46820" y="56234"/>
                  </a:cubicBezTo>
                  <a:cubicBezTo>
                    <a:pt x="46820" y="42880"/>
                    <a:pt x="891" y="50843"/>
                    <a:pt x="891" y="23645"/>
                  </a:cubicBezTo>
                  <a:cubicBezTo>
                    <a:pt x="891" y="5146"/>
                    <a:pt x="21247" y="0"/>
                    <a:pt x="36769" y="0"/>
                  </a:cubicBezTo>
                  <a:cubicBezTo>
                    <a:pt x="55216" y="0"/>
                    <a:pt x="72137" y="4656"/>
                    <a:pt x="73410" y="25360"/>
                  </a:cubicBezTo>
                  <a:lnTo>
                    <a:pt x="45547" y="25360"/>
                  </a:lnTo>
                  <a:close/>
                </a:path>
              </a:pathLst>
            </a:custGeom>
            <a:solidFill>
              <a:srgbClr val="231F20"/>
            </a:solidFill>
            <a:ln w="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2686021-26A3-9DF2-954C-1C412D1C6B2C}"/>
                </a:ext>
              </a:extLst>
            </p:cNvPr>
            <p:cNvSpPr/>
            <p:nvPr/>
          </p:nvSpPr>
          <p:spPr>
            <a:xfrm>
              <a:off x="9372204" y="6686938"/>
              <a:ext cx="22900" cy="21929"/>
            </a:xfrm>
            <a:custGeom>
              <a:avLst/>
              <a:gdLst>
                <a:gd name="connsiteX0" fmla="*/ 9033 w 22900"/>
                <a:gd name="connsiteY0" fmla="*/ 10414 h 21929"/>
                <a:gd name="connsiteX1" fmla="*/ 9033 w 22900"/>
                <a:gd name="connsiteY1" fmla="*/ 6003 h 21929"/>
                <a:gd name="connsiteX2" fmla="*/ 11959 w 22900"/>
                <a:gd name="connsiteY2" fmla="*/ 6003 h 21929"/>
                <a:gd name="connsiteX3" fmla="*/ 15013 w 22900"/>
                <a:gd name="connsiteY3" fmla="*/ 8208 h 21929"/>
                <a:gd name="connsiteX4" fmla="*/ 11069 w 22900"/>
                <a:gd name="connsiteY4" fmla="*/ 10414 h 21929"/>
                <a:gd name="connsiteX5" fmla="*/ 8906 w 22900"/>
                <a:gd name="connsiteY5" fmla="*/ 10414 h 21929"/>
                <a:gd name="connsiteX6" fmla="*/ 9033 w 22900"/>
                <a:gd name="connsiteY6" fmla="*/ 11639 h 21929"/>
                <a:gd name="connsiteX7" fmla="*/ 11705 w 22900"/>
                <a:gd name="connsiteY7" fmla="*/ 11639 h 21929"/>
                <a:gd name="connsiteX8" fmla="*/ 15394 w 22900"/>
                <a:gd name="connsiteY8" fmla="*/ 17274 h 21929"/>
                <a:gd name="connsiteX9" fmla="*/ 17303 w 22900"/>
                <a:gd name="connsiteY9" fmla="*/ 17274 h 21929"/>
                <a:gd name="connsiteX10" fmla="*/ 13359 w 22900"/>
                <a:gd name="connsiteY10" fmla="*/ 11639 h 21929"/>
                <a:gd name="connsiteX11" fmla="*/ 16667 w 22900"/>
                <a:gd name="connsiteY11" fmla="*/ 8086 h 21929"/>
                <a:gd name="connsiteX12" fmla="*/ 12341 w 22900"/>
                <a:gd name="connsiteY12" fmla="*/ 4533 h 21929"/>
                <a:gd name="connsiteX13" fmla="*/ 7252 w 22900"/>
                <a:gd name="connsiteY13" fmla="*/ 4533 h 21929"/>
                <a:gd name="connsiteX14" fmla="*/ 7252 w 22900"/>
                <a:gd name="connsiteY14" fmla="*/ 17274 h 21929"/>
                <a:gd name="connsiteX15" fmla="*/ 8906 w 22900"/>
                <a:gd name="connsiteY15" fmla="*/ 17274 h 21929"/>
                <a:gd name="connsiteX16" fmla="*/ 8906 w 22900"/>
                <a:gd name="connsiteY16" fmla="*/ 11639 h 21929"/>
                <a:gd name="connsiteX17" fmla="*/ 11450 w 22900"/>
                <a:gd name="connsiteY17" fmla="*/ 1593 h 21929"/>
                <a:gd name="connsiteX18" fmla="*/ 20992 w 22900"/>
                <a:gd name="connsiteY18" fmla="*/ 11026 h 21929"/>
                <a:gd name="connsiteX19" fmla="*/ 11450 w 22900"/>
                <a:gd name="connsiteY19" fmla="*/ 20460 h 21929"/>
                <a:gd name="connsiteX20" fmla="*/ 1781 w 22900"/>
                <a:gd name="connsiteY20" fmla="*/ 11026 h 21929"/>
                <a:gd name="connsiteX21" fmla="*/ 11450 w 22900"/>
                <a:gd name="connsiteY21" fmla="*/ 1593 h 21929"/>
                <a:gd name="connsiteX22" fmla="*/ 11450 w 22900"/>
                <a:gd name="connsiteY22" fmla="*/ 0 h 21929"/>
                <a:gd name="connsiteX23" fmla="*/ 0 w 22900"/>
                <a:gd name="connsiteY23" fmla="*/ 10904 h 21929"/>
                <a:gd name="connsiteX24" fmla="*/ 11450 w 22900"/>
                <a:gd name="connsiteY24" fmla="*/ 21930 h 21929"/>
                <a:gd name="connsiteX25" fmla="*/ 22901 w 22900"/>
                <a:gd name="connsiteY25" fmla="*/ 10904 h 21929"/>
                <a:gd name="connsiteX26" fmla="*/ 11450 w 22900"/>
                <a:gd name="connsiteY26" fmla="*/ 0 h 2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900" h="21929">
                  <a:moveTo>
                    <a:pt x="9033" y="10414"/>
                  </a:moveTo>
                  <a:lnTo>
                    <a:pt x="9033" y="6003"/>
                  </a:lnTo>
                  <a:lnTo>
                    <a:pt x="11959" y="6003"/>
                  </a:lnTo>
                  <a:cubicBezTo>
                    <a:pt x="13486" y="6003"/>
                    <a:pt x="15013" y="6371"/>
                    <a:pt x="15013" y="8208"/>
                  </a:cubicBezTo>
                  <a:cubicBezTo>
                    <a:pt x="15013" y="10414"/>
                    <a:pt x="13104" y="10414"/>
                    <a:pt x="11069" y="10414"/>
                  </a:cubicBezTo>
                  <a:lnTo>
                    <a:pt x="8906" y="10414"/>
                  </a:lnTo>
                  <a:close/>
                  <a:moveTo>
                    <a:pt x="9033" y="11639"/>
                  </a:moveTo>
                  <a:lnTo>
                    <a:pt x="11705" y="11639"/>
                  </a:lnTo>
                  <a:lnTo>
                    <a:pt x="15394" y="17274"/>
                  </a:lnTo>
                  <a:lnTo>
                    <a:pt x="17303" y="17274"/>
                  </a:lnTo>
                  <a:lnTo>
                    <a:pt x="13359" y="11639"/>
                  </a:lnTo>
                  <a:cubicBezTo>
                    <a:pt x="15140" y="11394"/>
                    <a:pt x="16667" y="10291"/>
                    <a:pt x="16667" y="8086"/>
                  </a:cubicBezTo>
                  <a:cubicBezTo>
                    <a:pt x="16667" y="5881"/>
                    <a:pt x="15394" y="4533"/>
                    <a:pt x="12341" y="4533"/>
                  </a:cubicBezTo>
                  <a:lnTo>
                    <a:pt x="7252" y="4533"/>
                  </a:lnTo>
                  <a:lnTo>
                    <a:pt x="7252" y="17274"/>
                  </a:lnTo>
                  <a:lnTo>
                    <a:pt x="8906" y="17274"/>
                  </a:lnTo>
                  <a:lnTo>
                    <a:pt x="8906" y="11639"/>
                  </a:lnTo>
                  <a:close/>
                  <a:moveTo>
                    <a:pt x="11450" y="1593"/>
                  </a:moveTo>
                  <a:cubicBezTo>
                    <a:pt x="16921" y="1593"/>
                    <a:pt x="20992" y="5758"/>
                    <a:pt x="20992" y="11026"/>
                  </a:cubicBezTo>
                  <a:cubicBezTo>
                    <a:pt x="20992" y="16294"/>
                    <a:pt x="16921" y="20460"/>
                    <a:pt x="11450" y="20460"/>
                  </a:cubicBezTo>
                  <a:cubicBezTo>
                    <a:pt x="5980" y="20460"/>
                    <a:pt x="1781" y="16294"/>
                    <a:pt x="1781" y="11026"/>
                  </a:cubicBezTo>
                  <a:cubicBezTo>
                    <a:pt x="1781" y="5758"/>
                    <a:pt x="5852" y="1593"/>
                    <a:pt x="11450" y="1593"/>
                  </a:cubicBezTo>
                  <a:moveTo>
                    <a:pt x="11450" y="0"/>
                  </a:moveTo>
                  <a:cubicBezTo>
                    <a:pt x="5089" y="0"/>
                    <a:pt x="0" y="4778"/>
                    <a:pt x="0" y="10904"/>
                  </a:cubicBezTo>
                  <a:cubicBezTo>
                    <a:pt x="0" y="17029"/>
                    <a:pt x="4962" y="21930"/>
                    <a:pt x="11450" y="21930"/>
                  </a:cubicBezTo>
                  <a:cubicBezTo>
                    <a:pt x="17939" y="21930"/>
                    <a:pt x="22901" y="17152"/>
                    <a:pt x="22901" y="10904"/>
                  </a:cubicBezTo>
                  <a:cubicBezTo>
                    <a:pt x="22901" y="4656"/>
                    <a:pt x="17939" y="0"/>
                    <a:pt x="11450" y="0"/>
                  </a:cubicBezTo>
                </a:path>
              </a:pathLst>
            </a:custGeom>
            <a:solidFill>
              <a:srgbClr val="231F20"/>
            </a:solidFill>
            <a:ln w="0" cap="flat">
              <a:noFill/>
              <a:prstDash val="solid"/>
              <a:miter/>
            </a:ln>
          </p:spPr>
          <p:txBody>
            <a:bodyPr rtlCol="0" anchor="ctr"/>
            <a:lstStyle/>
            <a:p>
              <a:endParaRPr lang="en-US"/>
            </a:p>
          </p:txBody>
        </p:sp>
      </p:grpSp>
      <p:sp>
        <p:nvSpPr>
          <p:cNvPr id="22" name="Round Same Side Corner Rectangle 21">
            <a:extLst>
              <a:ext uri="{FF2B5EF4-FFF2-40B4-BE49-F238E27FC236}">
                <a16:creationId xmlns:a16="http://schemas.microsoft.com/office/drawing/2014/main" id="{B551C6D6-3F32-7332-4FE8-86106933F0DE}"/>
              </a:ext>
            </a:extLst>
          </p:cNvPr>
          <p:cNvSpPr/>
          <p:nvPr userDrawn="1"/>
        </p:nvSpPr>
        <p:spPr>
          <a:xfrm rot="5400000">
            <a:off x="-10274" y="3429000"/>
            <a:ext cx="395856" cy="395856"/>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1">
            <a:extLst>
              <a:ext uri="{FF2B5EF4-FFF2-40B4-BE49-F238E27FC236}">
                <a16:creationId xmlns:a16="http://schemas.microsoft.com/office/drawing/2014/main" id="{06CD2C1A-F44D-ADF4-5E11-54B8B0F0FB8C}"/>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Tree>
    <p:extLst>
      <p:ext uri="{BB962C8B-B14F-4D97-AF65-F5344CB8AC3E}">
        <p14:creationId xmlns:p14="http://schemas.microsoft.com/office/powerpoint/2010/main" val="9442725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3-image_right">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5AB0538C-0EDE-7C86-8E5C-27D41540995D}"/>
              </a:ext>
            </a:extLst>
          </p:cNvPr>
          <p:cNvSpPr>
            <a:spLocks noGrp="1"/>
          </p:cNvSpPr>
          <p:nvPr>
            <p:ph type="pic" sz="quarter" idx="17"/>
          </p:nvPr>
        </p:nvSpPr>
        <p:spPr>
          <a:xfrm>
            <a:off x="8775420" y="-10330"/>
            <a:ext cx="3416579" cy="2584732"/>
          </a:xfrm>
          <a:custGeom>
            <a:avLst/>
            <a:gdLst>
              <a:gd name="connsiteX0" fmla="*/ 0 w 3416579"/>
              <a:gd name="connsiteY0" fmla="*/ 0 h 2682888"/>
              <a:gd name="connsiteX1" fmla="*/ 3416579 w 3416579"/>
              <a:gd name="connsiteY1" fmla="*/ 0 h 2682888"/>
              <a:gd name="connsiteX2" fmla="*/ 3416579 w 3416579"/>
              <a:gd name="connsiteY2" fmla="*/ 2682888 h 2682888"/>
              <a:gd name="connsiteX3" fmla="*/ 0 w 3416579"/>
              <a:gd name="connsiteY3" fmla="*/ 2682888 h 2682888"/>
              <a:gd name="connsiteX4" fmla="*/ 0 w 3416579"/>
              <a:gd name="connsiteY4" fmla="*/ 0 h 2682888"/>
              <a:gd name="connsiteX0" fmla="*/ 0 w 3421745"/>
              <a:gd name="connsiteY0" fmla="*/ 0 h 2682888"/>
              <a:gd name="connsiteX1" fmla="*/ 3421745 w 3421745"/>
              <a:gd name="connsiteY1" fmla="*/ 98156 h 2682888"/>
              <a:gd name="connsiteX2" fmla="*/ 3416579 w 3421745"/>
              <a:gd name="connsiteY2" fmla="*/ 2682888 h 2682888"/>
              <a:gd name="connsiteX3" fmla="*/ 0 w 3421745"/>
              <a:gd name="connsiteY3" fmla="*/ 2682888 h 2682888"/>
              <a:gd name="connsiteX4" fmla="*/ 0 w 3421745"/>
              <a:gd name="connsiteY4" fmla="*/ 0 h 2682888"/>
              <a:gd name="connsiteX0" fmla="*/ 0 w 3432077"/>
              <a:gd name="connsiteY0" fmla="*/ 5166 h 2584732"/>
              <a:gd name="connsiteX1" fmla="*/ 3432077 w 3432077"/>
              <a:gd name="connsiteY1" fmla="*/ 0 h 2584732"/>
              <a:gd name="connsiteX2" fmla="*/ 3426911 w 3432077"/>
              <a:gd name="connsiteY2" fmla="*/ 2584732 h 2584732"/>
              <a:gd name="connsiteX3" fmla="*/ 10332 w 3432077"/>
              <a:gd name="connsiteY3" fmla="*/ 2584732 h 2584732"/>
              <a:gd name="connsiteX4" fmla="*/ 0 w 3432077"/>
              <a:gd name="connsiteY4" fmla="*/ 5166 h 2584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077" h="2584732">
                <a:moveTo>
                  <a:pt x="0" y="5166"/>
                </a:moveTo>
                <a:lnTo>
                  <a:pt x="3432077" y="0"/>
                </a:lnTo>
                <a:lnTo>
                  <a:pt x="3426911" y="2584732"/>
                </a:lnTo>
                <a:lnTo>
                  <a:pt x="10332" y="2584732"/>
                </a:lnTo>
                <a:lnTo>
                  <a:pt x="0" y="5166"/>
                </a:lnTo>
                <a:close/>
              </a:path>
            </a:pathLst>
          </a:custGeom>
          <a:solidFill>
            <a:schemeClr val="bg1">
              <a:lumMod val="95000"/>
            </a:schemeClr>
          </a:solidFill>
        </p:spPr>
        <p:txBody>
          <a:bodyPr anchor="ctr">
            <a:normAutofit/>
          </a:bodyPr>
          <a:lstStyle>
            <a:lvl1pPr marL="0" indent="0" algn="ctr">
              <a:buNone/>
              <a:defRPr sz="1100"/>
            </a:lvl1pPr>
          </a:lstStyle>
          <a:p>
            <a:pPr marL="0" marR="0" lvl="0" indent="0" algn="ctr" defTabSz="914400" rtl="0" eaLnBrk="1" fontAlgn="auto" latinLnBrk="0" hangingPunct="1">
              <a:lnSpc>
                <a:spcPct val="90000"/>
              </a:lnSpc>
              <a:spcBef>
                <a:spcPts val="1000"/>
              </a:spcBef>
              <a:spcAft>
                <a:spcPts val="0"/>
              </a:spcAft>
              <a:buClrTx/>
              <a:buSzTx/>
              <a:buFont typeface="Wingdings" charset="2"/>
              <a:buNone/>
              <a:tabLst/>
              <a:defRPr/>
            </a:pPr>
            <a:r>
              <a:rPr lang="en-US"/>
              <a:t>Click icon to add picture</a:t>
            </a:r>
          </a:p>
        </p:txBody>
      </p:sp>
      <p:sp>
        <p:nvSpPr>
          <p:cNvPr id="6" name="Picture Placeholder 10">
            <a:extLst>
              <a:ext uri="{FF2B5EF4-FFF2-40B4-BE49-F238E27FC236}">
                <a16:creationId xmlns:a16="http://schemas.microsoft.com/office/drawing/2014/main" id="{5A94038F-7638-F024-A0A1-9514571F5DF1}"/>
              </a:ext>
            </a:extLst>
          </p:cNvPr>
          <p:cNvSpPr>
            <a:spLocks noGrp="1"/>
          </p:cNvSpPr>
          <p:nvPr>
            <p:ph type="pic" sz="quarter" idx="25"/>
          </p:nvPr>
        </p:nvSpPr>
        <p:spPr>
          <a:xfrm>
            <a:off x="8775420" y="2752635"/>
            <a:ext cx="3416579" cy="1607115"/>
          </a:xfrm>
          <a:prstGeom prst="rect">
            <a:avLst/>
          </a:prstGeom>
          <a:solidFill>
            <a:schemeClr val="bg1">
              <a:lumMod val="95000"/>
            </a:schemeClr>
          </a:solidFill>
        </p:spPr>
        <p:txBody>
          <a:bodyPr anchor="ctr">
            <a:normAutofit/>
          </a:bodyPr>
          <a:lstStyle>
            <a:lvl1pPr marL="0" indent="0" algn="ctr">
              <a:buNone/>
              <a:defRPr sz="1100"/>
            </a:lvl1pPr>
          </a:lstStyle>
          <a:p>
            <a:pPr marL="0" marR="0" lvl="0" indent="0" algn="ctr" defTabSz="914400" rtl="0" eaLnBrk="1" fontAlgn="auto" latinLnBrk="0" hangingPunct="1">
              <a:lnSpc>
                <a:spcPct val="90000"/>
              </a:lnSpc>
              <a:spcBef>
                <a:spcPts val="1000"/>
              </a:spcBef>
              <a:spcAft>
                <a:spcPts val="0"/>
              </a:spcAft>
              <a:buClrTx/>
              <a:buSzTx/>
              <a:buFont typeface="Wingdings" charset="2"/>
              <a:buNone/>
              <a:tabLst/>
              <a:defRPr/>
            </a:pPr>
            <a:r>
              <a:rPr lang="en-US"/>
              <a:t>Click icon to add picture</a:t>
            </a:r>
          </a:p>
        </p:txBody>
      </p:sp>
      <p:sp>
        <p:nvSpPr>
          <p:cNvPr id="11" name="Picture Placeholder 10">
            <a:extLst>
              <a:ext uri="{FF2B5EF4-FFF2-40B4-BE49-F238E27FC236}">
                <a16:creationId xmlns:a16="http://schemas.microsoft.com/office/drawing/2014/main" id="{4883F982-0FF3-60C6-341E-ED5A61587F3C}"/>
              </a:ext>
            </a:extLst>
          </p:cNvPr>
          <p:cNvSpPr>
            <a:spLocks noGrp="1"/>
          </p:cNvSpPr>
          <p:nvPr>
            <p:ph type="pic" sz="quarter" idx="28"/>
          </p:nvPr>
        </p:nvSpPr>
        <p:spPr>
          <a:xfrm>
            <a:off x="8775420" y="4529051"/>
            <a:ext cx="3410736" cy="1641888"/>
          </a:xfrm>
          <a:custGeom>
            <a:avLst/>
            <a:gdLst>
              <a:gd name="connsiteX0" fmla="*/ 0 w 3410736"/>
              <a:gd name="connsiteY0" fmla="*/ 0 h 1641888"/>
              <a:gd name="connsiteX1" fmla="*/ 3410736 w 3410736"/>
              <a:gd name="connsiteY1" fmla="*/ 0 h 1641888"/>
              <a:gd name="connsiteX2" fmla="*/ 3410736 w 3410736"/>
              <a:gd name="connsiteY2" fmla="*/ 1641888 h 1641888"/>
              <a:gd name="connsiteX3" fmla="*/ 341985 w 3410736"/>
              <a:gd name="connsiteY3" fmla="*/ 1641888 h 1641888"/>
              <a:gd name="connsiteX4" fmla="*/ 0 w 3410736"/>
              <a:gd name="connsiteY4" fmla="*/ 1301420 h 1641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0736" h="1641888">
                <a:moveTo>
                  <a:pt x="0" y="0"/>
                </a:moveTo>
                <a:lnTo>
                  <a:pt x="3410736" y="0"/>
                </a:lnTo>
                <a:lnTo>
                  <a:pt x="3410736" y="1641888"/>
                </a:lnTo>
                <a:lnTo>
                  <a:pt x="341985" y="1641888"/>
                </a:lnTo>
                <a:cubicBezTo>
                  <a:pt x="153260" y="1641888"/>
                  <a:pt x="0" y="1489308"/>
                  <a:pt x="0" y="1301420"/>
                </a:cubicBezTo>
                <a:close/>
              </a:path>
            </a:pathLst>
          </a:custGeom>
          <a:solidFill>
            <a:schemeClr val="bg1">
              <a:lumMod val="95000"/>
            </a:schemeClr>
          </a:solidFill>
        </p:spPr>
        <p:txBody>
          <a:bodyPr wrap="square" anchor="ctr">
            <a:noAutofit/>
          </a:bodyPr>
          <a:lstStyle>
            <a:lvl1pPr marL="0" indent="0" algn="ctr">
              <a:buFontTx/>
              <a:buNone/>
              <a:defRPr sz="1100"/>
            </a:lvl1pPr>
          </a:lstStyle>
          <a:p>
            <a:r>
              <a:rPr lang="en-US"/>
              <a:t>Click icon to add picture</a:t>
            </a:r>
          </a:p>
        </p:txBody>
      </p:sp>
      <p:sp>
        <p:nvSpPr>
          <p:cNvPr id="16" name="Text Placeholder 6">
            <a:extLst>
              <a:ext uri="{FF2B5EF4-FFF2-40B4-BE49-F238E27FC236}">
                <a16:creationId xmlns:a16="http://schemas.microsoft.com/office/drawing/2014/main" id="{F10203AF-AD53-7C0A-E2EA-0CEA33757E70}"/>
              </a:ext>
            </a:extLst>
          </p:cNvPr>
          <p:cNvSpPr>
            <a:spLocks noGrp="1"/>
          </p:cNvSpPr>
          <p:nvPr>
            <p:ph type="body" sz="quarter" idx="29" hasCustomPrompt="1"/>
          </p:nvPr>
        </p:nvSpPr>
        <p:spPr>
          <a:xfrm>
            <a:off x="585500" y="291579"/>
            <a:ext cx="7741113"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3" name="Text Placeholder 11">
            <a:extLst>
              <a:ext uri="{FF2B5EF4-FFF2-40B4-BE49-F238E27FC236}">
                <a16:creationId xmlns:a16="http://schemas.microsoft.com/office/drawing/2014/main" id="{4DF7D5EF-3276-B24F-A6FE-97157151006C}"/>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
        <p:nvSpPr>
          <p:cNvPr id="4" name="Content Placeholder 10">
            <a:extLst>
              <a:ext uri="{FF2B5EF4-FFF2-40B4-BE49-F238E27FC236}">
                <a16:creationId xmlns:a16="http://schemas.microsoft.com/office/drawing/2014/main" id="{B3D07A4B-1243-79A9-B69D-2B2025991E3E}"/>
              </a:ext>
            </a:extLst>
          </p:cNvPr>
          <p:cNvSpPr>
            <a:spLocks noGrp="1"/>
          </p:cNvSpPr>
          <p:nvPr>
            <p:ph sz="quarter" idx="13" hasCustomPrompt="1"/>
          </p:nvPr>
        </p:nvSpPr>
        <p:spPr>
          <a:xfrm>
            <a:off x="585500" y="1615389"/>
            <a:ext cx="7740825" cy="4548883"/>
          </a:xfrm>
          <a:prstGeom prst="rect">
            <a:avLst/>
          </a:prstGeom>
        </p:spPr>
        <p:txBody>
          <a:bodyPr numCol="1" spcCol="457200">
            <a:normAutofit/>
          </a:bodyPr>
          <a:lstStyle>
            <a:lvl1pPr marL="0" indent="0">
              <a:buFont typeface="Arial" panose="020B0604020202020204" pitchFamily="34" charset="0"/>
              <a:buNone/>
              <a:tabLst>
                <a:tab pos="283464" algn="l"/>
                <a:tab pos="676656" algn="l"/>
                <a:tab pos="1088136" algn="l"/>
              </a:tabLst>
              <a:defRPr sz="1800">
                <a:latin typeface="Aptos" panose="020B0004020202020204" pitchFamily="34" charset="0"/>
              </a:defRPr>
            </a:lvl1pPr>
            <a:lvl2pPr marL="633413" indent="-333375">
              <a:buFont typeface="System Font Regular"/>
              <a:buChar char="—"/>
              <a:tabLst>
                <a:tab pos="283464" algn="l"/>
                <a:tab pos="676656" algn="l"/>
                <a:tab pos="1088136" algn="l"/>
              </a:tabLst>
              <a:defRPr sz="1800">
                <a:latin typeface="Aptos" panose="020B0004020202020204" pitchFamily="34" charset="0"/>
              </a:defRPr>
            </a:lvl2pPr>
            <a:lvl3pPr marL="1038225" indent="-369888">
              <a:buFont typeface="Courier New" panose="02070309020205020404" pitchFamily="49" charset="0"/>
              <a:buChar char="o"/>
              <a:tabLst>
                <a:tab pos="283464" algn="l"/>
                <a:tab pos="676656" algn="l"/>
                <a:tab pos="1088136" algn="l"/>
              </a:tabLst>
              <a:defRPr sz="1800">
                <a:latin typeface="Aptos" panose="020B0004020202020204" pitchFamily="34" charset="0"/>
              </a:defRPr>
            </a:lvl3pPr>
            <a:lvl4pPr marL="1381125" marR="0" indent="-285750" algn="l" defTabSz="914400" rtl="0" eaLnBrk="1" fontAlgn="auto" latinLnBrk="0" hangingPunct="1">
              <a:lnSpc>
                <a:spcPct val="90000"/>
              </a:lnSpc>
              <a:spcBef>
                <a:spcPts val="500"/>
              </a:spcBef>
              <a:spcAft>
                <a:spcPts val="0"/>
              </a:spcAft>
              <a:buClrTx/>
              <a:buSzPct val="80000"/>
              <a:buFont typeface="Arial" panose="020B0604020202020204" pitchFamily="34" charset="0"/>
              <a:buChar char="•"/>
              <a:tabLst>
                <a:tab pos="283464" algn="l"/>
                <a:tab pos="676656" algn="l"/>
                <a:tab pos="1088136" algn="l"/>
              </a:tabLst>
              <a:defRPr sz="1600">
                <a:latin typeface="Aptos" panose="020B0004020202020204" pitchFamily="34" charset="0"/>
              </a:defRPr>
            </a:lvl4pPr>
            <a:lvl5pPr marL="1716088" indent="-282575">
              <a:buFont typeface="Arial" panose="020B0604020202020204" pitchFamily="34" charset="0"/>
              <a:buChar char="•"/>
              <a:tabLst>
                <a:tab pos="283464" algn="l"/>
                <a:tab pos="676656" algn="l"/>
                <a:tab pos="1088136" algn="l"/>
              </a:tabLst>
              <a:defRPr sz="1400">
                <a:latin typeface="Aptos" panose="020B0004020202020204" pitchFamily="34" charset="0"/>
              </a:defRPr>
            </a:lvl5pPr>
            <a:lvl6pPr marL="2514600" indent="-228600">
              <a:buFont typeface="Arial" panose="020B0604020202020204" pitchFamily="34" charset="0"/>
              <a:buChar char="•"/>
              <a:defRPr sz="1600"/>
            </a:lvl6pPr>
          </a:lstStyle>
          <a:p>
            <a:pPr lvl="0"/>
            <a:r>
              <a:rPr lang="en-US" dirty="0"/>
              <a:t>Text</a:t>
            </a:r>
          </a:p>
        </p:txBody>
      </p:sp>
    </p:spTree>
    <p:extLst>
      <p:ext uri="{BB962C8B-B14F-4D97-AF65-F5344CB8AC3E}">
        <p14:creationId xmlns:p14="http://schemas.microsoft.com/office/powerpoint/2010/main" val="19694597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image_bottom">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9095CB9-EE0F-AF25-DD65-2785264C5E1D}"/>
              </a:ext>
            </a:extLst>
          </p:cNvPr>
          <p:cNvSpPr>
            <a:spLocks noGrp="1"/>
          </p:cNvSpPr>
          <p:nvPr>
            <p:ph type="pic" sz="quarter" idx="15"/>
          </p:nvPr>
        </p:nvSpPr>
        <p:spPr>
          <a:xfrm>
            <a:off x="579201" y="4354568"/>
            <a:ext cx="3528050" cy="1823352"/>
          </a:xfrm>
          <a:custGeom>
            <a:avLst/>
            <a:gdLst>
              <a:gd name="connsiteX0" fmla="*/ 340899 w 3528050"/>
              <a:gd name="connsiteY0" fmla="*/ 0 h 1823352"/>
              <a:gd name="connsiteX1" fmla="*/ 3528050 w 3528050"/>
              <a:gd name="connsiteY1" fmla="*/ 0 h 1823352"/>
              <a:gd name="connsiteX2" fmla="*/ 3528050 w 3528050"/>
              <a:gd name="connsiteY2" fmla="*/ 1823352 h 1823352"/>
              <a:gd name="connsiteX3" fmla="*/ 0 w 3528050"/>
              <a:gd name="connsiteY3" fmla="*/ 1823352 h 1823352"/>
              <a:gd name="connsiteX4" fmla="*/ 0 w 3528050"/>
              <a:gd name="connsiteY4" fmla="*/ 340554 h 1823352"/>
              <a:gd name="connsiteX5" fmla="*/ 340899 w 3528050"/>
              <a:gd name="connsiteY5" fmla="*/ 0 h 182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050" h="1823352">
                <a:moveTo>
                  <a:pt x="340899" y="0"/>
                </a:moveTo>
                <a:lnTo>
                  <a:pt x="3528050" y="0"/>
                </a:lnTo>
                <a:lnTo>
                  <a:pt x="3528050" y="1823352"/>
                </a:lnTo>
                <a:lnTo>
                  <a:pt x="0" y="1823352"/>
                </a:lnTo>
                <a:lnTo>
                  <a:pt x="0" y="340554"/>
                </a:lnTo>
                <a:cubicBezTo>
                  <a:pt x="0" y="152619"/>
                  <a:pt x="152773" y="0"/>
                  <a:pt x="340899" y="0"/>
                </a:cubicBezTo>
                <a:close/>
              </a:path>
            </a:pathLst>
          </a:custGeom>
          <a:solidFill>
            <a:schemeClr val="bg1">
              <a:lumMod val="95000"/>
            </a:schemeClr>
          </a:solidFill>
        </p:spPr>
        <p:txBody>
          <a:bodyPr wrap="square" anchor="ctr">
            <a:noAutofit/>
          </a:bodyPr>
          <a:lstStyle>
            <a:lvl1pPr marL="0" indent="0" algn="ctr">
              <a:buFontTx/>
              <a:buNone/>
              <a:defRPr sz="1100"/>
            </a:lvl1pPr>
          </a:lstStyle>
          <a:p>
            <a:r>
              <a:rPr lang="en-US"/>
              <a:t>Click icon to add picture</a:t>
            </a:r>
          </a:p>
        </p:txBody>
      </p:sp>
      <p:sp>
        <p:nvSpPr>
          <p:cNvPr id="16" name="Picture Placeholder 15">
            <a:extLst>
              <a:ext uri="{FF2B5EF4-FFF2-40B4-BE49-F238E27FC236}">
                <a16:creationId xmlns:a16="http://schemas.microsoft.com/office/drawing/2014/main" id="{054AEB59-1C60-8770-ECE7-DCADFDA5F9CA}"/>
              </a:ext>
            </a:extLst>
          </p:cNvPr>
          <p:cNvSpPr>
            <a:spLocks noGrp="1"/>
          </p:cNvSpPr>
          <p:nvPr>
            <p:ph type="pic" sz="quarter" idx="16"/>
          </p:nvPr>
        </p:nvSpPr>
        <p:spPr>
          <a:xfrm>
            <a:off x="4299518" y="4354513"/>
            <a:ext cx="3627279" cy="1817687"/>
          </a:xfrm>
          <a:prstGeom prst="rect">
            <a:avLst/>
          </a:prstGeom>
          <a:solidFill>
            <a:schemeClr val="bg1">
              <a:lumMod val="95000"/>
            </a:schemeClr>
          </a:solidFill>
        </p:spPr>
        <p:txBody>
          <a:bodyPr anchor="ctr"/>
          <a:lstStyle>
            <a:lvl1pPr marL="0" indent="0" algn="ctr">
              <a:buFontTx/>
              <a:buNone/>
              <a:defRPr sz="1100"/>
            </a:lvl1pPr>
          </a:lstStyle>
          <a:p>
            <a:r>
              <a:rPr lang="en-US"/>
              <a:t>Click icon to add picture</a:t>
            </a:r>
          </a:p>
        </p:txBody>
      </p:sp>
      <p:sp>
        <p:nvSpPr>
          <p:cNvPr id="24" name="Picture Placeholder 23">
            <a:extLst>
              <a:ext uri="{FF2B5EF4-FFF2-40B4-BE49-F238E27FC236}">
                <a16:creationId xmlns:a16="http://schemas.microsoft.com/office/drawing/2014/main" id="{FB25A819-26FD-F504-C0F6-25DFEFA8B04B}"/>
              </a:ext>
            </a:extLst>
          </p:cNvPr>
          <p:cNvSpPr>
            <a:spLocks noGrp="1"/>
          </p:cNvSpPr>
          <p:nvPr>
            <p:ph type="pic" sz="quarter" idx="17"/>
          </p:nvPr>
        </p:nvSpPr>
        <p:spPr>
          <a:xfrm>
            <a:off x="8102351" y="4358923"/>
            <a:ext cx="3509864" cy="1813953"/>
          </a:xfrm>
          <a:custGeom>
            <a:avLst/>
            <a:gdLst>
              <a:gd name="connsiteX0" fmla="*/ 0 w 3509864"/>
              <a:gd name="connsiteY0" fmla="*/ 0 h 1813953"/>
              <a:gd name="connsiteX1" fmla="*/ 3509864 w 3509864"/>
              <a:gd name="connsiteY1" fmla="*/ 0 h 1813953"/>
              <a:gd name="connsiteX2" fmla="*/ 3509864 w 3509864"/>
              <a:gd name="connsiteY2" fmla="*/ 1475154 h 1813953"/>
              <a:gd name="connsiteX3" fmla="*/ 3170722 w 3509864"/>
              <a:gd name="connsiteY3" fmla="*/ 1813953 h 1813953"/>
              <a:gd name="connsiteX4" fmla="*/ 0 w 3509864"/>
              <a:gd name="connsiteY4" fmla="*/ 1813953 h 1813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864" h="1813953">
                <a:moveTo>
                  <a:pt x="0" y="0"/>
                </a:moveTo>
                <a:lnTo>
                  <a:pt x="3509864" y="0"/>
                </a:lnTo>
                <a:lnTo>
                  <a:pt x="3509864" y="1475154"/>
                </a:lnTo>
                <a:cubicBezTo>
                  <a:pt x="3509864" y="1662121"/>
                  <a:pt x="3357878" y="1813953"/>
                  <a:pt x="3170722" y="1813953"/>
                </a:cubicBezTo>
                <a:lnTo>
                  <a:pt x="0" y="1813953"/>
                </a:lnTo>
                <a:close/>
              </a:path>
            </a:pathLst>
          </a:custGeom>
          <a:solidFill>
            <a:schemeClr val="bg1">
              <a:lumMod val="95000"/>
            </a:schemeClr>
          </a:solidFill>
        </p:spPr>
        <p:txBody>
          <a:bodyPr wrap="square" anchor="ctr">
            <a:noAutofit/>
          </a:bodyPr>
          <a:lstStyle>
            <a:lvl1pPr marL="0" indent="0" algn="ctr">
              <a:buFontTx/>
              <a:buNone/>
              <a:defRPr sz="1100"/>
            </a:lvl1pPr>
          </a:lstStyle>
          <a:p>
            <a:r>
              <a:rPr lang="en-US"/>
              <a:t>Click icon to add picture</a:t>
            </a:r>
          </a:p>
        </p:txBody>
      </p:sp>
      <p:sp>
        <p:nvSpPr>
          <p:cNvPr id="26" name="Text Placeholder 6">
            <a:extLst>
              <a:ext uri="{FF2B5EF4-FFF2-40B4-BE49-F238E27FC236}">
                <a16:creationId xmlns:a16="http://schemas.microsoft.com/office/drawing/2014/main" id="{509FE525-3132-95F3-5D1D-B42FE919D0F2}"/>
              </a:ext>
            </a:extLst>
          </p:cNvPr>
          <p:cNvSpPr>
            <a:spLocks noGrp="1"/>
          </p:cNvSpPr>
          <p:nvPr>
            <p:ph type="body" sz="quarter" idx="29" hasCustomPrompt="1"/>
          </p:nvPr>
        </p:nvSpPr>
        <p:spPr>
          <a:xfrm>
            <a:off x="585500" y="291579"/>
            <a:ext cx="11026427"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2" name="Text Placeholder 11">
            <a:extLst>
              <a:ext uri="{FF2B5EF4-FFF2-40B4-BE49-F238E27FC236}">
                <a16:creationId xmlns:a16="http://schemas.microsoft.com/office/drawing/2014/main" id="{24F253DF-652A-9AE4-6243-562F04ED1F54}"/>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
        <p:nvSpPr>
          <p:cNvPr id="6" name="Content Placeholder 5">
            <a:extLst>
              <a:ext uri="{FF2B5EF4-FFF2-40B4-BE49-F238E27FC236}">
                <a16:creationId xmlns:a16="http://schemas.microsoft.com/office/drawing/2014/main" id="{FBE6CD90-8FD6-66A9-5E9A-C168D6E102D5}"/>
              </a:ext>
            </a:extLst>
          </p:cNvPr>
          <p:cNvSpPr>
            <a:spLocks noGrp="1"/>
          </p:cNvSpPr>
          <p:nvPr>
            <p:ph sz="quarter" idx="31" hasCustomPrompt="1"/>
          </p:nvPr>
        </p:nvSpPr>
        <p:spPr>
          <a:xfrm>
            <a:off x="579438" y="1628775"/>
            <a:ext cx="11026427" cy="2568575"/>
          </a:xfrm>
        </p:spPr>
        <p:txBody>
          <a:bodyPr/>
          <a:lstStyle/>
          <a:p>
            <a:pPr lvl="0"/>
            <a:r>
              <a:rPr lang="en-US" dirty="0"/>
              <a:t>Text</a:t>
            </a:r>
          </a:p>
        </p:txBody>
      </p:sp>
    </p:spTree>
    <p:extLst>
      <p:ext uri="{BB962C8B-B14F-4D97-AF65-F5344CB8AC3E}">
        <p14:creationId xmlns:p14="http://schemas.microsoft.com/office/powerpoint/2010/main" val="142976823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image_right">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FEE3EA51-A50E-7A77-F4D0-3ED4BB358AF0}"/>
              </a:ext>
            </a:extLst>
          </p:cNvPr>
          <p:cNvSpPr>
            <a:spLocks noGrp="1"/>
          </p:cNvSpPr>
          <p:nvPr>
            <p:ph type="pic" sz="quarter" idx="10"/>
          </p:nvPr>
        </p:nvSpPr>
        <p:spPr>
          <a:xfrm>
            <a:off x="6086455" y="654409"/>
            <a:ext cx="2680138" cy="2658187"/>
          </a:xfrm>
          <a:custGeom>
            <a:avLst/>
            <a:gdLst>
              <a:gd name="connsiteX0" fmla="*/ 341320 w 2730559"/>
              <a:gd name="connsiteY0" fmla="*/ 0 h 2730559"/>
              <a:gd name="connsiteX1" fmla="*/ 2730559 w 2730559"/>
              <a:gd name="connsiteY1" fmla="*/ 0 h 2730559"/>
              <a:gd name="connsiteX2" fmla="*/ 2730559 w 2730559"/>
              <a:gd name="connsiteY2" fmla="*/ 2730559 h 2730559"/>
              <a:gd name="connsiteX3" fmla="*/ 0 w 2730559"/>
              <a:gd name="connsiteY3" fmla="*/ 2730559 h 2730559"/>
              <a:gd name="connsiteX4" fmla="*/ 0 w 2730559"/>
              <a:gd name="connsiteY4" fmla="*/ 341320 h 2730559"/>
              <a:gd name="connsiteX5" fmla="*/ 341320 w 2730559"/>
              <a:gd name="connsiteY5" fmla="*/ 0 h 2730559"/>
              <a:gd name="connsiteX0" fmla="*/ 341320 w 2730559"/>
              <a:gd name="connsiteY0" fmla="*/ 0 h 2730559"/>
              <a:gd name="connsiteX1" fmla="*/ 2670234 w 2730559"/>
              <a:gd name="connsiteY1" fmla="*/ 0 h 2730559"/>
              <a:gd name="connsiteX2" fmla="*/ 2730559 w 2730559"/>
              <a:gd name="connsiteY2" fmla="*/ 2730559 h 2730559"/>
              <a:gd name="connsiteX3" fmla="*/ 0 w 2730559"/>
              <a:gd name="connsiteY3" fmla="*/ 2730559 h 2730559"/>
              <a:gd name="connsiteX4" fmla="*/ 0 w 2730559"/>
              <a:gd name="connsiteY4" fmla="*/ 341320 h 2730559"/>
              <a:gd name="connsiteX5" fmla="*/ 341320 w 2730559"/>
              <a:gd name="connsiteY5" fmla="*/ 0 h 2730559"/>
              <a:gd name="connsiteX0" fmla="*/ 341320 w 2670234"/>
              <a:gd name="connsiteY0" fmla="*/ 0 h 2730559"/>
              <a:gd name="connsiteX1" fmla="*/ 2670234 w 2670234"/>
              <a:gd name="connsiteY1" fmla="*/ 0 h 2730559"/>
              <a:gd name="connsiteX2" fmla="*/ 2670234 w 2670234"/>
              <a:gd name="connsiteY2" fmla="*/ 2730559 h 2730559"/>
              <a:gd name="connsiteX3" fmla="*/ 0 w 2670234"/>
              <a:gd name="connsiteY3" fmla="*/ 2730559 h 2730559"/>
              <a:gd name="connsiteX4" fmla="*/ 0 w 2670234"/>
              <a:gd name="connsiteY4" fmla="*/ 341320 h 2730559"/>
              <a:gd name="connsiteX5" fmla="*/ 341320 w 2670234"/>
              <a:gd name="connsiteY5" fmla="*/ 0 h 2730559"/>
              <a:gd name="connsiteX0" fmla="*/ 341320 w 2670234"/>
              <a:gd name="connsiteY0" fmla="*/ 0 h 2730559"/>
              <a:gd name="connsiteX1" fmla="*/ 2670234 w 2670234"/>
              <a:gd name="connsiteY1" fmla="*/ 0 h 2730559"/>
              <a:gd name="connsiteX2" fmla="*/ 2670234 w 2670234"/>
              <a:gd name="connsiteY2" fmla="*/ 2730559 h 2730559"/>
              <a:gd name="connsiteX3" fmla="*/ 0 w 2670234"/>
              <a:gd name="connsiteY3" fmla="*/ 2730559 h 2730559"/>
              <a:gd name="connsiteX4" fmla="*/ 0 w 2670234"/>
              <a:gd name="connsiteY4" fmla="*/ 341320 h 2730559"/>
              <a:gd name="connsiteX5" fmla="*/ 341320 w 2670234"/>
              <a:gd name="connsiteY5" fmla="*/ 0 h 2730559"/>
              <a:gd name="connsiteX0" fmla="*/ 341320 w 2673536"/>
              <a:gd name="connsiteY0" fmla="*/ 0 h 2730559"/>
              <a:gd name="connsiteX1" fmla="*/ 2670234 w 2673536"/>
              <a:gd name="connsiteY1" fmla="*/ 0 h 2730559"/>
              <a:gd name="connsiteX2" fmla="*/ 2673536 w 2673536"/>
              <a:gd name="connsiteY2" fmla="*/ 2657935 h 2730559"/>
              <a:gd name="connsiteX3" fmla="*/ 0 w 2673536"/>
              <a:gd name="connsiteY3" fmla="*/ 2730559 h 2730559"/>
              <a:gd name="connsiteX4" fmla="*/ 0 w 2673536"/>
              <a:gd name="connsiteY4" fmla="*/ 341320 h 2730559"/>
              <a:gd name="connsiteX5" fmla="*/ 341320 w 2673536"/>
              <a:gd name="connsiteY5" fmla="*/ 0 h 2730559"/>
              <a:gd name="connsiteX0" fmla="*/ 341320 w 2673536"/>
              <a:gd name="connsiteY0" fmla="*/ 0 h 2690946"/>
              <a:gd name="connsiteX1" fmla="*/ 2670234 w 2673536"/>
              <a:gd name="connsiteY1" fmla="*/ 0 h 2690946"/>
              <a:gd name="connsiteX2" fmla="*/ 2673536 w 2673536"/>
              <a:gd name="connsiteY2" fmla="*/ 2657935 h 2690946"/>
              <a:gd name="connsiteX3" fmla="*/ 0 w 2673536"/>
              <a:gd name="connsiteY3" fmla="*/ 2690946 h 2690946"/>
              <a:gd name="connsiteX4" fmla="*/ 0 w 2673536"/>
              <a:gd name="connsiteY4" fmla="*/ 341320 h 2690946"/>
              <a:gd name="connsiteX5" fmla="*/ 341320 w 2673536"/>
              <a:gd name="connsiteY5" fmla="*/ 0 h 2690946"/>
              <a:gd name="connsiteX0" fmla="*/ 341320 w 2673536"/>
              <a:gd name="connsiteY0" fmla="*/ 0 h 2657935"/>
              <a:gd name="connsiteX1" fmla="*/ 2670234 w 2673536"/>
              <a:gd name="connsiteY1" fmla="*/ 0 h 2657935"/>
              <a:gd name="connsiteX2" fmla="*/ 2673536 w 2673536"/>
              <a:gd name="connsiteY2" fmla="*/ 2657935 h 2657935"/>
              <a:gd name="connsiteX3" fmla="*/ 0 w 2673536"/>
              <a:gd name="connsiteY3" fmla="*/ 2648032 h 2657935"/>
              <a:gd name="connsiteX4" fmla="*/ 0 w 2673536"/>
              <a:gd name="connsiteY4" fmla="*/ 341320 h 2657935"/>
              <a:gd name="connsiteX5" fmla="*/ 341320 w 2673536"/>
              <a:gd name="connsiteY5" fmla="*/ 0 h 2657935"/>
              <a:gd name="connsiteX0" fmla="*/ 344621 w 2676837"/>
              <a:gd name="connsiteY0" fmla="*/ 0 h 2671139"/>
              <a:gd name="connsiteX1" fmla="*/ 2673535 w 2676837"/>
              <a:gd name="connsiteY1" fmla="*/ 0 h 2671139"/>
              <a:gd name="connsiteX2" fmla="*/ 2676837 w 2676837"/>
              <a:gd name="connsiteY2" fmla="*/ 2657935 h 2671139"/>
              <a:gd name="connsiteX3" fmla="*/ 0 w 2676837"/>
              <a:gd name="connsiteY3" fmla="*/ 2671139 h 2671139"/>
              <a:gd name="connsiteX4" fmla="*/ 3301 w 2676837"/>
              <a:gd name="connsiteY4" fmla="*/ 341320 h 2671139"/>
              <a:gd name="connsiteX5" fmla="*/ 344621 w 2676837"/>
              <a:gd name="connsiteY5" fmla="*/ 0 h 2671139"/>
              <a:gd name="connsiteX0" fmla="*/ 344621 w 2676837"/>
              <a:gd name="connsiteY0" fmla="*/ 0 h 2671139"/>
              <a:gd name="connsiteX1" fmla="*/ 2673535 w 2676837"/>
              <a:gd name="connsiteY1" fmla="*/ 0 h 2671139"/>
              <a:gd name="connsiteX2" fmla="*/ 2676837 w 2676837"/>
              <a:gd name="connsiteY2" fmla="*/ 2664537 h 2671139"/>
              <a:gd name="connsiteX3" fmla="*/ 0 w 2676837"/>
              <a:gd name="connsiteY3" fmla="*/ 2671139 h 2671139"/>
              <a:gd name="connsiteX4" fmla="*/ 3301 w 2676837"/>
              <a:gd name="connsiteY4" fmla="*/ 341320 h 2671139"/>
              <a:gd name="connsiteX5" fmla="*/ 344621 w 2676837"/>
              <a:gd name="connsiteY5" fmla="*/ 0 h 2671139"/>
              <a:gd name="connsiteX0" fmla="*/ 347922 w 2680138"/>
              <a:gd name="connsiteY0" fmla="*/ 0 h 2664537"/>
              <a:gd name="connsiteX1" fmla="*/ 2676836 w 2680138"/>
              <a:gd name="connsiteY1" fmla="*/ 0 h 2664537"/>
              <a:gd name="connsiteX2" fmla="*/ 2680138 w 2680138"/>
              <a:gd name="connsiteY2" fmla="*/ 2664537 h 2664537"/>
              <a:gd name="connsiteX3" fmla="*/ 0 w 2680138"/>
              <a:gd name="connsiteY3" fmla="*/ 2657935 h 2664537"/>
              <a:gd name="connsiteX4" fmla="*/ 6602 w 2680138"/>
              <a:gd name="connsiteY4" fmla="*/ 341320 h 2664537"/>
              <a:gd name="connsiteX5" fmla="*/ 347922 w 2680138"/>
              <a:gd name="connsiteY5" fmla="*/ 0 h 2664537"/>
              <a:gd name="connsiteX0" fmla="*/ 347922 w 2680138"/>
              <a:gd name="connsiteY0" fmla="*/ 0 h 2658187"/>
              <a:gd name="connsiteX1" fmla="*/ 2676836 w 2680138"/>
              <a:gd name="connsiteY1" fmla="*/ 0 h 2658187"/>
              <a:gd name="connsiteX2" fmla="*/ 2680138 w 2680138"/>
              <a:gd name="connsiteY2" fmla="*/ 2658187 h 2658187"/>
              <a:gd name="connsiteX3" fmla="*/ 0 w 2680138"/>
              <a:gd name="connsiteY3" fmla="*/ 2657935 h 2658187"/>
              <a:gd name="connsiteX4" fmla="*/ 6602 w 2680138"/>
              <a:gd name="connsiteY4" fmla="*/ 341320 h 2658187"/>
              <a:gd name="connsiteX5" fmla="*/ 347922 w 2680138"/>
              <a:gd name="connsiteY5" fmla="*/ 0 h 265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0138" h="2658187">
                <a:moveTo>
                  <a:pt x="347922" y="0"/>
                </a:moveTo>
                <a:lnTo>
                  <a:pt x="2676836" y="0"/>
                </a:lnTo>
                <a:cubicBezTo>
                  <a:pt x="2677937" y="885978"/>
                  <a:pt x="2679037" y="1772209"/>
                  <a:pt x="2680138" y="2658187"/>
                </a:cubicBezTo>
                <a:lnTo>
                  <a:pt x="0" y="2657935"/>
                </a:lnTo>
                <a:cubicBezTo>
                  <a:pt x="1100" y="1881329"/>
                  <a:pt x="5502" y="1117926"/>
                  <a:pt x="6602" y="341320"/>
                </a:cubicBezTo>
                <a:cubicBezTo>
                  <a:pt x="6602" y="152962"/>
                  <a:pt x="159564" y="0"/>
                  <a:pt x="347922" y="0"/>
                </a:cubicBezTo>
                <a:close/>
              </a:path>
            </a:pathLst>
          </a:custGeom>
          <a:solidFill>
            <a:schemeClr val="bg1">
              <a:lumMod val="95000"/>
            </a:schemeClr>
          </a:solidFill>
        </p:spPr>
        <p:txBody>
          <a:bodyPr wrap="square" anchor="ctr" anchorCtr="0">
            <a:noAutofit/>
          </a:bodyPr>
          <a:lstStyle>
            <a:lvl1pPr marL="0" indent="0" algn="ctr">
              <a:buNone/>
              <a:defRPr sz="1100"/>
            </a:lvl1pPr>
          </a:lstStyle>
          <a:p>
            <a:r>
              <a:rPr lang="en-US"/>
              <a:t>Click icon to add picture</a:t>
            </a:r>
          </a:p>
        </p:txBody>
      </p:sp>
      <p:sp>
        <p:nvSpPr>
          <p:cNvPr id="37" name="Picture Placeholder 36">
            <a:extLst>
              <a:ext uri="{FF2B5EF4-FFF2-40B4-BE49-F238E27FC236}">
                <a16:creationId xmlns:a16="http://schemas.microsoft.com/office/drawing/2014/main" id="{5943C3E3-8B6A-14F1-13B5-76002DE0E9E3}"/>
              </a:ext>
            </a:extLst>
          </p:cNvPr>
          <p:cNvSpPr>
            <a:spLocks noGrp="1"/>
          </p:cNvSpPr>
          <p:nvPr>
            <p:ph type="pic" sz="quarter" idx="11"/>
          </p:nvPr>
        </p:nvSpPr>
        <p:spPr>
          <a:xfrm>
            <a:off x="8952185" y="654410"/>
            <a:ext cx="2676584" cy="2660709"/>
          </a:xfrm>
          <a:custGeom>
            <a:avLst/>
            <a:gdLst>
              <a:gd name="connsiteX0" fmla="*/ 0 w 2730559"/>
              <a:gd name="connsiteY0" fmla="*/ 0 h 2730559"/>
              <a:gd name="connsiteX1" fmla="*/ 2389239 w 2730559"/>
              <a:gd name="connsiteY1" fmla="*/ 0 h 2730559"/>
              <a:gd name="connsiteX2" fmla="*/ 2730559 w 2730559"/>
              <a:gd name="connsiteY2" fmla="*/ 341320 h 2730559"/>
              <a:gd name="connsiteX3" fmla="*/ 2730559 w 2730559"/>
              <a:gd name="connsiteY3" fmla="*/ 2730559 h 2730559"/>
              <a:gd name="connsiteX4" fmla="*/ 0 w 2730559"/>
              <a:gd name="connsiteY4" fmla="*/ 2730559 h 2730559"/>
              <a:gd name="connsiteX0" fmla="*/ 53975 w 2730559"/>
              <a:gd name="connsiteY0" fmla="*/ 0 h 2730559"/>
              <a:gd name="connsiteX1" fmla="*/ 2389239 w 2730559"/>
              <a:gd name="connsiteY1" fmla="*/ 0 h 2730559"/>
              <a:gd name="connsiteX2" fmla="*/ 2730559 w 2730559"/>
              <a:gd name="connsiteY2" fmla="*/ 341320 h 2730559"/>
              <a:gd name="connsiteX3" fmla="*/ 2730559 w 2730559"/>
              <a:gd name="connsiteY3" fmla="*/ 2730559 h 2730559"/>
              <a:gd name="connsiteX4" fmla="*/ 0 w 2730559"/>
              <a:gd name="connsiteY4" fmla="*/ 2730559 h 2730559"/>
              <a:gd name="connsiteX5" fmla="*/ 53975 w 2730559"/>
              <a:gd name="connsiteY5" fmla="*/ 0 h 2730559"/>
              <a:gd name="connsiteX0" fmla="*/ 0 w 2676584"/>
              <a:gd name="connsiteY0" fmla="*/ 0 h 2730559"/>
              <a:gd name="connsiteX1" fmla="*/ 2335264 w 2676584"/>
              <a:gd name="connsiteY1" fmla="*/ 0 h 2730559"/>
              <a:gd name="connsiteX2" fmla="*/ 2676584 w 2676584"/>
              <a:gd name="connsiteY2" fmla="*/ 341320 h 2730559"/>
              <a:gd name="connsiteX3" fmla="*/ 2676584 w 2676584"/>
              <a:gd name="connsiteY3" fmla="*/ 2730559 h 2730559"/>
              <a:gd name="connsiteX4" fmla="*/ 6350 w 2676584"/>
              <a:gd name="connsiteY4" fmla="*/ 2730559 h 2730559"/>
              <a:gd name="connsiteX5" fmla="*/ 0 w 2676584"/>
              <a:gd name="connsiteY5" fmla="*/ 0 h 2730559"/>
              <a:gd name="connsiteX0" fmla="*/ 0 w 2676584"/>
              <a:gd name="connsiteY0" fmla="*/ 0 h 2730559"/>
              <a:gd name="connsiteX1" fmla="*/ 2335264 w 2676584"/>
              <a:gd name="connsiteY1" fmla="*/ 0 h 2730559"/>
              <a:gd name="connsiteX2" fmla="*/ 2676584 w 2676584"/>
              <a:gd name="connsiteY2" fmla="*/ 341320 h 2730559"/>
              <a:gd name="connsiteX3" fmla="*/ 2676584 w 2676584"/>
              <a:gd name="connsiteY3" fmla="*/ 2730559 h 2730559"/>
              <a:gd name="connsiteX4" fmla="*/ 6350 w 2676584"/>
              <a:gd name="connsiteY4" fmla="*/ 2667059 h 2730559"/>
              <a:gd name="connsiteX5" fmla="*/ 0 w 2676584"/>
              <a:gd name="connsiteY5" fmla="*/ 0 h 2730559"/>
              <a:gd name="connsiteX0" fmla="*/ 0 w 2676584"/>
              <a:gd name="connsiteY0" fmla="*/ 0 h 2730559"/>
              <a:gd name="connsiteX1" fmla="*/ 2335264 w 2676584"/>
              <a:gd name="connsiteY1" fmla="*/ 0 h 2730559"/>
              <a:gd name="connsiteX2" fmla="*/ 2676584 w 2676584"/>
              <a:gd name="connsiteY2" fmla="*/ 341320 h 2730559"/>
              <a:gd name="connsiteX3" fmla="*/ 2676584 w 2676584"/>
              <a:gd name="connsiteY3" fmla="*/ 2730559 h 2730559"/>
              <a:gd name="connsiteX4" fmla="*/ 6350 w 2676584"/>
              <a:gd name="connsiteY4" fmla="*/ 2660709 h 2730559"/>
              <a:gd name="connsiteX5" fmla="*/ 0 w 2676584"/>
              <a:gd name="connsiteY5" fmla="*/ 0 h 2730559"/>
              <a:gd name="connsiteX0" fmla="*/ 0 w 2676584"/>
              <a:gd name="connsiteY0" fmla="*/ 0 h 2660709"/>
              <a:gd name="connsiteX1" fmla="*/ 2335264 w 2676584"/>
              <a:gd name="connsiteY1" fmla="*/ 0 h 2660709"/>
              <a:gd name="connsiteX2" fmla="*/ 2676584 w 2676584"/>
              <a:gd name="connsiteY2" fmla="*/ 341320 h 2660709"/>
              <a:gd name="connsiteX3" fmla="*/ 2676584 w 2676584"/>
              <a:gd name="connsiteY3" fmla="*/ 2660709 h 2660709"/>
              <a:gd name="connsiteX4" fmla="*/ 6350 w 2676584"/>
              <a:gd name="connsiteY4" fmla="*/ 2660709 h 2660709"/>
              <a:gd name="connsiteX5" fmla="*/ 0 w 2676584"/>
              <a:gd name="connsiteY5" fmla="*/ 0 h 266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6584" h="2660709">
                <a:moveTo>
                  <a:pt x="0" y="0"/>
                </a:moveTo>
                <a:lnTo>
                  <a:pt x="2335264" y="0"/>
                </a:lnTo>
                <a:cubicBezTo>
                  <a:pt x="2523622" y="0"/>
                  <a:pt x="2676584" y="152962"/>
                  <a:pt x="2676584" y="341320"/>
                </a:cubicBezTo>
                <a:lnTo>
                  <a:pt x="2676584" y="2660709"/>
                </a:lnTo>
                <a:lnTo>
                  <a:pt x="6350" y="2660709"/>
                </a:lnTo>
                <a:cubicBezTo>
                  <a:pt x="6350" y="1750523"/>
                  <a:pt x="0" y="910186"/>
                  <a:pt x="0" y="0"/>
                </a:cubicBezTo>
                <a:close/>
              </a:path>
            </a:pathLst>
          </a:custGeom>
          <a:solidFill>
            <a:schemeClr val="bg1">
              <a:lumMod val="95000"/>
            </a:schemeClr>
          </a:solidFill>
        </p:spPr>
        <p:txBody>
          <a:bodyPr wrap="square" anchor="ctr" anchorCtr="0">
            <a:noAutofit/>
          </a:bodyPr>
          <a:lstStyle>
            <a:lvl1pPr marL="0" indent="0" algn="ctr">
              <a:buNone/>
              <a:defRPr sz="1100"/>
            </a:lvl1pPr>
          </a:lstStyle>
          <a:p>
            <a:r>
              <a:rPr lang="en-US"/>
              <a:t>Click icon to add picture</a:t>
            </a:r>
          </a:p>
        </p:txBody>
      </p:sp>
      <p:sp>
        <p:nvSpPr>
          <p:cNvPr id="38" name="Picture Placeholder 37">
            <a:extLst>
              <a:ext uri="{FF2B5EF4-FFF2-40B4-BE49-F238E27FC236}">
                <a16:creationId xmlns:a16="http://schemas.microsoft.com/office/drawing/2014/main" id="{01F55158-ED88-2BB0-1CBD-55CD5E9E1F35}"/>
              </a:ext>
            </a:extLst>
          </p:cNvPr>
          <p:cNvSpPr>
            <a:spLocks noGrp="1"/>
          </p:cNvSpPr>
          <p:nvPr>
            <p:ph type="pic" sz="quarter" idx="12"/>
          </p:nvPr>
        </p:nvSpPr>
        <p:spPr>
          <a:xfrm>
            <a:off x="6092740" y="3508031"/>
            <a:ext cx="2676902" cy="2664664"/>
          </a:xfrm>
          <a:custGeom>
            <a:avLst/>
            <a:gdLst>
              <a:gd name="connsiteX0" fmla="*/ 0 w 2730559"/>
              <a:gd name="connsiteY0" fmla="*/ 0 h 2730559"/>
              <a:gd name="connsiteX1" fmla="*/ 2730559 w 2730559"/>
              <a:gd name="connsiteY1" fmla="*/ 0 h 2730559"/>
              <a:gd name="connsiteX2" fmla="*/ 2730559 w 2730559"/>
              <a:gd name="connsiteY2" fmla="*/ 2730559 h 2730559"/>
              <a:gd name="connsiteX3" fmla="*/ 341320 w 2730559"/>
              <a:gd name="connsiteY3" fmla="*/ 2730559 h 2730559"/>
              <a:gd name="connsiteX4" fmla="*/ 0 w 2730559"/>
              <a:gd name="connsiteY4" fmla="*/ 2389239 h 2730559"/>
              <a:gd name="connsiteX0" fmla="*/ 0 w 2730559"/>
              <a:gd name="connsiteY0" fmla="*/ 0 h 2730559"/>
              <a:gd name="connsiteX1" fmla="*/ 2673409 w 2730559"/>
              <a:gd name="connsiteY1" fmla="*/ 3175 h 2730559"/>
              <a:gd name="connsiteX2" fmla="*/ 2730559 w 2730559"/>
              <a:gd name="connsiteY2" fmla="*/ 2730559 h 2730559"/>
              <a:gd name="connsiteX3" fmla="*/ 341320 w 2730559"/>
              <a:gd name="connsiteY3" fmla="*/ 2730559 h 2730559"/>
              <a:gd name="connsiteX4" fmla="*/ 0 w 2730559"/>
              <a:gd name="connsiteY4" fmla="*/ 2389239 h 2730559"/>
              <a:gd name="connsiteX5" fmla="*/ 0 w 2730559"/>
              <a:gd name="connsiteY5" fmla="*/ 0 h 2730559"/>
              <a:gd name="connsiteX0" fmla="*/ 0 w 2676584"/>
              <a:gd name="connsiteY0" fmla="*/ 0 h 2730559"/>
              <a:gd name="connsiteX1" fmla="*/ 2673409 w 2676584"/>
              <a:gd name="connsiteY1" fmla="*/ 3175 h 2730559"/>
              <a:gd name="connsiteX2" fmla="*/ 2676584 w 2676584"/>
              <a:gd name="connsiteY2" fmla="*/ 2730559 h 2730559"/>
              <a:gd name="connsiteX3" fmla="*/ 341320 w 2676584"/>
              <a:gd name="connsiteY3" fmla="*/ 2730559 h 2730559"/>
              <a:gd name="connsiteX4" fmla="*/ 0 w 2676584"/>
              <a:gd name="connsiteY4" fmla="*/ 2389239 h 2730559"/>
              <a:gd name="connsiteX5" fmla="*/ 0 w 2676584"/>
              <a:gd name="connsiteY5" fmla="*/ 0 h 2730559"/>
              <a:gd name="connsiteX0" fmla="*/ 0 w 2676584"/>
              <a:gd name="connsiteY0" fmla="*/ 0 h 2730559"/>
              <a:gd name="connsiteX1" fmla="*/ 2666807 w 2676584"/>
              <a:gd name="connsiteY1" fmla="*/ 72497 h 2730559"/>
              <a:gd name="connsiteX2" fmla="*/ 2676584 w 2676584"/>
              <a:gd name="connsiteY2" fmla="*/ 2730559 h 2730559"/>
              <a:gd name="connsiteX3" fmla="*/ 341320 w 2676584"/>
              <a:gd name="connsiteY3" fmla="*/ 2730559 h 2730559"/>
              <a:gd name="connsiteX4" fmla="*/ 0 w 2676584"/>
              <a:gd name="connsiteY4" fmla="*/ 2389239 h 2730559"/>
              <a:gd name="connsiteX5" fmla="*/ 0 w 2676584"/>
              <a:gd name="connsiteY5" fmla="*/ 0 h 2730559"/>
              <a:gd name="connsiteX0" fmla="*/ 0 w 2676584"/>
              <a:gd name="connsiteY0" fmla="*/ 0 h 2667838"/>
              <a:gd name="connsiteX1" fmla="*/ 2666807 w 2676584"/>
              <a:gd name="connsiteY1" fmla="*/ 9776 h 2667838"/>
              <a:gd name="connsiteX2" fmla="*/ 2676584 w 2676584"/>
              <a:gd name="connsiteY2" fmla="*/ 2667838 h 2667838"/>
              <a:gd name="connsiteX3" fmla="*/ 341320 w 2676584"/>
              <a:gd name="connsiteY3" fmla="*/ 2667838 h 2667838"/>
              <a:gd name="connsiteX4" fmla="*/ 0 w 2676584"/>
              <a:gd name="connsiteY4" fmla="*/ 2326518 h 2667838"/>
              <a:gd name="connsiteX5" fmla="*/ 0 w 2676584"/>
              <a:gd name="connsiteY5" fmla="*/ 0 h 2667838"/>
              <a:gd name="connsiteX0" fmla="*/ 0 w 2679885"/>
              <a:gd name="connsiteY0" fmla="*/ 0 h 2687645"/>
              <a:gd name="connsiteX1" fmla="*/ 2670108 w 2679885"/>
              <a:gd name="connsiteY1" fmla="*/ 29583 h 2687645"/>
              <a:gd name="connsiteX2" fmla="*/ 2679885 w 2679885"/>
              <a:gd name="connsiteY2" fmla="*/ 2687645 h 2687645"/>
              <a:gd name="connsiteX3" fmla="*/ 344621 w 2679885"/>
              <a:gd name="connsiteY3" fmla="*/ 2687645 h 2687645"/>
              <a:gd name="connsiteX4" fmla="*/ 3301 w 2679885"/>
              <a:gd name="connsiteY4" fmla="*/ 2346325 h 2687645"/>
              <a:gd name="connsiteX5" fmla="*/ 0 w 2679885"/>
              <a:gd name="connsiteY5" fmla="*/ 0 h 2687645"/>
              <a:gd name="connsiteX0" fmla="*/ 0 w 2679885"/>
              <a:gd name="connsiteY0" fmla="*/ 0 h 2687645"/>
              <a:gd name="connsiteX1" fmla="*/ 2666807 w 2679885"/>
              <a:gd name="connsiteY1" fmla="*/ 22981 h 2687645"/>
              <a:gd name="connsiteX2" fmla="*/ 2679885 w 2679885"/>
              <a:gd name="connsiteY2" fmla="*/ 2687645 h 2687645"/>
              <a:gd name="connsiteX3" fmla="*/ 344621 w 2679885"/>
              <a:gd name="connsiteY3" fmla="*/ 2687645 h 2687645"/>
              <a:gd name="connsiteX4" fmla="*/ 3301 w 2679885"/>
              <a:gd name="connsiteY4" fmla="*/ 2346325 h 2687645"/>
              <a:gd name="connsiteX5" fmla="*/ 0 w 2679885"/>
              <a:gd name="connsiteY5" fmla="*/ 0 h 2687645"/>
              <a:gd name="connsiteX0" fmla="*/ 0 w 2679885"/>
              <a:gd name="connsiteY0" fmla="*/ 0 h 2687645"/>
              <a:gd name="connsiteX1" fmla="*/ 2673409 w 2679885"/>
              <a:gd name="connsiteY1" fmla="*/ 22981 h 2687645"/>
              <a:gd name="connsiteX2" fmla="*/ 2679885 w 2679885"/>
              <a:gd name="connsiteY2" fmla="*/ 2687645 h 2687645"/>
              <a:gd name="connsiteX3" fmla="*/ 344621 w 2679885"/>
              <a:gd name="connsiteY3" fmla="*/ 2687645 h 2687645"/>
              <a:gd name="connsiteX4" fmla="*/ 3301 w 2679885"/>
              <a:gd name="connsiteY4" fmla="*/ 2346325 h 2687645"/>
              <a:gd name="connsiteX5" fmla="*/ 0 w 2679885"/>
              <a:gd name="connsiteY5" fmla="*/ 0 h 2687645"/>
              <a:gd name="connsiteX0" fmla="*/ 0 w 2679885"/>
              <a:gd name="connsiteY0" fmla="*/ 0 h 2671140"/>
              <a:gd name="connsiteX1" fmla="*/ 2673409 w 2679885"/>
              <a:gd name="connsiteY1" fmla="*/ 6476 h 2671140"/>
              <a:gd name="connsiteX2" fmla="*/ 2679885 w 2679885"/>
              <a:gd name="connsiteY2" fmla="*/ 2671140 h 2671140"/>
              <a:gd name="connsiteX3" fmla="*/ 344621 w 2679885"/>
              <a:gd name="connsiteY3" fmla="*/ 2671140 h 2671140"/>
              <a:gd name="connsiteX4" fmla="*/ 3301 w 2679885"/>
              <a:gd name="connsiteY4" fmla="*/ 2329820 h 2671140"/>
              <a:gd name="connsiteX5" fmla="*/ 0 w 2679885"/>
              <a:gd name="connsiteY5" fmla="*/ 0 h 2671140"/>
              <a:gd name="connsiteX0" fmla="*/ 318 w 2676902"/>
              <a:gd name="connsiteY0" fmla="*/ 3427 h 2664664"/>
              <a:gd name="connsiteX1" fmla="*/ 2670426 w 2676902"/>
              <a:gd name="connsiteY1" fmla="*/ 0 h 2664664"/>
              <a:gd name="connsiteX2" fmla="*/ 2676902 w 2676902"/>
              <a:gd name="connsiteY2" fmla="*/ 2664664 h 2664664"/>
              <a:gd name="connsiteX3" fmla="*/ 341638 w 2676902"/>
              <a:gd name="connsiteY3" fmla="*/ 2664664 h 2664664"/>
              <a:gd name="connsiteX4" fmla="*/ 318 w 2676902"/>
              <a:gd name="connsiteY4" fmla="*/ 2323344 h 2664664"/>
              <a:gd name="connsiteX5" fmla="*/ 318 w 2676902"/>
              <a:gd name="connsiteY5" fmla="*/ 3427 h 266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6902" h="2664664">
                <a:moveTo>
                  <a:pt x="318" y="3427"/>
                </a:moveTo>
                <a:lnTo>
                  <a:pt x="2670426" y="0"/>
                </a:lnTo>
                <a:cubicBezTo>
                  <a:pt x="2671484" y="909128"/>
                  <a:pt x="2675844" y="1755536"/>
                  <a:pt x="2676902" y="2664664"/>
                </a:cubicBezTo>
                <a:lnTo>
                  <a:pt x="341638" y="2664664"/>
                </a:lnTo>
                <a:cubicBezTo>
                  <a:pt x="153280" y="2664664"/>
                  <a:pt x="318" y="2511702"/>
                  <a:pt x="318" y="2323344"/>
                </a:cubicBezTo>
                <a:cubicBezTo>
                  <a:pt x="-782" y="1541236"/>
                  <a:pt x="1418" y="785535"/>
                  <a:pt x="318" y="3427"/>
                </a:cubicBezTo>
                <a:close/>
              </a:path>
            </a:pathLst>
          </a:custGeom>
          <a:solidFill>
            <a:schemeClr val="bg1">
              <a:lumMod val="95000"/>
            </a:schemeClr>
          </a:solidFill>
        </p:spPr>
        <p:txBody>
          <a:bodyPr wrap="square" anchor="ctr" anchorCtr="0">
            <a:noAutofit/>
          </a:bodyPr>
          <a:lstStyle>
            <a:lvl1pPr marL="0" indent="0" algn="ctr">
              <a:buNone/>
              <a:defRPr sz="1100"/>
            </a:lvl1pPr>
          </a:lstStyle>
          <a:p>
            <a:r>
              <a:rPr lang="en-US"/>
              <a:t>Click icon to add picture</a:t>
            </a:r>
          </a:p>
        </p:txBody>
      </p:sp>
      <p:sp>
        <p:nvSpPr>
          <p:cNvPr id="39" name="Picture Placeholder 38">
            <a:extLst>
              <a:ext uri="{FF2B5EF4-FFF2-40B4-BE49-F238E27FC236}">
                <a16:creationId xmlns:a16="http://schemas.microsoft.com/office/drawing/2014/main" id="{CB2268C8-F3C6-487B-C289-2DE7421EDE58}"/>
              </a:ext>
            </a:extLst>
          </p:cNvPr>
          <p:cNvSpPr>
            <a:spLocks noGrp="1"/>
          </p:cNvSpPr>
          <p:nvPr>
            <p:ph type="pic" sz="quarter" idx="13"/>
          </p:nvPr>
        </p:nvSpPr>
        <p:spPr>
          <a:xfrm>
            <a:off x="8958535" y="3505635"/>
            <a:ext cx="2670539" cy="2667059"/>
          </a:xfrm>
          <a:custGeom>
            <a:avLst/>
            <a:gdLst>
              <a:gd name="connsiteX0" fmla="*/ 0 w 2730559"/>
              <a:gd name="connsiteY0" fmla="*/ 0 h 2730559"/>
              <a:gd name="connsiteX1" fmla="*/ 2730559 w 2730559"/>
              <a:gd name="connsiteY1" fmla="*/ 0 h 2730559"/>
              <a:gd name="connsiteX2" fmla="*/ 2730559 w 2730559"/>
              <a:gd name="connsiteY2" fmla="*/ 2389239 h 2730559"/>
              <a:gd name="connsiteX3" fmla="*/ 2389239 w 2730559"/>
              <a:gd name="connsiteY3" fmla="*/ 2730559 h 2730559"/>
              <a:gd name="connsiteX4" fmla="*/ 0 w 2730559"/>
              <a:gd name="connsiteY4" fmla="*/ 2730559 h 2730559"/>
              <a:gd name="connsiteX0" fmla="*/ 63500 w 2730559"/>
              <a:gd name="connsiteY0" fmla="*/ 0 h 2730559"/>
              <a:gd name="connsiteX1" fmla="*/ 2730559 w 2730559"/>
              <a:gd name="connsiteY1" fmla="*/ 0 h 2730559"/>
              <a:gd name="connsiteX2" fmla="*/ 2730559 w 2730559"/>
              <a:gd name="connsiteY2" fmla="*/ 2389239 h 2730559"/>
              <a:gd name="connsiteX3" fmla="*/ 2389239 w 2730559"/>
              <a:gd name="connsiteY3" fmla="*/ 2730559 h 2730559"/>
              <a:gd name="connsiteX4" fmla="*/ 0 w 2730559"/>
              <a:gd name="connsiteY4" fmla="*/ 2730559 h 2730559"/>
              <a:gd name="connsiteX5" fmla="*/ 63500 w 2730559"/>
              <a:gd name="connsiteY5" fmla="*/ 0 h 2730559"/>
              <a:gd name="connsiteX0" fmla="*/ 3175 w 2670234"/>
              <a:gd name="connsiteY0" fmla="*/ 0 h 2730559"/>
              <a:gd name="connsiteX1" fmla="*/ 2670234 w 2670234"/>
              <a:gd name="connsiteY1" fmla="*/ 0 h 2730559"/>
              <a:gd name="connsiteX2" fmla="*/ 2670234 w 2670234"/>
              <a:gd name="connsiteY2" fmla="*/ 2389239 h 2730559"/>
              <a:gd name="connsiteX3" fmla="*/ 2328914 w 2670234"/>
              <a:gd name="connsiteY3" fmla="*/ 2730559 h 2730559"/>
              <a:gd name="connsiteX4" fmla="*/ 0 w 2670234"/>
              <a:gd name="connsiteY4" fmla="*/ 2727384 h 2730559"/>
              <a:gd name="connsiteX5" fmla="*/ 3175 w 2670234"/>
              <a:gd name="connsiteY5" fmla="*/ 0 h 2730559"/>
              <a:gd name="connsiteX0" fmla="*/ 3175 w 2670234"/>
              <a:gd name="connsiteY0" fmla="*/ 63500 h 2730559"/>
              <a:gd name="connsiteX1" fmla="*/ 2670234 w 2670234"/>
              <a:gd name="connsiteY1" fmla="*/ 0 h 2730559"/>
              <a:gd name="connsiteX2" fmla="*/ 2670234 w 2670234"/>
              <a:gd name="connsiteY2" fmla="*/ 2389239 h 2730559"/>
              <a:gd name="connsiteX3" fmla="*/ 2328914 w 2670234"/>
              <a:gd name="connsiteY3" fmla="*/ 2730559 h 2730559"/>
              <a:gd name="connsiteX4" fmla="*/ 0 w 2670234"/>
              <a:gd name="connsiteY4" fmla="*/ 2727384 h 2730559"/>
              <a:gd name="connsiteX5" fmla="*/ 3175 w 2670234"/>
              <a:gd name="connsiteY5" fmla="*/ 63500 h 2730559"/>
              <a:gd name="connsiteX0" fmla="*/ 3175 w 2673409"/>
              <a:gd name="connsiteY0" fmla="*/ 0 h 2667059"/>
              <a:gd name="connsiteX1" fmla="*/ 2673409 w 2673409"/>
              <a:gd name="connsiteY1" fmla="*/ 3175 h 2667059"/>
              <a:gd name="connsiteX2" fmla="*/ 2670234 w 2673409"/>
              <a:gd name="connsiteY2" fmla="*/ 2325739 h 2667059"/>
              <a:gd name="connsiteX3" fmla="*/ 2328914 w 2673409"/>
              <a:gd name="connsiteY3" fmla="*/ 2667059 h 2667059"/>
              <a:gd name="connsiteX4" fmla="*/ 0 w 2673409"/>
              <a:gd name="connsiteY4" fmla="*/ 2663884 h 2667059"/>
              <a:gd name="connsiteX5" fmla="*/ 3175 w 2673409"/>
              <a:gd name="connsiteY5" fmla="*/ 0 h 2667059"/>
              <a:gd name="connsiteX0" fmla="*/ 3175 w 2670539"/>
              <a:gd name="connsiteY0" fmla="*/ 0 h 2667059"/>
              <a:gd name="connsiteX1" fmla="*/ 2670234 w 2670539"/>
              <a:gd name="connsiteY1" fmla="*/ 3175 h 2667059"/>
              <a:gd name="connsiteX2" fmla="*/ 2670234 w 2670539"/>
              <a:gd name="connsiteY2" fmla="*/ 2325739 h 2667059"/>
              <a:gd name="connsiteX3" fmla="*/ 2328914 w 2670539"/>
              <a:gd name="connsiteY3" fmla="*/ 2667059 h 2667059"/>
              <a:gd name="connsiteX4" fmla="*/ 0 w 2670539"/>
              <a:gd name="connsiteY4" fmla="*/ 2663884 h 2667059"/>
              <a:gd name="connsiteX5" fmla="*/ 3175 w 2670539"/>
              <a:gd name="connsiteY5" fmla="*/ 0 h 266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0539" h="2667059">
                <a:moveTo>
                  <a:pt x="3175" y="0"/>
                </a:moveTo>
                <a:lnTo>
                  <a:pt x="2670234" y="3175"/>
                </a:lnTo>
                <a:cubicBezTo>
                  <a:pt x="2669176" y="777363"/>
                  <a:pt x="2671292" y="1551551"/>
                  <a:pt x="2670234" y="2325739"/>
                </a:cubicBezTo>
                <a:cubicBezTo>
                  <a:pt x="2670234" y="2514097"/>
                  <a:pt x="2517272" y="2667059"/>
                  <a:pt x="2328914" y="2667059"/>
                </a:cubicBezTo>
                <a:lnTo>
                  <a:pt x="0" y="2663884"/>
                </a:lnTo>
                <a:cubicBezTo>
                  <a:pt x="0" y="1753698"/>
                  <a:pt x="3175" y="910186"/>
                  <a:pt x="3175" y="0"/>
                </a:cubicBezTo>
                <a:close/>
              </a:path>
            </a:pathLst>
          </a:custGeom>
          <a:solidFill>
            <a:schemeClr val="bg1">
              <a:lumMod val="95000"/>
            </a:schemeClr>
          </a:solidFill>
        </p:spPr>
        <p:txBody>
          <a:bodyPr wrap="square" anchor="ctr" anchorCtr="0">
            <a:noAutofit/>
          </a:bodyPr>
          <a:lstStyle>
            <a:lvl1pPr marL="0" indent="0" algn="ctr">
              <a:buNone/>
              <a:defRPr sz="1100"/>
            </a:lvl1pPr>
          </a:lstStyle>
          <a:p>
            <a:r>
              <a:rPr lang="en-US"/>
              <a:t>Click icon to add picture</a:t>
            </a:r>
          </a:p>
        </p:txBody>
      </p:sp>
      <p:sp>
        <p:nvSpPr>
          <p:cNvPr id="9" name="Text Placeholder 6">
            <a:extLst>
              <a:ext uri="{FF2B5EF4-FFF2-40B4-BE49-F238E27FC236}">
                <a16:creationId xmlns:a16="http://schemas.microsoft.com/office/drawing/2014/main" id="{D42494DB-94AA-CA53-4695-B11080A652C4}"/>
              </a:ext>
            </a:extLst>
          </p:cNvPr>
          <p:cNvSpPr>
            <a:spLocks noGrp="1"/>
          </p:cNvSpPr>
          <p:nvPr>
            <p:ph type="body" sz="quarter" idx="29" hasCustomPrompt="1"/>
          </p:nvPr>
        </p:nvSpPr>
        <p:spPr>
          <a:xfrm>
            <a:off x="585500" y="291579"/>
            <a:ext cx="5274981"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2" name="Text Placeholder 11">
            <a:extLst>
              <a:ext uri="{FF2B5EF4-FFF2-40B4-BE49-F238E27FC236}">
                <a16:creationId xmlns:a16="http://schemas.microsoft.com/office/drawing/2014/main" id="{7897F310-4EA5-A33B-E3C5-AD3A0A4065A9}"/>
              </a:ext>
            </a:extLst>
          </p:cNvPr>
          <p:cNvSpPr>
            <a:spLocks noGrp="1"/>
          </p:cNvSpPr>
          <p:nvPr>
            <p:ph type="body" sz="quarter" idx="31"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
        <p:nvSpPr>
          <p:cNvPr id="6" name="Content Placeholder 5">
            <a:extLst>
              <a:ext uri="{FF2B5EF4-FFF2-40B4-BE49-F238E27FC236}">
                <a16:creationId xmlns:a16="http://schemas.microsoft.com/office/drawing/2014/main" id="{97406DA0-D802-186C-5F4B-FC577D0AC0CB}"/>
              </a:ext>
            </a:extLst>
          </p:cNvPr>
          <p:cNvSpPr>
            <a:spLocks noGrp="1"/>
          </p:cNvSpPr>
          <p:nvPr>
            <p:ph sz="quarter" idx="33" hasCustomPrompt="1"/>
          </p:nvPr>
        </p:nvSpPr>
        <p:spPr>
          <a:xfrm>
            <a:off x="585788" y="1608138"/>
            <a:ext cx="5275262" cy="4564062"/>
          </a:xfrm>
        </p:spPr>
        <p:txBody>
          <a:bodyPr/>
          <a:lstStyle/>
          <a:p>
            <a:pPr lvl="0"/>
            <a:r>
              <a:rPr lang="en-US" dirty="0"/>
              <a:t>Text</a:t>
            </a:r>
          </a:p>
        </p:txBody>
      </p:sp>
    </p:spTree>
    <p:extLst>
      <p:ext uri="{BB962C8B-B14F-4D97-AF65-F5344CB8AC3E}">
        <p14:creationId xmlns:p14="http://schemas.microsoft.com/office/powerpoint/2010/main" val="469745168"/>
      </p:ext>
    </p:extLst>
  </p:cSld>
  <p:clrMapOvr>
    <a:masterClrMapping/>
  </p:clrMapOvr>
  <p:extLst>
    <p:ext uri="{DCECCB84-F9BA-43D5-87BE-67443E8EF086}">
      <p15:sldGuideLst xmlns:p15="http://schemas.microsoft.com/office/powerpoint/2012/main">
        <p15:guide id="1" pos="5520">
          <p15:clr>
            <a:srgbClr val="FBAE40"/>
          </p15:clr>
        </p15:guide>
        <p15:guide id="2" pos="5640">
          <p15:clr>
            <a:srgbClr val="FBAE40"/>
          </p15:clr>
        </p15:guide>
        <p15:guide id="3" orient="horz" pos="208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ontent_ image grid">
    <p:spTree>
      <p:nvGrpSpPr>
        <p:cNvPr id="1" name=""/>
        <p:cNvGrpSpPr/>
        <p:nvPr/>
      </p:nvGrpSpPr>
      <p:grpSpPr>
        <a:xfrm>
          <a:off x="0" y="0"/>
          <a:ext cx="0" cy="0"/>
          <a:chOff x="0" y="0"/>
          <a:chExt cx="0" cy="0"/>
        </a:xfrm>
      </p:grpSpPr>
      <p:sp>
        <p:nvSpPr>
          <p:cNvPr id="28" name="Picture Placeholder 19">
            <a:extLst>
              <a:ext uri="{FF2B5EF4-FFF2-40B4-BE49-F238E27FC236}">
                <a16:creationId xmlns:a16="http://schemas.microsoft.com/office/drawing/2014/main" id="{CB284CC9-1EFA-C48F-4017-EBAD2C938ACF}"/>
              </a:ext>
            </a:extLst>
          </p:cNvPr>
          <p:cNvSpPr>
            <a:spLocks noGrp="1"/>
          </p:cNvSpPr>
          <p:nvPr>
            <p:ph type="pic" sz="quarter" idx="24"/>
          </p:nvPr>
        </p:nvSpPr>
        <p:spPr>
          <a:xfrm>
            <a:off x="6107104" y="3490451"/>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38" name="Picture Placeholder 37">
            <a:extLst>
              <a:ext uri="{FF2B5EF4-FFF2-40B4-BE49-F238E27FC236}">
                <a16:creationId xmlns:a16="http://schemas.microsoft.com/office/drawing/2014/main" id="{DB0FC094-E0CE-7618-7163-4DF0CBBCCCE6}"/>
              </a:ext>
            </a:extLst>
          </p:cNvPr>
          <p:cNvSpPr>
            <a:spLocks noGrp="1" noChangeAspect="1"/>
          </p:cNvSpPr>
          <p:nvPr>
            <p:ph type="pic" sz="quarter" idx="40"/>
          </p:nvPr>
        </p:nvSpPr>
        <p:spPr>
          <a:xfrm>
            <a:off x="6106282" y="4939389"/>
            <a:ext cx="1234440" cy="1234440"/>
          </a:xfrm>
          <a:custGeom>
            <a:avLst/>
            <a:gdLst>
              <a:gd name="connsiteX0" fmla="*/ 0 w 1282476"/>
              <a:gd name="connsiteY0" fmla="*/ 0 h 1280033"/>
              <a:gd name="connsiteX1" fmla="*/ 1282476 w 1282476"/>
              <a:gd name="connsiteY1" fmla="*/ 0 h 1280033"/>
              <a:gd name="connsiteX2" fmla="*/ 1282476 w 1282476"/>
              <a:gd name="connsiteY2" fmla="*/ 1280033 h 1280033"/>
              <a:gd name="connsiteX3" fmla="*/ 343384 w 1282476"/>
              <a:gd name="connsiteY3" fmla="*/ 1280033 h 1280033"/>
              <a:gd name="connsiteX4" fmla="*/ 0 w 1282476"/>
              <a:gd name="connsiteY4" fmla="*/ 937812 h 128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2476" h="1280033">
                <a:moveTo>
                  <a:pt x="0" y="0"/>
                </a:moveTo>
                <a:lnTo>
                  <a:pt x="1282476" y="0"/>
                </a:lnTo>
                <a:lnTo>
                  <a:pt x="1282476" y="1280033"/>
                </a:lnTo>
                <a:lnTo>
                  <a:pt x="343384" y="1280033"/>
                </a:lnTo>
                <a:cubicBezTo>
                  <a:pt x="153887" y="1280033"/>
                  <a:pt x="0" y="1126667"/>
                  <a:pt x="0" y="937812"/>
                </a:cubicBezTo>
                <a:close/>
              </a:path>
            </a:pathLst>
          </a:custGeom>
          <a:solidFill>
            <a:schemeClr val="bg1">
              <a:lumMod val="95000"/>
            </a:schemeClr>
          </a:solidFill>
        </p:spPr>
        <p:txBody>
          <a:bodyPr wrap="square" anchor="ctr" anchorCtr="0">
            <a:noAutofit/>
          </a:bodyPr>
          <a:lstStyle>
            <a:lvl1pPr marL="0" indent="0" algn="ctr">
              <a:buFontTx/>
              <a:buNone/>
              <a:defRPr sz="1100"/>
            </a:lvl1pPr>
          </a:lstStyle>
          <a:p>
            <a:r>
              <a:rPr lang="en-US"/>
              <a:t>Click icon to add picture</a:t>
            </a:r>
          </a:p>
        </p:txBody>
      </p:sp>
      <p:sp>
        <p:nvSpPr>
          <p:cNvPr id="53" name="Picture Placeholder 52">
            <a:extLst>
              <a:ext uri="{FF2B5EF4-FFF2-40B4-BE49-F238E27FC236}">
                <a16:creationId xmlns:a16="http://schemas.microsoft.com/office/drawing/2014/main" id="{7E352738-CCEA-377C-7EE5-C2194BB27A8A}"/>
              </a:ext>
            </a:extLst>
          </p:cNvPr>
          <p:cNvSpPr>
            <a:spLocks noGrp="1" noChangeAspect="1"/>
          </p:cNvSpPr>
          <p:nvPr>
            <p:ph type="pic" sz="quarter" idx="41"/>
          </p:nvPr>
        </p:nvSpPr>
        <p:spPr>
          <a:xfrm>
            <a:off x="6096000" y="657982"/>
            <a:ext cx="1234440" cy="1234440"/>
          </a:xfrm>
          <a:custGeom>
            <a:avLst/>
            <a:gdLst>
              <a:gd name="connsiteX0" fmla="*/ 343707 w 1285591"/>
              <a:gd name="connsiteY0" fmla="*/ 0 h 1279333"/>
              <a:gd name="connsiteX1" fmla="*/ 1285591 w 1285591"/>
              <a:gd name="connsiteY1" fmla="*/ 0 h 1279333"/>
              <a:gd name="connsiteX2" fmla="*/ 1285591 w 1285591"/>
              <a:gd name="connsiteY2" fmla="*/ 1279333 h 1279333"/>
              <a:gd name="connsiteX3" fmla="*/ 0 w 1285591"/>
              <a:gd name="connsiteY3" fmla="*/ 1279333 h 1279333"/>
              <a:gd name="connsiteX4" fmla="*/ 0 w 1285591"/>
              <a:gd name="connsiteY4" fmla="*/ 342543 h 1279333"/>
              <a:gd name="connsiteX5" fmla="*/ 343707 w 1285591"/>
              <a:gd name="connsiteY5" fmla="*/ 0 h 1279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591" h="1279333">
                <a:moveTo>
                  <a:pt x="343707" y="0"/>
                </a:moveTo>
                <a:lnTo>
                  <a:pt x="1285591" y="0"/>
                </a:lnTo>
                <a:lnTo>
                  <a:pt x="1285591" y="1279333"/>
                </a:lnTo>
                <a:lnTo>
                  <a:pt x="0" y="1279333"/>
                </a:lnTo>
                <a:lnTo>
                  <a:pt x="0" y="342543"/>
                </a:lnTo>
                <a:cubicBezTo>
                  <a:pt x="0" y="153510"/>
                  <a:pt x="154032" y="0"/>
                  <a:pt x="343707" y="0"/>
                </a:cubicBezTo>
                <a:close/>
              </a:path>
            </a:pathLst>
          </a:custGeom>
          <a:solidFill>
            <a:schemeClr val="bg1">
              <a:lumMod val="95000"/>
            </a:schemeClr>
          </a:solidFill>
        </p:spPr>
        <p:txBody>
          <a:bodyPr wrap="square" anchor="ctr" anchorCtr="0">
            <a:noAutofit/>
          </a:bodyPr>
          <a:lstStyle>
            <a:lvl1pPr marL="0" indent="0" algn="ctr">
              <a:buFontTx/>
              <a:buNone/>
              <a:defRPr sz="1100"/>
            </a:lvl1pPr>
          </a:lstStyle>
          <a:p>
            <a:r>
              <a:rPr lang="en-US"/>
              <a:t>Click icon to add picture</a:t>
            </a:r>
          </a:p>
        </p:txBody>
      </p:sp>
      <p:sp>
        <p:nvSpPr>
          <p:cNvPr id="56" name="Picture Placeholder 55">
            <a:extLst>
              <a:ext uri="{FF2B5EF4-FFF2-40B4-BE49-F238E27FC236}">
                <a16:creationId xmlns:a16="http://schemas.microsoft.com/office/drawing/2014/main" id="{4F63AE57-F084-F521-C3DC-4145212B0D2B}"/>
              </a:ext>
            </a:extLst>
          </p:cNvPr>
          <p:cNvSpPr>
            <a:spLocks noGrp="1" noChangeAspect="1"/>
          </p:cNvSpPr>
          <p:nvPr>
            <p:ph type="pic" sz="quarter" idx="42"/>
          </p:nvPr>
        </p:nvSpPr>
        <p:spPr>
          <a:xfrm>
            <a:off x="10383704" y="657982"/>
            <a:ext cx="1236796" cy="1234440"/>
          </a:xfrm>
          <a:custGeom>
            <a:avLst/>
            <a:gdLst>
              <a:gd name="connsiteX0" fmla="*/ 0 w 1282476"/>
              <a:gd name="connsiteY0" fmla="*/ 0 h 1280033"/>
              <a:gd name="connsiteX1" fmla="*/ 939092 w 1282476"/>
              <a:gd name="connsiteY1" fmla="*/ 0 h 1280033"/>
              <a:gd name="connsiteX2" fmla="*/ 1282476 w 1282476"/>
              <a:gd name="connsiteY2" fmla="*/ 342221 h 1280033"/>
              <a:gd name="connsiteX3" fmla="*/ 1282476 w 1282476"/>
              <a:gd name="connsiteY3" fmla="*/ 1280033 h 1280033"/>
              <a:gd name="connsiteX4" fmla="*/ 0 w 1282476"/>
              <a:gd name="connsiteY4" fmla="*/ 1280033 h 128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2476" h="1280033">
                <a:moveTo>
                  <a:pt x="0" y="0"/>
                </a:moveTo>
                <a:lnTo>
                  <a:pt x="939092" y="0"/>
                </a:lnTo>
                <a:cubicBezTo>
                  <a:pt x="1128590" y="0"/>
                  <a:pt x="1282476" y="153366"/>
                  <a:pt x="1282476" y="342221"/>
                </a:cubicBezTo>
                <a:lnTo>
                  <a:pt x="1282476" y="1280033"/>
                </a:lnTo>
                <a:lnTo>
                  <a:pt x="0" y="1280033"/>
                </a:lnTo>
                <a:close/>
              </a:path>
            </a:pathLst>
          </a:custGeom>
          <a:solidFill>
            <a:schemeClr val="bg1">
              <a:lumMod val="95000"/>
            </a:schemeClr>
          </a:solidFill>
        </p:spPr>
        <p:txBody>
          <a:bodyPr wrap="square" anchor="ctr" anchorCtr="0">
            <a:noAutofit/>
          </a:bodyPr>
          <a:lstStyle>
            <a:lvl1pPr marL="0" indent="0" algn="ctr">
              <a:buFontTx/>
              <a:buNone/>
              <a:defRPr sz="1100"/>
            </a:lvl1pPr>
          </a:lstStyle>
          <a:p>
            <a:r>
              <a:rPr lang="en-US"/>
              <a:t>Click icon to add picture</a:t>
            </a:r>
          </a:p>
        </p:txBody>
      </p:sp>
      <p:sp>
        <p:nvSpPr>
          <p:cNvPr id="59" name="Picture Placeholder 58">
            <a:extLst>
              <a:ext uri="{FF2B5EF4-FFF2-40B4-BE49-F238E27FC236}">
                <a16:creationId xmlns:a16="http://schemas.microsoft.com/office/drawing/2014/main" id="{62760E03-11EE-0ABE-9610-12BF4284C05C}"/>
              </a:ext>
            </a:extLst>
          </p:cNvPr>
          <p:cNvSpPr>
            <a:spLocks noGrp="1"/>
          </p:cNvSpPr>
          <p:nvPr>
            <p:ph type="pic" sz="quarter" idx="43"/>
          </p:nvPr>
        </p:nvSpPr>
        <p:spPr>
          <a:xfrm>
            <a:off x="10381015" y="4939389"/>
            <a:ext cx="1234440" cy="1234440"/>
          </a:xfrm>
          <a:custGeom>
            <a:avLst/>
            <a:gdLst>
              <a:gd name="connsiteX0" fmla="*/ 0 w 1284384"/>
              <a:gd name="connsiteY0" fmla="*/ 0 h 1278132"/>
              <a:gd name="connsiteX1" fmla="*/ 1284384 w 1284384"/>
              <a:gd name="connsiteY1" fmla="*/ 0 h 1278132"/>
              <a:gd name="connsiteX2" fmla="*/ 1284384 w 1284384"/>
              <a:gd name="connsiteY2" fmla="*/ 935911 h 1278132"/>
              <a:gd name="connsiteX3" fmla="*/ 941000 w 1284384"/>
              <a:gd name="connsiteY3" fmla="*/ 1278132 h 1278132"/>
              <a:gd name="connsiteX4" fmla="*/ 0 w 1284384"/>
              <a:gd name="connsiteY4" fmla="*/ 1278132 h 1278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4384" h="1278132">
                <a:moveTo>
                  <a:pt x="0" y="0"/>
                </a:moveTo>
                <a:lnTo>
                  <a:pt x="1284384" y="0"/>
                </a:lnTo>
                <a:lnTo>
                  <a:pt x="1284384" y="935911"/>
                </a:lnTo>
                <a:cubicBezTo>
                  <a:pt x="1284384" y="1124766"/>
                  <a:pt x="1130497" y="1278132"/>
                  <a:pt x="941000" y="1278132"/>
                </a:cubicBezTo>
                <a:lnTo>
                  <a:pt x="0" y="1278132"/>
                </a:lnTo>
                <a:close/>
              </a:path>
            </a:pathLst>
          </a:custGeom>
          <a:solidFill>
            <a:schemeClr val="bg1">
              <a:lumMod val="95000"/>
            </a:schemeClr>
          </a:solidFill>
        </p:spPr>
        <p:txBody>
          <a:bodyPr wrap="square" anchor="ctr" anchorCtr="0">
            <a:noAutofit/>
          </a:bodyPr>
          <a:lstStyle>
            <a:lvl1pPr marL="0" indent="0" algn="ctr">
              <a:buFontTx/>
              <a:buNone/>
              <a:defRPr sz="1100"/>
            </a:lvl1pPr>
          </a:lstStyle>
          <a:p>
            <a:r>
              <a:rPr lang="en-US"/>
              <a:t>Click icon to add picture</a:t>
            </a:r>
          </a:p>
        </p:txBody>
      </p:sp>
      <p:sp>
        <p:nvSpPr>
          <p:cNvPr id="6" name="Picture Placeholder 19">
            <a:extLst>
              <a:ext uri="{FF2B5EF4-FFF2-40B4-BE49-F238E27FC236}">
                <a16:creationId xmlns:a16="http://schemas.microsoft.com/office/drawing/2014/main" id="{5F38EB75-DD39-3DEE-5873-3097A6A7AB11}"/>
              </a:ext>
            </a:extLst>
          </p:cNvPr>
          <p:cNvSpPr>
            <a:spLocks noGrp="1"/>
          </p:cNvSpPr>
          <p:nvPr>
            <p:ph type="pic" sz="quarter" idx="45"/>
          </p:nvPr>
        </p:nvSpPr>
        <p:spPr>
          <a:xfrm>
            <a:off x="7533423" y="3490451"/>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9" name="Picture Placeholder 19">
            <a:extLst>
              <a:ext uri="{FF2B5EF4-FFF2-40B4-BE49-F238E27FC236}">
                <a16:creationId xmlns:a16="http://schemas.microsoft.com/office/drawing/2014/main" id="{EF7323E4-4973-1369-40DD-15ACDAB4C989}"/>
              </a:ext>
            </a:extLst>
          </p:cNvPr>
          <p:cNvSpPr>
            <a:spLocks noGrp="1"/>
          </p:cNvSpPr>
          <p:nvPr>
            <p:ph type="pic" sz="quarter" idx="47"/>
          </p:nvPr>
        </p:nvSpPr>
        <p:spPr>
          <a:xfrm>
            <a:off x="8959742" y="3490451"/>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0" name="Picture Placeholder 19">
            <a:extLst>
              <a:ext uri="{FF2B5EF4-FFF2-40B4-BE49-F238E27FC236}">
                <a16:creationId xmlns:a16="http://schemas.microsoft.com/office/drawing/2014/main" id="{68BEB1C6-A5B0-C0EE-5602-154D80E42CA7}"/>
              </a:ext>
            </a:extLst>
          </p:cNvPr>
          <p:cNvSpPr>
            <a:spLocks noGrp="1"/>
          </p:cNvSpPr>
          <p:nvPr>
            <p:ph type="pic" sz="quarter" idx="48"/>
          </p:nvPr>
        </p:nvSpPr>
        <p:spPr>
          <a:xfrm>
            <a:off x="7531193" y="4939389"/>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1" name="Picture Placeholder 19">
            <a:extLst>
              <a:ext uri="{FF2B5EF4-FFF2-40B4-BE49-F238E27FC236}">
                <a16:creationId xmlns:a16="http://schemas.microsoft.com/office/drawing/2014/main" id="{C94AC62C-71AE-616E-5EDA-693BB4FC8BA6}"/>
              </a:ext>
            </a:extLst>
          </p:cNvPr>
          <p:cNvSpPr>
            <a:spLocks noGrp="1"/>
          </p:cNvSpPr>
          <p:nvPr>
            <p:ph type="pic" sz="quarter" idx="49"/>
          </p:nvPr>
        </p:nvSpPr>
        <p:spPr>
          <a:xfrm>
            <a:off x="8956104" y="4939389"/>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2" name="Picture Placeholder 19">
            <a:extLst>
              <a:ext uri="{FF2B5EF4-FFF2-40B4-BE49-F238E27FC236}">
                <a16:creationId xmlns:a16="http://schemas.microsoft.com/office/drawing/2014/main" id="{4E4189E0-8169-D501-8BFE-75E033E82B99}"/>
              </a:ext>
            </a:extLst>
          </p:cNvPr>
          <p:cNvSpPr>
            <a:spLocks noGrp="1"/>
          </p:cNvSpPr>
          <p:nvPr>
            <p:ph type="pic" sz="quarter" idx="50"/>
          </p:nvPr>
        </p:nvSpPr>
        <p:spPr>
          <a:xfrm>
            <a:off x="10386060" y="3490451"/>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3" name="Picture Placeholder 19">
            <a:extLst>
              <a:ext uri="{FF2B5EF4-FFF2-40B4-BE49-F238E27FC236}">
                <a16:creationId xmlns:a16="http://schemas.microsoft.com/office/drawing/2014/main" id="{4B44E731-DB0B-B389-430A-FF606AFC2838}"/>
              </a:ext>
            </a:extLst>
          </p:cNvPr>
          <p:cNvSpPr>
            <a:spLocks noGrp="1"/>
          </p:cNvSpPr>
          <p:nvPr>
            <p:ph type="pic" sz="quarter" idx="51"/>
          </p:nvPr>
        </p:nvSpPr>
        <p:spPr>
          <a:xfrm>
            <a:off x="6104874" y="2069994"/>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4" name="Picture Placeholder 19">
            <a:extLst>
              <a:ext uri="{FF2B5EF4-FFF2-40B4-BE49-F238E27FC236}">
                <a16:creationId xmlns:a16="http://schemas.microsoft.com/office/drawing/2014/main" id="{ADDB60D8-AC3F-C0A2-1324-985BA6266B14}"/>
              </a:ext>
            </a:extLst>
          </p:cNvPr>
          <p:cNvSpPr>
            <a:spLocks noGrp="1"/>
          </p:cNvSpPr>
          <p:nvPr>
            <p:ph type="pic" sz="quarter" idx="52"/>
          </p:nvPr>
        </p:nvSpPr>
        <p:spPr>
          <a:xfrm>
            <a:off x="7531193" y="2069994"/>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5" name="Picture Placeholder 19">
            <a:extLst>
              <a:ext uri="{FF2B5EF4-FFF2-40B4-BE49-F238E27FC236}">
                <a16:creationId xmlns:a16="http://schemas.microsoft.com/office/drawing/2014/main" id="{92BE5137-D889-6E29-7602-C9E387395E61}"/>
              </a:ext>
            </a:extLst>
          </p:cNvPr>
          <p:cNvSpPr>
            <a:spLocks noGrp="1"/>
          </p:cNvSpPr>
          <p:nvPr>
            <p:ph type="pic" sz="quarter" idx="53"/>
          </p:nvPr>
        </p:nvSpPr>
        <p:spPr>
          <a:xfrm>
            <a:off x="8957512" y="2069994"/>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6" name="Picture Placeholder 19">
            <a:extLst>
              <a:ext uri="{FF2B5EF4-FFF2-40B4-BE49-F238E27FC236}">
                <a16:creationId xmlns:a16="http://schemas.microsoft.com/office/drawing/2014/main" id="{A52B3EEA-747F-ECD2-655A-4937595848E1}"/>
              </a:ext>
            </a:extLst>
          </p:cNvPr>
          <p:cNvSpPr>
            <a:spLocks noGrp="1"/>
          </p:cNvSpPr>
          <p:nvPr>
            <p:ph type="pic" sz="quarter" idx="54"/>
          </p:nvPr>
        </p:nvSpPr>
        <p:spPr>
          <a:xfrm>
            <a:off x="10383830" y="2069994"/>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7" name="Picture Placeholder 19">
            <a:extLst>
              <a:ext uri="{FF2B5EF4-FFF2-40B4-BE49-F238E27FC236}">
                <a16:creationId xmlns:a16="http://schemas.microsoft.com/office/drawing/2014/main" id="{4B9997B1-297B-1B94-5959-8A6713222B51}"/>
              </a:ext>
            </a:extLst>
          </p:cNvPr>
          <p:cNvSpPr>
            <a:spLocks noGrp="1"/>
          </p:cNvSpPr>
          <p:nvPr>
            <p:ph type="pic" sz="quarter" idx="55"/>
          </p:nvPr>
        </p:nvSpPr>
        <p:spPr>
          <a:xfrm>
            <a:off x="7529785" y="657982"/>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18" name="Picture Placeholder 19">
            <a:extLst>
              <a:ext uri="{FF2B5EF4-FFF2-40B4-BE49-F238E27FC236}">
                <a16:creationId xmlns:a16="http://schemas.microsoft.com/office/drawing/2014/main" id="{71B6DB5B-FB7F-BEA4-25A7-1069DDD5E95D}"/>
              </a:ext>
            </a:extLst>
          </p:cNvPr>
          <p:cNvSpPr>
            <a:spLocks noGrp="1"/>
          </p:cNvSpPr>
          <p:nvPr>
            <p:ph type="pic" sz="quarter" idx="56"/>
          </p:nvPr>
        </p:nvSpPr>
        <p:spPr>
          <a:xfrm>
            <a:off x="8956104" y="657982"/>
            <a:ext cx="1234440" cy="1234440"/>
          </a:xfrm>
          <a:prstGeom prst="rect">
            <a:avLst/>
          </a:prstGeom>
          <a:solidFill>
            <a:schemeClr val="bg1">
              <a:lumMod val="95000"/>
            </a:schemeClr>
          </a:solidFill>
        </p:spPr>
        <p:txBody>
          <a:bodyPr anchor="ctr">
            <a:normAutofit/>
          </a:bodyPr>
          <a:lstStyle>
            <a:lvl1pPr marL="0" indent="0" algn="ctr">
              <a:buNone/>
              <a:defRPr sz="1100">
                <a:solidFill>
                  <a:schemeClr val="tx1"/>
                </a:solidFill>
              </a:defRPr>
            </a:lvl1pPr>
          </a:lstStyle>
          <a:p>
            <a:r>
              <a:rPr lang="en-US"/>
              <a:t>Click icon to add picture</a:t>
            </a:r>
          </a:p>
        </p:txBody>
      </p:sp>
      <p:sp>
        <p:nvSpPr>
          <p:cNvPr id="36" name="Text Placeholder 6">
            <a:extLst>
              <a:ext uri="{FF2B5EF4-FFF2-40B4-BE49-F238E27FC236}">
                <a16:creationId xmlns:a16="http://schemas.microsoft.com/office/drawing/2014/main" id="{1C4E14E9-D7E4-B3F5-BB27-56A17BB2A046}"/>
              </a:ext>
            </a:extLst>
          </p:cNvPr>
          <p:cNvSpPr>
            <a:spLocks noGrp="1"/>
          </p:cNvSpPr>
          <p:nvPr>
            <p:ph type="body" sz="quarter" idx="29" hasCustomPrompt="1"/>
          </p:nvPr>
        </p:nvSpPr>
        <p:spPr>
          <a:xfrm>
            <a:off x="585500" y="291579"/>
            <a:ext cx="5274981" cy="1184960"/>
          </a:xfrm>
          <a:prstGeom prst="rect">
            <a:avLst/>
          </a:prstGeom>
        </p:spPr>
        <p:txBody>
          <a:bodyPr wrap="square" rIns="91440"/>
          <a:lstStyle>
            <a:lvl1pPr marL="0" indent="0">
              <a:lnSpc>
                <a:spcPct val="80000"/>
              </a:lnSpc>
              <a:buFontTx/>
              <a:buNone/>
              <a:defRPr sz="3400" b="1"/>
            </a:lvl1pPr>
          </a:lstStyle>
          <a:p>
            <a:r>
              <a:rPr lang="en-US"/>
              <a:t>Title</a:t>
            </a:r>
          </a:p>
        </p:txBody>
      </p:sp>
      <p:sp>
        <p:nvSpPr>
          <p:cNvPr id="2" name="Text Placeholder 11">
            <a:extLst>
              <a:ext uri="{FF2B5EF4-FFF2-40B4-BE49-F238E27FC236}">
                <a16:creationId xmlns:a16="http://schemas.microsoft.com/office/drawing/2014/main" id="{F1C46EC7-1258-0FFF-0AD7-31CA8F65849C}"/>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
        <p:nvSpPr>
          <p:cNvPr id="7" name="Content Placeholder 6">
            <a:extLst>
              <a:ext uri="{FF2B5EF4-FFF2-40B4-BE49-F238E27FC236}">
                <a16:creationId xmlns:a16="http://schemas.microsoft.com/office/drawing/2014/main" id="{41C25A55-F424-9C69-21C6-73114896D89E}"/>
              </a:ext>
            </a:extLst>
          </p:cNvPr>
          <p:cNvSpPr>
            <a:spLocks noGrp="1"/>
          </p:cNvSpPr>
          <p:nvPr>
            <p:ph sz="quarter" idx="58" hasCustomPrompt="1"/>
          </p:nvPr>
        </p:nvSpPr>
        <p:spPr>
          <a:xfrm>
            <a:off x="585788" y="1562100"/>
            <a:ext cx="5275262" cy="4611688"/>
          </a:xfrm>
        </p:spPr>
        <p:txBody>
          <a:bodyPr/>
          <a:lstStyle/>
          <a:p>
            <a:pPr lvl="0"/>
            <a:r>
              <a:rPr lang="en-US" dirty="0"/>
              <a:t>Text</a:t>
            </a:r>
          </a:p>
        </p:txBody>
      </p:sp>
    </p:spTree>
    <p:extLst>
      <p:ext uri="{BB962C8B-B14F-4D97-AF65-F5344CB8AC3E}">
        <p14:creationId xmlns:p14="http://schemas.microsoft.com/office/powerpoint/2010/main" val="267768868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Org chart_dotted">
    <p:spTree>
      <p:nvGrpSpPr>
        <p:cNvPr id="1" name=""/>
        <p:cNvGrpSpPr/>
        <p:nvPr/>
      </p:nvGrpSpPr>
      <p:grpSpPr>
        <a:xfrm>
          <a:off x="0" y="0"/>
          <a:ext cx="0" cy="0"/>
          <a:chOff x="0" y="0"/>
          <a:chExt cx="0" cy="0"/>
        </a:xfrm>
      </p:grpSpPr>
      <p:sp>
        <p:nvSpPr>
          <p:cNvPr id="41" name="Picture Placeholder 37"/>
          <p:cNvSpPr>
            <a:spLocks noGrp="1"/>
          </p:cNvSpPr>
          <p:nvPr>
            <p:ph type="pic" sz="quarter" idx="30"/>
          </p:nvPr>
        </p:nvSpPr>
        <p:spPr>
          <a:xfrm>
            <a:off x="5523222"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42" name="Picture Placeholder 37"/>
          <p:cNvSpPr>
            <a:spLocks noGrp="1"/>
          </p:cNvSpPr>
          <p:nvPr>
            <p:ph type="pic" sz="quarter" idx="31"/>
          </p:nvPr>
        </p:nvSpPr>
        <p:spPr>
          <a:xfrm>
            <a:off x="7447215"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43" name="Picture Placeholder 37"/>
          <p:cNvSpPr>
            <a:spLocks noGrp="1"/>
          </p:cNvSpPr>
          <p:nvPr>
            <p:ph type="pic" sz="quarter" idx="32"/>
          </p:nvPr>
        </p:nvSpPr>
        <p:spPr>
          <a:xfrm>
            <a:off x="9418174"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9" name="Text Placeholder 3"/>
          <p:cNvSpPr>
            <a:spLocks noGrp="1"/>
          </p:cNvSpPr>
          <p:nvPr>
            <p:ph type="body" sz="quarter" idx="46" hasCustomPrompt="1"/>
          </p:nvPr>
        </p:nvSpPr>
        <p:spPr>
          <a:xfrm>
            <a:off x="9285412" y="3143908"/>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30" name="Text Placeholder 3"/>
          <p:cNvSpPr>
            <a:spLocks noGrp="1"/>
          </p:cNvSpPr>
          <p:nvPr>
            <p:ph type="body" sz="quarter" idx="47" hasCustomPrompt="1"/>
          </p:nvPr>
        </p:nvSpPr>
        <p:spPr>
          <a:xfrm>
            <a:off x="9285412" y="3328554"/>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6" name="Text Placeholder 3">
            <a:extLst>
              <a:ext uri="{FF2B5EF4-FFF2-40B4-BE49-F238E27FC236}">
                <a16:creationId xmlns:a16="http://schemas.microsoft.com/office/drawing/2014/main" id="{02024F27-B01F-DEB4-FC44-F947335D1B53}"/>
              </a:ext>
            </a:extLst>
          </p:cNvPr>
          <p:cNvSpPr>
            <a:spLocks noGrp="1"/>
          </p:cNvSpPr>
          <p:nvPr>
            <p:ph type="body" sz="quarter" idx="64" hasCustomPrompt="1"/>
          </p:nvPr>
        </p:nvSpPr>
        <p:spPr>
          <a:xfrm>
            <a:off x="7314453" y="3143908"/>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7" name="Text Placeholder 3">
            <a:extLst>
              <a:ext uri="{FF2B5EF4-FFF2-40B4-BE49-F238E27FC236}">
                <a16:creationId xmlns:a16="http://schemas.microsoft.com/office/drawing/2014/main" id="{A4BE195B-D1AD-9B5C-992E-E5A3B36195EF}"/>
              </a:ext>
            </a:extLst>
          </p:cNvPr>
          <p:cNvSpPr>
            <a:spLocks noGrp="1"/>
          </p:cNvSpPr>
          <p:nvPr>
            <p:ph type="body" sz="quarter" idx="65" hasCustomPrompt="1"/>
          </p:nvPr>
        </p:nvSpPr>
        <p:spPr>
          <a:xfrm>
            <a:off x="7314453" y="3328554"/>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8" name="Text Placeholder 3">
            <a:extLst>
              <a:ext uri="{FF2B5EF4-FFF2-40B4-BE49-F238E27FC236}">
                <a16:creationId xmlns:a16="http://schemas.microsoft.com/office/drawing/2014/main" id="{812886F4-8070-C3C5-C58A-EA3D3405C212}"/>
              </a:ext>
            </a:extLst>
          </p:cNvPr>
          <p:cNvSpPr>
            <a:spLocks noGrp="1"/>
          </p:cNvSpPr>
          <p:nvPr>
            <p:ph type="body" sz="quarter" idx="66" hasCustomPrompt="1"/>
          </p:nvPr>
        </p:nvSpPr>
        <p:spPr>
          <a:xfrm>
            <a:off x="5390460" y="3143908"/>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9" name="Text Placeholder 3">
            <a:extLst>
              <a:ext uri="{FF2B5EF4-FFF2-40B4-BE49-F238E27FC236}">
                <a16:creationId xmlns:a16="http://schemas.microsoft.com/office/drawing/2014/main" id="{18A40408-06EE-9C0D-A5E7-23B79FAE9D40}"/>
              </a:ext>
            </a:extLst>
          </p:cNvPr>
          <p:cNvSpPr>
            <a:spLocks noGrp="1"/>
          </p:cNvSpPr>
          <p:nvPr>
            <p:ph type="body" sz="quarter" idx="67" hasCustomPrompt="1"/>
          </p:nvPr>
        </p:nvSpPr>
        <p:spPr>
          <a:xfrm>
            <a:off x="5390460" y="3328554"/>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20" name="Picture Placeholder 37">
            <a:extLst>
              <a:ext uri="{FF2B5EF4-FFF2-40B4-BE49-F238E27FC236}">
                <a16:creationId xmlns:a16="http://schemas.microsoft.com/office/drawing/2014/main" id="{9AC2581B-43FC-C3D6-85EB-90C68FCE50F7}"/>
              </a:ext>
            </a:extLst>
          </p:cNvPr>
          <p:cNvSpPr>
            <a:spLocks noGrp="1"/>
          </p:cNvSpPr>
          <p:nvPr>
            <p:ph type="pic" sz="quarter" idx="68"/>
          </p:nvPr>
        </p:nvSpPr>
        <p:spPr>
          <a:xfrm>
            <a:off x="5523222"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1" name="Picture Placeholder 37">
            <a:extLst>
              <a:ext uri="{FF2B5EF4-FFF2-40B4-BE49-F238E27FC236}">
                <a16:creationId xmlns:a16="http://schemas.microsoft.com/office/drawing/2014/main" id="{E0CCF41D-CC54-D5A1-879E-7E6FF5695E0F}"/>
              </a:ext>
            </a:extLst>
          </p:cNvPr>
          <p:cNvSpPr>
            <a:spLocks noGrp="1"/>
          </p:cNvSpPr>
          <p:nvPr>
            <p:ph type="pic" sz="quarter" idx="69"/>
          </p:nvPr>
        </p:nvSpPr>
        <p:spPr>
          <a:xfrm>
            <a:off x="7447215"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50" name="Picture Placeholder 37">
            <a:extLst>
              <a:ext uri="{FF2B5EF4-FFF2-40B4-BE49-F238E27FC236}">
                <a16:creationId xmlns:a16="http://schemas.microsoft.com/office/drawing/2014/main" id="{0DC88914-5A4B-6B2E-5752-BD008A4D1812}"/>
              </a:ext>
            </a:extLst>
          </p:cNvPr>
          <p:cNvSpPr>
            <a:spLocks noGrp="1"/>
          </p:cNvSpPr>
          <p:nvPr>
            <p:ph type="pic" sz="quarter" idx="70"/>
          </p:nvPr>
        </p:nvSpPr>
        <p:spPr>
          <a:xfrm>
            <a:off x="9418174"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51" name="Text Placeholder 3">
            <a:extLst>
              <a:ext uri="{FF2B5EF4-FFF2-40B4-BE49-F238E27FC236}">
                <a16:creationId xmlns:a16="http://schemas.microsoft.com/office/drawing/2014/main" id="{0E62500F-3C93-00CE-01EE-04932AC79217}"/>
              </a:ext>
            </a:extLst>
          </p:cNvPr>
          <p:cNvSpPr>
            <a:spLocks noGrp="1"/>
          </p:cNvSpPr>
          <p:nvPr>
            <p:ph type="body" sz="quarter" idx="71" hasCustomPrompt="1"/>
          </p:nvPr>
        </p:nvSpPr>
        <p:spPr>
          <a:xfrm>
            <a:off x="9285412" y="469011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52" name="Text Placeholder 3">
            <a:extLst>
              <a:ext uri="{FF2B5EF4-FFF2-40B4-BE49-F238E27FC236}">
                <a16:creationId xmlns:a16="http://schemas.microsoft.com/office/drawing/2014/main" id="{3BFC658A-09FA-94DF-C900-834ECDDB1384}"/>
              </a:ext>
            </a:extLst>
          </p:cNvPr>
          <p:cNvSpPr>
            <a:spLocks noGrp="1"/>
          </p:cNvSpPr>
          <p:nvPr>
            <p:ph type="body" sz="quarter" idx="72" hasCustomPrompt="1"/>
          </p:nvPr>
        </p:nvSpPr>
        <p:spPr>
          <a:xfrm>
            <a:off x="9285412" y="487476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53" name="Text Placeholder 3">
            <a:extLst>
              <a:ext uri="{FF2B5EF4-FFF2-40B4-BE49-F238E27FC236}">
                <a16:creationId xmlns:a16="http://schemas.microsoft.com/office/drawing/2014/main" id="{EB607FC9-161D-F952-6448-9C7B1E794593}"/>
              </a:ext>
            </a:extLst>
          </p:cNvPr>
          <p:cNvSpPr>
            <a:spLocks noGrp="1"/>
          </p:cNvSpPr>
          <p:nvPr>
            <p:ph type="body" sz="quarter" idx="73" hasCustomPrompt="1"/>
          </p:nvPr>
        </p:nvSpPr>
        <p:spPr>
          <a:xfrm>
            <a:off x="7314453" y="469011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59" name="Text Placeholder 3">
            <a:extLst>
              <a:ext uri="{FF2B5EF4-FFF2-40B4-BE49-F238E27FC236}">
                <a16:creationId xmlns:a16="http://schemas.microsoft.com/office/drawing/2014/main" id="{4E929D35-1F70-14F7-2799-6D3288AC5FD4}"/>
              </a:ext>
            </a:extLst>
          </p:cNvPr>
          <p:cNvSpPr>
            <a:spLocks noGrp="1"/>
          </p:cNvSpPr>
          <p:nvPr>
            <p:ph type="body" sz="quarter" idx="74" hasCustomPrompt="1"/>
          </p:nvPr>
        </p:nvSpPr>
        <p:spPr>
          <a:xfrm>
            <a:off x="7314453" y="487476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0" name="Text Placeholder 3">
            <a:extLst>
              <a:ext uri="{FF2B5EF4-FFF2-40B4-BE49-F238E27FC236}">
                <a16:creationId xmlns:a16="http://schemas.microsoft.com/office/drawing/2014/main" id="{FE706F17-22DD-F65B-2B67-69E134D743F9}"/>
              </a:ext>
            </a:extLst>
          </p:cNvPr>
          <p:cNvSpPr>
            <a:spLocks noGrp="1"/>
          </p:cNvSpPr>
          <p:nvPr>
            <p:ph type="body" sz="quarter" idx="75" hasCustomPrompt="1"/>
          </p:nvPr>
        </p:nvSpPr>
        <p:spPr>
          <a:xfrm>
            <a:off x="5390460" y="469011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1" name="Text Placeholder 3">
            <a:extLst>
              <a:ext uri="{FF2B5EF4-FFF2-40B4-BE49-F238E27FC236}">
                <a16:creationId xmlns:a16="http://schemas.microsoft.com/office/drawing/2014/main" id="{56B16C58-DCF6-D7E5-01E7-723A157ADFF3}"/>
              </a:ext>
            </a:extLst>
          </p:cNvPr>
          <p:cNvSpPr>
            <a:spLocks noGrp="1"/>
          </p:cNvSpPr>
          <p:nvPr>
            <p:ph type="body" sz="quarter" idx="76" hasCustomPrompt="1"/>
          </p:nvPr>
        </p:nvSpPr>
        <p:spPr>
          <a:xfrm>
            <a:off x="5390460" y="487476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2" name="Picture Placeholder 37">
            <a:extLst>
              <a:ext uri="{FF2B5EF4-FFF2-40B4-BE49-F238E27FC236}">
                <a16:creationId xmlns:a16="http://schemas.microsoft.com/office/drawing/2014/main" id="{E761584E-F034-FF2F-47C5-D68C29D10BEE}"/>
              </a:ext>
            </a:extLst>
          </p:cNvPr>
          <p:cNvSpPr>
            <a:spLocks noGrp="1"/>
          </p:cNvSpPr>
          <p:nvPr>
            <p:ph type="pic" sz="quarter" idx="77"/>
          </p:nvPr>
        </p:nvSpPr>
        <p:spPr>
          <a:xfrm>
            <a:off x="1650041"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3" name="Picture Placeholder 37">
            <a:extLst>
              <a:ext uri="{FF2B5EF4-FFF2-40B4-BE49-F238E27FC236}">
                <a16:creationId xmlns:a16="http://schemas.microsoft.com/office/drawing/2014/main" id="{8F8DF60D-B37A-45A0-98E5-FB19836CAA24}"/>
              </a:ext>
            </a:extLst>
          </p:cNvPr>
          <p:cNvSpPr>
            <a:spLocks noGrp="1"/>
          </p:cNvSpPr>
          <p:nvPr>
            <p:ph type="pic" sz="quarter" idx="78"/>
          </p:nvPr>
        </p:nvSpPr>
        <p:spPr>
          <a:xfrm>
            <a:off x="3574034" y="2104693"/>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4" name="Text Placeholder 3">
            <a:extLst>
              <a:ext uri="{FF2B5EF4-FFF2-40B4-BE49-F238E27FC236}">
                <a16:creationId xmlns:a16="http://schemas.microsoft.com/office/drawing/2014/main" id="{755FC9DA-D986-A865-B423-CFB578D5433C}"/>
              </a:ext>
            </a:extLst>
          </p:cNvPr>
          <p:cNvSpPr>
            <a:spLocks noGrp="1"/>
          </p:cNvSpPr>
          <p:nvPr>
            <p:ph type="body" sz="quarter" idx="79" hasCustomPrompt="1"/>
          </p:nvPr>
        </p:nvSpPr>
        <p:spPr>
          <a:xfrm>
            <a:off x="3441272" y="3143908"/>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5" name="Text Placeholder 3">
            <a:extLst>
              <a:ext uri="{FF2B5EF4-FFF2-40B4-BE49-F238E27FC236}">
                <a16:creationId xmlns:a16="http://schemas.microsoft.com/office/drawing/2014/main" id="{205B0A66-3484-5236-4108-0E4FC84DB04F}"/>
              </a:ext>
            </a:extLst>
          </p:cNvPr>
          <p:cNvSpPr>
            <a:spLocks noGrp="1"/>
          </p:cNvSpPr>
          <p:nvPr>
            <p:ph type="body" sz="quarter" idx="80" hasCustomPrompt="1"/>
          </p:nvPr>
        </p:nvSpPr>
        <p:spPr>
          <a:xfrm>
            <a:off x="3441272" y="3328554"/>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6" name="Text Placeholder 3">
            <a:extLst>
              <a:ext uri="{FF2B5EF4-FFF2-40B4-BE49-F238E27FC236}">
                <a16:creationId xmlns:a16="http://schemas.microsoft.com/office/drawing/2014/main" id="{A00F35F9-52A0-70F9-D571-256BA020CCA9}"/>
              </a:ext>
            </a:extLst>
          </p:cNvPr>
          <p:cNvSpPr>
            <a:spLocks noGrp="1"/>
          </p:cNvSpPr>
          <p:nvPr>
            <p:ph type="body" sz="quarter" idx="81" hasCustomPrompt="1"/>
          </p:nvPr>
        </p:nvSpPr>
        <p:spPr>
          <a:xfrm>
            <a:off x="1517279" y="3143908"/>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7" name="Text Placeholder 3">
            <a:extLst>
              <a:ext uri="{FF2B5EF4-FFF2-40B4-BE49-F238E27FC236}">
                <a16:creationId xmlns:a16="http://schemas.microsoft.com/office/drawing/2014/main" id="{A3C36D21-9C63-EE18-73DC-4883596E876F}"/>
              </a:ext>
            </a:extLst>
          </p:cNvPr>
          <p:cNvSpPr>
            <a:spLocks noGrp="1"/>
          </p:cNvSpPr>
          <p:nvPr>
            <p:ph type="body" sz="quarter" idx="82" hasCustomPrompt="1"/>
          </p:nvPr>
        </p:nvSpPr>
        <p:spPr>
          <a:xfrm>
            <a:off x="1517279" y="3328554"/>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8" name="Picture Placeholder 37">
            <a:extLst>
              <a:ext uri="{FF2B5EF4-FFF2-40B4-BE49-F238E27FC236}">
                <a16:creationId xmlns:a16="http://schemas.microsoft.com/office/drawing/2014/main" id="{368CA624-5D3A-8A9B-E0A9-D823C1014D3C}"/>
              </a:ext>
            </a:extLst>
          </p:cNvPr>
          <p:cNvSpPr>
            <a:spLocks noGrp="1"/>
          </p:cNvSpPr>
          <p:nvPr>
            <p:ph type="pic" sz="quarter" idx="83"/>
          </p:nvPr>
        </p:nvSpPr>
        <p:spPr>
          <a:xfrm>
            <a:off x="1650041"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9" name="Picture Placeholder 37">
            <a:extLst>
              <a:ext uri="{FF2B5EF4-FFF2-40B4-BE49-F238E27FC236}">
                <a16:creationId xmlns:a16="http://schemas.microsoft.com/office/drawing/2014/main" id="{0192DC39-CAE8-EC2C-0992-71329FFE899B}"/>
              </a:ext>
            </a:extLst>
          </p:cNvPr>
          <p:cNvSpPr>
            <a:spLocks noGrp="1"/>
          </p:cNvSpPr>
          <p:nvPr>
            <p:ph type="pic" sz="quarter" idx="84"/>
          </p:nvPr>
        </p:nvSpPr>
        <p:spPr>
          <a:xfrm>
            <a:off x="3574034" y="365090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0" name="Text Placeholder 3">
            <a:extLst>
              <a:ext uri="{FF2B5EF4-FFF2-40B4-BE49-F238E27FC236}">
                <a16:creationId xmlns:a16="http://schemas.microsoft.com/office/drawing/2014/main" id="{61431323-D03A-F2B1-7E80-BBFE1756E166}"/>
              </a:ext>
            </a:extLst>
          </p:cNvPr>
          <p:cNvSpPr>
            <a:spLocks noGrp="1"/>
          </p:cNvSpPr>
          <p:nvPr>
            <p:ph type="body" sz="quarter" idx="85" hasCustomPrompt="1"/>
          </p:nvPr>
        </p:nvSpPr>
        <p:spPr>
          <a:xfrm>
            <a:off x="3441272" y="469011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1" name="Text Placeholder 3">
            <a:extLst>
              <a:ext uri="{FF2B5EF4-FFF2-40B4-BE49-F238E27FC236}">
                <a16:creationId xmlns:a16="http://schemas.microsoft.com/office/drawing/2014/main" id="{7DC2EEAD-03B0-F109-B0EE-C3264EDEDECA}"/>
              </a:ext>
            </a:extLst>
          </p:cNvPr>
          <p:cNvSpPr>
            <a:spLocks noGrp="1"/>
          </p:cNvSpPr>
          <p:nvPr>
            <p:ph type="body" sz="quarter" idx="86" hasCustomPrompt="1"/>
          </p:nvPr>
        </p:nvSpPr>
        <p:spPr>
          <a:xfrm>
            <a:off x="3441272" y="487476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2" name="Text Placeholder 3">
            <a:extLst>
              <a:ext uri="{FF2B5EF4-FFF2-40B4-BE49-F238E27FC236}">
                <a16:creationId xmlns:a16="http://schemas.microsoft.com/office/drawing/2014/main" id="{5523783E-079F-D072-5504-3A335481357C}"/>
              </a:ext>
            </a:extLst>
          </p:cNvPr>
          <p:cNvSpPr>
            <a:spLocks noGrp="1"/>
          </p:cNvSpPr>
          <p:nvPr>
            <p:ph type="body" sz="quarter" idx="87" hasCustomPrompt="1"/>
          </p:nvPr>
        </p:nvSpPr>
        <p:spPr>
          <a:xfrm>
            <a:off x="1517279" y="469011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3" name="Text Placeholder 3">
            <a:extLst>
              <a:ext uri="{FF2B5EF4-FFF2-40B4-BE49-F238E27FC236}">
                <a16:creationId xmlns:a16="http://schemas.microsoft.com/office/drawing/2014/main" id="{100DD2B6-88EC-C197-8614-11050742054F}"/>
              </a:ext>
            </a:extLst>
          </p:cNvPr>
          <p:cNvSpPr>
            <a:spLocks noGrp="1"/>
          </p:cNvSpPr>
          <p:nvPr>
            <p:ph type="body" sz="quarter" idx="88" hasCustomPrompt="1"/>
          </p:nvPr>
        </p:nvSpPr>
        <p:spPr>
          <a:xfrm>
            <a:off x="1517279" y="487476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4" name="Picture Placeholder 37">
            <a:extLst>
              <a:ext uri="{FF2B5EF4-FFF2-40B4-BE49-F238E27FC236}">
                <a16:creationId xmlns:a16="http://schemas.microsoft.com/office/drawing/2014/main" id="{2E5AFB2E-04FF-E7B0-986D-85A32573E7C6}"/>
              </a:ext>
            </a:extLst>
          </p:cNvPr>
          <p:cNvSpPr>
            <a:spLocks noGrp="1"/>
          </p:cNvSpPr>
          <p:nvPr>
            <p:ph type="pic" sz="quarter" idx="89"/>
          </p:nvPr>
        </p:nvSpPr>
        <p:spPr>
          <a:xfrm>
            <a:off x="4557103" y="419978"/>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5" name="Text Placeholder 3">
            <a:extLst>
              <a:ext uri="{FF2B5EF4-FFF2-40B4-BE49-F238E27FC236}">
                <a16:creationId xmlns:a16="http://schemas.microsoft.com/office/drawing/2014/main" id="{DDDE4121-049E-D64B-09D3-E867D511B33D}"/>
              </a:ext>
            </a:extLst>
          </p:cNvPr>
          <p:cNvSpPr>
            <a:spLocks noGrp="1"/>
          </p:cNvSpPr>
          <p:nvPr>
            <p:ph type="body" sz="quarter" idx="90" hasCustomPrompt="1"/>
          </p:nvPr>
        </p:nvSpPr>
        <p:spPr>
          <a:xfrm>
            <a:off x="4424341" y="1459193"/>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Name</a:t>
            </a:r>
          </a:p>
        </p:txBody>
      </p:sp>
      <p:sp>
        <p:nvSpPr>
          <p:cNvPr id="76" name="Text Placeholder 3">
            <a:extLst>
              <a:ext uri="{FF2B5EF4-FFF2-40B4-BE49-F238E27FC236}">
                <a16:creationId xmlns:a16="http://schemas.microsoft.com/office/drawing/2014/main" id="{4F283B26-FBB9-B1E1-2573-CB828A9A4CE9}"/>
              </a:ext>
            </a:extLst>
          </p:cNvPr>
          <p:cNvSpPr>
            <a:spLocks noGrp="1"/>
          </p:cNvSpPr>
          <p:nvPr>
            <p:ph type="body" sz="quarter" idx="91" hasCustomPrompt="1"/>
          </p:nvPr>
        </p:nvSpPr>
        <p:spPr>
          <a:xfrm>
            <a:off x="4424341" y="1643839"/>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Title</a:t>
            </a:r>
          </a:p>
        </p:txBody>
      </p:sp>
      <p:sp>
        <p:nvSpPr>
          <p:cNvPr id="77" name="Picture Placeholder 37">
            <a:extLst>
              <a:ext uri="{FF2B5EF4-FFF2-40B4-BE49-F238E27FC236}">
                <a16:creationId xmlns:a16="http://schemas.microsoft.com/office/drawing/2014/main" id="{55AE4B37-9099-32BB-9512-69220CD47C8C}"/>
              </a:ext>
            </a:extLst>
          </p:cNvPr>
          <p:cNvSpPr>
            <a:spLocks noGrp="1"/>
          </p:cNvSpPr>
          <p:nvPr>
            <p:ph type="pic" sz="quarter" idx="92"/>
          </p:nvPr>
        </p:nvSpPr>
        <p:spPr>
          <a:xfrm>
            <a:off x="6477381" y="419978"/>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8" name="Text Placeholder 3">
            <a:extLst>
              <a:ext uri="{FF2B5EF4-FFF2-40B4-BE49-F238E27FC236}">
                <a16:creationId xmlns:a16="http://schemas.microsoft.com/office/drawing/2014/main" id="{F8F2EB86-1DE6-E887-8610-9CF92E5F78DD}"/>
              </a:ext>
            </a:extLst>
          </p:cNvPr>
          <p:cNvSpPr>
            <a:spLocks noGrp="1"/>
          </p:cNvSpPr>
          <p:nvPr>
            <p:ph type="body" sz="quarter" idx="93" hasCustomPrompt="1"/>
          </p:nvPr>
        </p:nvSpPr>
        <p:spPr>
          <a:xfrm>
            <a:off x="6344619" y="1459193"/>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Name</a:t>
            </a:r>
          </a:p>
        </p:txBody>
      </p:sp>
      <p:sp>
        <p:nvSpPr>
          <p:cNvPr id="79" name="Text Placeholder 3">
            <a:extLst>
              <a:ext uri="{FF2B5EF4-FFF2-40B4-BE49-F238E27FC236}">
                <a16:creationId xmlns:a16="http://schemas.microsoft.com/office/drawing/2014/main" id="{038FA23B-3C5C-91CF-85ED-3CBAE530D786}"/>
              </a:ext>
            </a:extLst>
          </p:cNvPr>
          <p:cNvSpPr>
            <a:spLocks noGrp="1"/>
          </p:cNvSpPr>
          <p:nvPr>
            <p:ph type="body" sz="quarter" idx="94" hasCustomPrompt="1"/>
          </p:nvPr>
        </p:nvSpPr>
        <p:spPr>
          <a:xfrm>
            <a:off x="6344619" y="1643839"/>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cxnSp>
        <p:nvCxnSpPr>
          <p:cNvPr id="81" name="Straight Connector 80">
            <a:extLst>
              <a:ext uri="{FF2B5EF4-FFF2-40B4-BE49-F238E27FC236}">
                <a16:creationId xmlns:a16="http://schemas.microsoft.com/office/drawing/2014/main" id="{DCDAD881-E7F4-D662-E9E1-388A55CF3DA0}"/>
              </a:ext>
            </a:extLst>
          </p:cNvPr>
          <p:cNvCxnSpPr>
            <a:cxnSpLocks/>
          </p:cNvCxnSpPr>
          <p:nvPr userDrawn="1"/>
        </p:nvCxnSpPr>
        <p:spPr>
          <a:xfrm>
            <a:off x="5559662" y="852503"/>
            <a:ext cx="8056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Picture Placeholder 37">
            <a:extLst>
              <a:ext uri="{FF2B5EF4-FFF2-40B4-BE49-F238E27FC236}">
                <a16:creationId xmlns:a16="http://schemas.microsoft.com/office/drawing/2014/main" id="{46A8033F-38CC-0D18-5733-377462DA8E28}"/>
              </a:ext>
            </a:extLst>
          </p:cNvPr>
          <p:cNvSpPr>
            <a:spLocks noGrp="1"/>
          </p:cNvSpPr>
          <p:nvPr>
            <p:ph type="pic" sz="quarter" idx="95"/>
          </p:nvPr>
        </p:nvSpPr>
        <p:spPr>
          <a:xfrm>
            <a:off x="5523222" y="5268336"/>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3" name="Picture Placeholder 37">
            <a:extLst>
              <a:ext uri="{FF2B5EF4-FFF2-40B4-BE49-F238E27FC236}">
                <a16:creationId xmlns:a16="http://schemas.microsoft.com/office/drawing/2014/main" id="{D93B6E66-AB2E-CE0A-7E6D-3C2147B5C892}"/>
              </a:ext>
            </a:extLst>
          </p:cNvPr>
          <p:cNvSpPr>
            <a:spLocks noGrp="1"/>
          </p:cNvSpPr>
          <p:nvPr>
            <p:ph type="pic" sz="quarter" idx="96"/>
          </p:nvPr>
        </p:nvSpPr>
        <p:spPr>
          <a:xfrm>
            <a:off x="7447215" y="5268336"/>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 name="Text Placeholder 3">
            <a:extLst>
              <a:ext uri="{FF2B5EF4-FFF2-40B4-BE49-F238E27FC236}">
                <a16:creationId xmlns:a16="http://schemas.microsoft.com/office/drawing/2014/main" id="{01E6BDB4-9F5E-0785-0693-C0D4911C85C2}"/>
              </a:ext>
            </a:extLst>
          </p:cNvPr>
          <p:cNvSpPr>
            <a:spLocks noGrp="1"/>
          </p:cNvSpPr>
          <p:nvPr>
            <p:ph type="body" sz="quarter" idx="100" hasCustomPrompt="1"/>
          </p:nvPr>
        </p:nvSpPr>
        <p:spPr>
          <a:xfrm>
            <a:off x="7314453" y="6307551"/>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 name="Rectangle 5">
            <a:extLst>
              <a:ext uri="{FF2B5EF4-FFF2-40B4-BE49-F238E27FC236}">
                <a16:creationId xmlns:a16="http://schemas.microsoft.com/office/drawing/2014/main" id="{0446A682-9F17-46EE-A49E-3B373171CE06}"/>
              </a:ext>
            </a:extLst>
          </p:cNvPr>
          <p:cNvSpPr/>
          <p:nvPr userDrawn="1"/>
        </p:nvSpPr>
        <p:spPr>
          <a:xfrm>
            <a:off x="5874589" y="6432201"/>
            <a:ext cx="470030" cy="3136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3">
            <a:extLst>
              <a:ext uri="{FF2B5EF4-FFF2-40B4-BE49-F238E27FC236}">
                <a16:creationId xmlns:a16="http://schemas.microsoft.com/office/drawing/2014/main" id="{0B895899-EAE8-A3E1-393E-FCF7C2DC3EA9}"/>
              </a:ext>
            </a:extLst>
          </p:cNvPr>
          <p:cNvSpPr>
            <a:spLocks noGrp="1"/>
          </p:cNvSpPr>
          <p:nvPr>
            <p:ph type="body" sz="quarter" idx="101" hasCustomPrompt="1"/>
          </p:nvPr>
        </p:nvSpPr>
        <p:spPr>
          <a:xfrm>
            <a:off x="7314453" y="6492197"/>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0" name="Text Placeholder 3">
            <a:extLst>
              <a:ext uri="{FF2B5EF4-FFF2-40B4-BE49-F238E27FC236}">
                <a16:creationId xmlns:a16="http://schemas.microsoft.com/office/drawing/2014/main" id="{B4F4FE41-7B3F-7FAD-76FF-49489ECF3960}"/>
              </a:ext>
            </a:extLst>
          </p:cNvPr>
          <p:cNvSpPr>
            <a:spLocks noGrp="1"/>
          </p:cNvSpPr>
          <p:nvPr>
            <p:ph type="body" sz="quarter" idx="102" hasCustomPrompt="1"/>
          </p:nvPr>
        </p:nvSpPr>
        <p:spPr>
          <a:xfrm>
            <a:off x="5390460" y="6307551"/>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1" name="Text Placeholder 3">
            <a:extLst>
              <a:ext uri="{FF2B5EF4-FFF2-40B4-BE49-F238E27FC236}">
                <a16:creationId xmlns:a16="http://schemas.microsoft.com/office/drawing/2014/main" id="{9FD43C49-9812-24B8-4BFC-BD4E269C9709}"/>
              </a:ext>
            </a:extLst>
          </p:cNvPr>
          <p:cNvSpPr>
            <a:spLocks noGrp="1"/>
          </p:cNvSpPr>
          <p:nvPr>
            <p:ph type="body" sz="quarter" idx="103" hasCustomPrompt="1"/>
          </p:nvPr>
        </p:nvSpPr>
        <p:spPr>
          <a:xfrm>
            <a:off x="5390460" y="6492197"/>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4" name="Picture Placeholder 37">
            <a:extLst>
              <a:ext uri="{FF2B5EF4-FFF2-40B4-BE49-F238E27FC236}">
                <a16:creationId xmlns:a16="http://schemas.microsoft.com/office/drawing/2014/main" id="{BA48DDE1-A7D9-24C2-DABB-9D92B508DC53}"/>
              </a:ext>
            </a:extLst>
          </p:cNvPr>
          <p:cNvSpPr>
            <a:spLocks noGrp="1"/>
          </p:cNvSpPr>
          <p:nvPr>
            <p:ph type="pic" sz="quarter" idx="105"/>
          </p:nvPr>
        </p:nvSpPr>
        <p:spPr>
          <a:xfrm>
            <a:off x="3574034" y="5268336"/>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2" name="Text Placeholder 3">
            <a:extLst>
              <a:ext uri="{FF2B5EF4-FFF2-40B4-BE49-F238E27FC236}">
                <a16:creationId xmlns:a16="http://schemas.microsoft.com/office/drawing/2014/main" id="{429C8853-017A-0792-9382-2F3F7DFF5DA6}"/>
              </a:ext>
            </a:extLst>
          </p:cNvPr>
          <p:cNvSpPr>
            <a:spLocks noGrp="1"/>
          </p:cNvSpPr>
          <p:nvPr>
            <p:ph type="body" sz="quarter" idx="106" hasCustomPrompt="1"/>
          </p:nvPr>
        </p:nvSpPr>
        <p:spPr>
          <a:xfrm>
            <a:off x="3441272" y="6307551"/>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23" name="Text Placeholder 3">
            <a:extLst>
              <a:ext uri="{FF2B5EF4-FFF2-40B4-BE49-F238E27FC236}">
                <a16:creationId xmlns:a16="http://schemas.microsoft.com/office/drawing/2014/main" id="{5C03960D-76B4-9151-A6FE-95CAB82B8450}"/>
              </a:ext>
            </a:extLst>
          </p:cNvPr>
          <p:cNvSpPr>
            <a:spLocks noGrp="1"/>
          </p:cNvSpPr>
          <p:nvPr>
            <p:ph type="body" sz="quarter" idx="107" hasCustomPrompt="1"/>
          </p:nvPr>
        </p:nvSpPr>
        <p:spPr>
          <a:xfrm>
            <a:off x="3441272" y="6492197"/>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cxnSp>
        <p:nvCxnSpPr>
          <p:cNvPr id="26" name="Straight Connector 25">
            <a:extLst>
              <a:ext uri="{FF2B5EF4-FFF2-40B4-BE49-F238E27FC236}">
                <a16:creationId xmlns:a16="http://schemas.microsoft.com/office/drawing/2014/main" id="{492CF87C-7FBC-549A-6CAA-87B741963285}"/>
              </a:ext>
            </a:extLst>
          </p:cNvPr>
          <p:cNvCxnSpPr>
            <a:cxnSpLocks/>
          </p:cNvCxnSpPr>
          <p:nvPr userDrawn="1"/>
        </p:nvCxnSpPr>
        <p:spPr>
          <a:xfrm>
            <a:off x="3035193" y="5156358"/>
            <a:ext cx="587060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C0560F1-8096-222E-3EB1-91EE77A40B50}"/>
              </a:ext>
            </a:extLst>
          </p:cNvPr>
          <p:cNvCxnSpPr>
            <a:cxnSpLocks/>
          </p:cNvCxnSpPr>
          <p:nvPr userDrawn="1"/>
        </p:nvCxnSpPr>
        <p:spPr>
          <a:xfrm>
            <a:off x="393939" y="1937520"/>
            <a:ext cx="11404121"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2FBB5A50-CB62-1D24-B52E-D3D6484053F4}"/>
              </a:ext>
            </a:extLst>
          </p:cNvPr>
          <p:cNvSpPr/>
          <p:nvPr userDrawn="1"/>
        </p:nvSpPr>
        <p:spPr>
          <a:xfrm>
            <a:off x="384134" y="1910283"/>
            <a:ext cx="54475" cy="54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7388EF82-4C74-DFC8-F0D0-25CA810CAF0B}"/>
              </a:ext>
            </a:extLst>
          </p:cNvPr>
          <p:cNvSpPr/>
          <p:nvPr userDrawn="1"/>
        </p:nvSpPr>
        <p:spPr>
          <a:xfrm>
            <a:off x="11756285" y="1910283"/>
            <a:ext cx="54475" cy="54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54C888B2-1A9E-9DAD-C527-728936186F0F}"/>
              </a:ext>
            </a:extLst>
          </p:cNvPr>
          <p:cNvSpPr txBox="1"/>
          <p:nvPr userDrawn="1"/>
        </p:nvSpPr>
        <p:spPr>
          <a:xfrm>
            <a:off x="564995" y="1329042"/>
            <a:ext cx="3186873" cy="400110"/>
          </a:xfrm>
          <a:prstGeom prst="rect">
            <a:avLst/>
          </a:prstGeom>
          <a:noFill/>
        </p:spPr>
        <p:txBody>
          <a:bodyPr wrap="square" rtlCol="0">
            <a:spAutoFit/>
          </a:bodyPr>
          <a:lstStyle/>
          <a:p>
            <a:r>
              <a:rPr lang="en-US" sz="2000" b="1"/>
              <a:t>Org chart title</a:t>
            </a:r>
          </a:p>
        </p:txBody>
      </p:sp>
      <p:sp>
        <p:nvSpPr>
          <p:cNvPr id="13" name="Text Placeholder 11">
            <a:extLst>
              <a:ext uri="{FF2B5EF4-FFF2-40B4-BE49-F238E27FC236}">
                <a16:creationId xmlns:a16="http://schemas.microsoft.com/office/drawing/2014/main" id="{43DC5DF0-BE58-D061-839D-F8F16ADCD81C}"/>
              </a:ext>
            </a:extLst>
          </p:cNvPr>
          <p:cNvSpPr>
            <a:spLocks noGrp="1"/>
          </p:cNvSpPr>
          <p:nvPr>
            <p:ph type="body" sz="quarter" idx="10" hasCustomPrompt="1"/>
          </p:nvPr>
        </p:nvSpPr>
        <p:spPr>
          <a:xfrm>
            <a:off x="1295794" y="6451099"/>
            <a:ext cx="1919712" cy="207019"/>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Tree>
    <p:extLst>
      <p:ext uri="{BB962C8B-B14F-4D97-AF65-F5344CB8AC3E}">
        <p14:creationId xmlns:p14="http://schemas.microsoft.com/office/powerpoint/2010/main" val="362658003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41" name="Picture Placeholder 37"/>
          <p:cNvSpPr>
            <a:spLocks noGrp="1"/>
          </p:cNvSpPr>
          <p:nvPr>
            <p:ph type="pic" sz="quarter" idx="30"/>
          </p:nvPr>
        </p:nvSpPr>
        <p:spPr>
          <a:xfrm>
            <a:off x="5523222"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42" name="Picture Placeholder 37"/>
          <p:cNvSpPr>
            <a:spLocks noGrp="1"/>
          </p:cNvSpPr>
          <p:nvPr>
            <p:ph type="pic" sz="quarter" idx="31"/>
          </p:nvPr>
        </p:nvSpPr>
        <p:spPr>
          <a:xfrm>
            <a:off x="7447215"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43" name="Picture Placeholder 37"/>
          <p:cNvSpPr>
            <a:spLocks noGrp="1"/>
          </p:cNvSpPr>
          <p:nvPr>
            <p:ph type="pic" sz="quarter" idx="32"/>
          </p:nvPr>
        </p:nvSpPr>
        <p:spPr>
          <a:xfrm>
            <a:off x="9418174"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9" name="Text Placeholder 3"/>
          <p:cNvSpPr>
            <a:spLocks noGrp="1"/>
          </p:cNvSpPr>
          <p:nvPr>
            <p:ph type="body" sz="quarter" idx="46" hasCustomPrompt="1"/>
          </p:nvPr>
        </p:nvSpPr>
        <p:spPr>
          <a:xfrm>
            <a:off x="9285412" y="3711067"/>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30" name="Text Placeholder 3"/>
          <p:cNvSpPr>
            <a:spLocks noGrp="1"/>
          </p:cNvSpPr>
          <p:nvPr>
            <p:ph type="body" sz="quarter" idx="47" hasCustomPrompt="1"/>
          </p:nvPr>
        </p:nvSpPr>
        <p:spPr>
          <a:xfrm>
            <a:off x="9285412" y="3895713"/>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6" name="Text Placeholder 3">
            <a:extLst>
              <a:ext uri="{FF2B5EF4-FFF2-40B4-BE49-F238E27FC236}">
                <a16:creationId xmlns:a16="http://schemas.microsoft.com/office/drawing/2014/main" id="{02024F27-B01F-DEB4-FC44-F947335D1B53}"/>
              </a:ext>
            </a:extLst>
          </p:cNvPr>
          <p:cNvSpPr>
            <a:spLocks noGrp="1"/>
          </p:cNvSpPr>
          <p:nvPr>
            <p:ph type="body" sz="quarter" idx="64" hasCustomPrompt="1"/>
          </p:nvPr>
        </p:nvSpPr>
        <p:spPr>
          <a:xfrm>
            <a:off x="7314453" y="3711067"/>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7" name="Text Placeholder 3">
            <a:extLst>
              <a:ext uri="{FF2B5EF4-FFF2-40B4-BE49-F238E27FC236}">
                <a16:creationId xmlns:a16="http://schemas.microsoft.com/office/drawing/2014/main" id="{A4BE195B-D1AD-9B5C-992E-E5A3B36195EF}"/>
              </a:ext>
            </a:extLst>
          </p:cNvPr>
          <p:cNvSpPr>
            <a:spLocks noGrp="1"/>
          </p:cNvSpPr>
          <p:nvPr>
            <p:ph type="body" sz="quarter" idx="65" hasCustomPrompt="1"/>
          </p:nvPr>
        </p:nvSpPr>
        <p:spPr>
          <a:xfrm>
            <a:off x="7314453" y="3895713"/>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18" name="Text Placeholder 3">
            <a:extLst>
              <a:ext uri="{FF2B5EF4-FFF2-40B4-BE49-F238E27FC236}">
                <a16:creationId xmlns:a16="http://schemas.microsoft.com/office/drawing/2014/main" id="{812886F4-8070-C3C5-C58A-EA3D3405C212}"/>
              </a:ext>
            </a:extLst>
          </p:cNvPr>
          <p:cNvSpPr>
            <a:spLocks noGrp="1"/>
          </p:cNvSpPr>
          <p:nvPr>
            <p:ph type="body" sz="quarter" idx="66" hasCustomPrompt="1"/>
          </p:nvPr>
        </p:nvSpPr>
        <p:spPr>
          <a:xfrm>
            <a:off x="5390460" y="3711067"/>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19" name="Text Placeholder 3">
            <a:extLst>
              <a:ext uri="{FF2B5EF4-FFF2-40B4-BE49-F238E27FC236}">
                <a16:creationId xmlns:a16="http://schemas.microsoft.com/office/drawing/2014/main" id="{18A40408-06EE-9C0D-A5E7-23B79FAE9D40}"/>
              </a:ext>
            </a:extLst>
          </p:cNvPr>
          <p:cNvSpPr>
            <a:spLocks noGrp="1"/>
          </p:cNvSpPr>
          <p:nvPr>
            <p:ph type="body" sz="quarter" idx="67" hasCustomPrompt="1"/>
          </p:nvPr>
        </p:nvSpPr>
        <p:spPr>
          <a:xfrm>
            <a:off x="5390460" y="3895713"/>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20" name="Picture Placeholder 37">
            <a:extLst>
              <a:ext uri="{FF2B5EF4-FFF2-40B4-BE49-F238E27FC236}">
                <a16:creationId xmlns:a16="http://schemas.microsoft.com/office/drawing/2014/main" id="{9AC2581B-43FC-C3D6-85EB-90C68FCE50F7}"/>
              </a:ext>
            </a:extLst>
          </p:cNvPr>
          <p:cNvSpPr>
            <a:spLocks noGrp="1"/>
          </p:cNvSpPr>
          <p:nvPr>
            <p:ph type="pic" sz="quarter" idx="68"/>
          </p:nvPr>
        </p:nvSpPr>
        <p:spPr>
          <a:xfrm>
            <a:off x="5523222"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21" name="Picture Placeholder 37">
            <a:extLst>
              <a:ext uri="{FF2B5EF4-FFF2-40B4-BE49-F238E27FC236}">
                <a16:creationId xmlns:a16="http://schemas.microsoft.com/office/drawing/2014/main" id="{E0CCF41D-CC54-D5A1-879E-7E6FF5695E0F}"/>
              </a:ext>
            </a:extLst>
          </p:cNvPr>
          <p:cNvSpPr>
            <a:spLocks noGrp="1"/>
          </p:cNvSpPr>
          <p:nvPr>
            <p:ph type="pic" sz="quarter" idx="69"/>
          </p:nvPr>
        </p:nvSpPr>
        <p:spPr>
          <a:xfrm>
            <a:off x="7447215"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50" name="Picture Placeholder 37">
            <a:extLst>
              <a:ext uri="{FF2B5EF4-FFF2-40B4-BE49-F238E27FC236}">
                <a16:creationId xmlns:a16="http://schemas.microsoft.com/office/drawing/2014/main" id="{0DC88914-5A4B-6B2E-5752-BD008A4D1812}"/>
              </a:ext>
            </a:extLst>
          </p:cNvPr>
          <p:cNvSpPr>
            <a:spLocks noGrp="1"/>
          </p:cNvSpPr>
          <p:nvPr>
            <p:ph type="pic" sz="quarter" idx="70"/>
          </p:nvPr>
        </p:nvSpPr>
        <p:spPr>
          <a:xfrm>
            <a:off x="9418174"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51" name="Text Placeholder 3">
            <a:extLst>
              <a:ext uri="{FF2B5EF4-FFF2-40B4-BE49-F238E27FC236}">
                <a16:creationId xmlns:a16="http://schemas.microsoft.com/office/drawing/2014/main" id="{0E62500F-3C93-00CE-01EE-04932AC79217}"/>
              </a:ext>
            </a:extLst>
          </p:cNvPr>
          <p:cNvSpPr>
            <a:spLocks noGrp="1"/>
          </p:cNvSpPr>
          <p:nvPr>
            <p:ph type="body" sz="quarter" idx="71" hasCustomPrompt="1"/>
          </p:nvPr>
        </p:nvSpPr>
        <p:spPr>
          <a:xfrm>
            <a:off x="9285412" y="548876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52" name="Text Placeholder 3">
            <a:extLst>
              <a:ext uri="{FF2B5EF4-FFF2-40B4-BE49-F238E27FC236}">
                <a16:creationId xmlns:a16="http://schemas.microsoft.com/office/drawing/2014/main" id="{3BFC658A-09FA-94DF-C900-834ECDDB1384}"/>
              </a:ext>
            </a:extLst>
          </p:cNvPr>
          <p:cNvSpPr>
            <a:spLocks noGrp="1"/>
          </p:cNvSpPr>
          <p:nvPr>
            <p:ph type="body" sz="quarter" idx="72" hasCustomPrompt="1"/>
          </p:nvPr>
        </p:nvSpPr>
        <p:spPr>
          <a:xfrm>
            <a:off x="9285412" y="567341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53" name="Text Placeholder 3">
            <a:extLst>
              <a:ext uri="{FF2B5EF4-FFF2-40B4-BE49-F238E27FC236}">
                <a16:creationId xmlns:a16="http://schemas.microsoft.com/office/drawing/2014/main" id="{EB607FC9-161D-F952-6448-9C7B1E794593}"/>
              </a:ext>
            </a:extLst>
          </p:cNvPr>
          <p:cNvSpPr>
            <a:spLocks noGrp="1"/>
          </p:cNvSpPr>
          <p:nvPr>
            <p:ph type="body" sz="quarter" idx="73" hasCustomPrompt="1"/>
          </p:nvPr>
        </p:nvSpPr>
        <p:spPr>
          <a:xfrm>
            <a:off x="7314453" y="548876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59" name="Text Placeholder 3">
            <a:extLst>
              <a:ext uri="{FF2B5EF4-FFF2-40B4-BE49-F238E27FC236}">
                <a16:creationId xmlns:a16="http://schemas.microsoft.com/office/drawing/2014/main" id="{4E929D35-1F70-14F7-2799-6D3288AC5FD4}"/>
              </a:ext>
            </a:extLst>
          </p:cNvPr>
          <p:cNvSpPr>
            <a:spLocks noGrp="1"/>
          </p:cNvSpPr>
          <p:nvPr>
            <p:ph type="body" sz="quarter" idx="74" hasCustomPrompt="1"/>
          </p:nvPr>
        </p:nvSpPr>
        <p:spPr>
          <a:xfrm>
            <a:off x="7314453" y="567341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0" name="Text Placeholder 3">
            <a:extLst>
              <a:ext uri="{FF2B5EF4-FFF2-40B4-BE49-F238E27FC236}">
                <a16:creationId xmlns:a16="http://schemas.microsoft.com/office/drawing/2014/main" id="{FE706F17-22DD-F65B-2B67-69E134D743F9}"/>
              </a:ext>
            </a:extLst>
          </p:cNvPr>
          <p:cNvSpPr>
            <a:spLocks noGrp="1"/>
          </p:cNvSpPr>
          <p:nvPr>
            <p:ph type="body" sz="quarter" idx="75" hasCustomPrompt="1"/>
          </p:nvPr>
        </p:nvSpPr>
        <p:spPr>
          <a:xfrm>
            <a:off x="5390460" y="548876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1" name="Text Placeholder 3">
            <a:extLst>
              <a:ext uri="{FF2B5EF4-FFF2-40B4-BE49-F238E27FC236}">
                <a16:creationId xmlns:a16="http://schemas.microsoft.com/office/drawing/2014/main" id="{56B16C58-DCF6-D7E5-01E7-723A157ADFF3}"/>
              </a:ext>
            </a:extLst>
          </p:cNvPr>
          <p:cNvSpPr>
            <a:spLocks noGrp="1"/>
          </p:cNvSpPr>
          <p:nvPr>
            <p:ph type="body" sz="quarter" idx="76" hasCustomPrompt="1"/>
          </p:nvPr>
        </p:nvSpPr>
        <p:spPr>
          <a:xfrm>
            <a:off x="5390460" y="567341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2" name="Picture Placeholder 37">
            <a:extLst>
              <a:ext uri="{FF2B5EF4-FFF2-40B4-BE49-F238E27FC236}">
                <a16:creationId xmlns:a16="http://schemas.microsoft.com/office/drawing/2014/main" id="{E761584E-F034-FF2F-47C5-D68C29D10BEE}"/>
              </a:ext>
            </a:extLst>
          </p:cNvPr>
          <p:cNvSpPr>
            <a:spLocks noGrp="1"/>
          </p:cNvSpPr>
          <p:nvPr>
            <p:ph type="pic" sz="quarter" idx="77"/>
          </p:nvPr>
        </p:nvSpPr>
        <p:spPr>
          <a:xfrm>
            <a:off x="1650041"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3" name="Picture Placeholder 37">
            <a:extLst>
              <a:ext uri="{FF2B5EF4-FFF2-40B4-BE49-F238E27FC236}">
                <a16:creationId xmlns:a16="http://schemas.microsoft.com/office/drawing/2014/main" id="{8F8DF60D-B37A-45A0-98E5-FB19836CAA24}"/>
              </a:ext>
            </a:extLst>
          </p:cNvPr>
          <p:cNvSpPr>
            <a:spLocks noGrp="1"/>
          </p:cNvSpPr>
          <p:nvPr>
            <p:ph type="pic" sz="quarter" idx="78"/>
          </p:nvPr>
        </p:nvSpPr>
        <p:spPr>
          <a:xfrm>
            <a:off x="3574034" y="2671852"/>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4" name="Text Placeholder 3">
            <a:extLst>
              <a:ext uri="{FF2B5EF4-FFF2-40B4-BE49-F238E27FC236}">
                <a16:creationId xmlns:a16="http://schemas.microsoft.com/office/drawing/2014/main" id="{755FC9DA-D986-A865-B423-CFB578D5433C}"/>
              </a:ext>
            </a:extLst>
          </p:cNvPr>
          <p:cNvSpPr>
            <a:spLocks noGrp="1"/>
          </p:cNvSpPr>
          <p:nvPr>
            <p:ph type="body" sz="quarter" idx="79" hasCustomPrompt="1"/>
          </p:nvPr>
        </p:nvSpPr>
        <p:spPr>
          <a:xfrm>
            <a:off x="3441272" y="3711067"/>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5" name="Text Placeholder 3">
            <a:extLst>
              <a:ext uri="{FF2B5EF4-FFF2-40B4-BE49-F238E27FC236}">
                <a16:creationId xmlns:a16="http://schemas.microsoft.com/office/drawing/2014/main" id="{205B0A66-3484-5236-4108-0E4FC84DB04F}"/>
              </a:ext>
            </a:extLst>
          </p:cNvPr>
          <p:cNvSpPr>
            <a:spLocks noGrp="1"/>
          </p:cNvSpPr>
          <p:nvPr>
            <p:ph type="body" sz="quarter" idx="80" hasCustomPrompt="1"/>
          </p:nvPr>
        </p:nvSpPr>
        <p:spPr>
          <a:xfrm>
            <a:off x="3441272" y="3895713"/>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6" name="Text Placeholder 3">
            <a:extLst>
              <a:ext uri="{FF2B5EF4-FFF2-40B4-BE49-F238E27FC236}">
                <a16:creationId xmlns:a16="http://schemas.microsoft.com/office/drawing/2014/main" id="{A00F35F9-52A0-70F9-D571-256BA020CCA9}"/>
              </a:ext>
            </a:extLst>
          </p:cNvPr>
          <p:cNvSpPr>
            <a:spLocks noGrp="1"/>
          </p:cNvSpPr>
          <p:nvPr>
            <p:ph type="body" sz="quarter" idx="81" hasCustomPrompt="1"/>
          </p:nvPr>
        </p:nvSpPr>
        <p:spPr>
          <a:xfrm>
            <a:off x="1517279" y="3711067"/>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67" name="Text Placeholder 3">
            <a:extLst>
              <a:ext uri="{FF2B5EF4-FFF2-40B4-BE49-F238E27FC236}">
                <a16:creationId xmlns:a16="http://schemas.microsoft.com/office/drawing/2014/main" id="{A3C36D21-9C63-EE18-73DC-4883596E876F}"/>
              </a:ext>
            </a:extLst>
          </p:cNvPr>
          <p:cNvSpPr>
            <a:spLocks noGrp="1"/>
          </p:cNvSpPr>
          <p:nvPr>
            <p:ph type="body" sz="quarter" idx="82" hasCustomPrompt="1"/>
          </p:nvPr>
        </p:nvSpPr>
        <p:spPr>
          <a:xfrm>
            <a:off x="1517279" y="3895713"/>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68" name="Picture Placeholder 37">
            <a:extLst>
              <a:ext uri="{FF2B5EF4-FFF2-40B4-BE49-F238E27FC236}">
                <a16:creationId xmlns:a16="http://schemas.microsoft.com/office/drawing/2014/main" id="{368CA624-5D3A-8A9B-E0A9-D823C1014D3C}"/>
              </a:ext>
            </a:extLst>
          </p:cNvPr>
          <p:cNvSpPr>
            <a:spLocks noGrp="1"/>
          </p:cNvSpPr>
          <p:nvPr>
            <p:ph type="pic" sz="quarter" idx="83"/>
          </p:nvPr>
        </p:nvSpPr>
        <p:spPr>
          <a:xfrm>
            <a:off x="1650041"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69" name="Picture Placeholder 37">
            <a:extLst>
              <a:ext uri="{FF2B5EF4-FFF2-40B4-BE49-F238E27FC236}">
                <a16:creationId xmlns:a16="http://schemas.microsoft.com/office/drawing/2014/main" id="{0192DC39-CAE8-EC2C-0992-71329FFE899B}"/>
              </a:ext>
            </a:extLst>
          </p:cNvPr>
          <p:cNvSpPr>
            <a:spLocks noGrp="1"/>
          </p:cNvSpPr>
          <p:nvPr>
            <p:ph type="pic" sz="quarter" idx="84"/>
          </p:nvPr>
        </p:nvSpPr>
        <p:spPr>
          <a:xfrm>
            <a:off x="3574034" y="4449551"/>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0" name="Text Placeholder 3">
            <a:extLst>
              <a:ext uri="{FF2B5EF4-FFF2-40B4-BE49-F238E27FC236}">
                <a16:creationId xmlns:a16="http://schemas.microsoft.com/office/drawing/2014/main" id="{61431323-D03A-F2B1-7E80-BBFE1756E166}"/>
              </a:ext>
            </a:extLst>
          </p:cNvPr>
          <p:cNvSpPr>
            <a:spLocks noGrp="1"/>
          </p:cNvSpPr>
          <p:nvPr>
            <p:ph type="body" sz="quarter" idx="85" hasCustomPrompt="1"/>
          </p:nvPr>
        </p:nvSpPr>
        <p:spPr>
          <a:xfrm>
            <a:off x="3441272" y="548876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1" name="Text Placeholder 3">
            <a:extLst>
              <a:ext uri="{FF2B5EF4-FFF2-40B4-BE49-F238E27FC236}">
                <a16:creationId xmlns:a16="http://schemas.microsoft.com/office/drawing/2014/main" id="{7DC2EEAD-03B0-F109-B0EE-C3264EDEDECA}"/>
              </a:ext>
            </a:extLst>
          </p:cNvPr>
          <p:cNvSpPr>
            <a:spLocks noGrp="1"/>
          </p:cNvSpPr>
          <p:nvPr>
            <p:ph type="body" sz="quarter" idx="86" hasCustomPrompt="1"/>
          </p:nvPr>
        </p:nvSpPr>
        <p:spPr>
          <a:xfrm>
            <a:off x="3441272" y="567341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2" name="Text Placeholder 3">
            <a:extLst>
              <a:ext uri="{FF2B5EF4-FFF2-40B4-BE49-F238E27FC236}">
                <a16:creationId xmlns:a16="http://schemas.microsoft.com/office/drawing/2014/main" id="{5523783E-079F-D072-5504-3A335481357C}"/>
              </a:ext>
            </a:extLst>
          </p:cNvPr>
          <p:cNvSpPr>
            <a:spLocks noGrp="1"/>
          </p:cNvSpPr>
          <p:nvPr>
            <p:ph type="body" sz="quarter" idx="87" hasCustomPrompt="1"/>
          </p:nvPr>
        </p:nvSpPr>
        <p:spPr>
          <a:xfrm>
            <a:off x="1517279" y="5488766"/>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3" name="Text Placeholder 3">
            <a:extLst>
              <a:ext uri="{FF2B5EF4-FFF2-40B4-BE49-F238E27FC236}">
                <a16:creationId xmlns:a16="http://schemas.microsoft.com/office/drawing/2014/main" id="{100DD2B6-88EC-C197-8614-11050742054F}"/>
              </a:ext>
            </a:extLst>
          </p:cNvPr>
          <p:cNvSpPr>
            <a:spLocks noGrp="1"/>
          </p:cNvSpPr>
          <p:nvPr>
            <p:ph type="body" sz="quarter" idx="88" hasCustomPrompt="1"/>
          </p:nvPr>
        </p:nvSpPr>
        <p:spPr>
          <a:xfrm>
            <a:off x="1517279" y="5673412"/>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4" name="Picture Placeholder 37">
            <a:extLst>
              <a:ext uri="{FF2B5EF4-FFF2-40B4-BE49-F238E27FC236}">
                <a16:creationId xmlns:a16="http://schemas.microsoft.com/office/drawing/2014/main" id="{2E5AFB2E-04FF-E7B0-986D-85A32573E7C6}"/>
              </a:ext>
            </a:extLst>
          </p:cNvPr>
          <p:cNvSpPr>
            <a:spLocks noGrp="1"/>
          </p:cNvSpPr>
          <p:nvPr>
            <p:ph type="pic" sz="quarter" idx="89"/>
          </p:nvPr>
        </p:nvSpPr>
        <p:spPr>
          <a:xfrm>
            <a:off x="4557103" y="419978"/>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5" name="Text Placeholder 3">
            <a:extLst>
              <a:ext uri="{FF2B5EF4-FFF2-40B4-BE49-F238E27FC236}">
                <a16:creationId xmlns:a16="http://schemas.microsoft.com/office/drawing/2014/main" id="{DDDE4121-049E-D64B-09D3-E867D511B33D}"/>
              </a:ext>
            </a:extLst>
          </p:cNvPr>
          <p:cNvSpPr>
            <a:spLocks noGrp="1"/>
          </p:cNvSpPr>
          <p:nvPr>
            <p:ph type="body" sz="quarter" idx="90" hasCustomPrompt="1"/>
          </p:nvPr>
        </p:nvSpPr>
        <p:spPr>
          <a:xfrm>
            <a:off x="4424341" y="1459193"/>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6" name="Text Placeholder 3">
            <a:extLst>
              <a:ext uri="{FF2B5EF4-FFF2-40B4-BE49-F238E27FC236}">
                <a16:creationId xmlns:a16="http://schemas.microsoft.com/office/drawing/2014/main" id="{4F283B26-FBB9-B1E1-2573-CB828A9A4CE9}"/>
              </a:ext>
            </a:extLst>
          </p:cNvPr>
          <p:cNvSpPr>
            <a:spLocks noGrp="1"/>
          </p:cNvSpPr>
          <p:nvPr>
            <p:ph type="body" sz="quarter" idx="91" hasCustomPrompt="1"/>
          </p:nvPr>
        </p:nvSpPr>
        <p:spPr>
          <a:xfrm>
            <a:off x="4424341" y="1643839"/>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77" name="Picture Placeholder 37">
            <a:extLst>
              <a:ext uri="{FF2B5EF4-FFF2-40B4-BE49-F238E27FC236}">
                <a16:creationId xmlns:a16="http://schemas.microsoft.com/office/drawing/2014/main" id="{55AE4B37-9099-32BB-9512-69220CD47C8C}"/>
              </a:ext>
            </a:extLst>
          </p:cNvPr>
          <p:cNvSpPr>
            <a:spLocks noGrp="1"/>
          </p:cNvSpPr>
          <p:nvPr>
            <p:ph type="pic" sz="quarter" idx="92"/>
          </p:nvPr>
        </p:nvSpPr>
        <p:spPr>
          <a:xfrm>
            <a:off x="6477381" y="419978"/>
            <a:ext cx="914400" cy="914400"/>
          </a:xfrm>
          <a:prstGeom prst="ellipse">
            <a:avLst/>
          </a:prstGeom>
          <a:solidFill>
            <a:schemeClr val="bg1">
              <a:lumMod val="95000"/>
            </a:schemeClr>
          </a:solidFill>
        </p:spPr>
        <p:txBody>
          <a:bodyPr anchor="ctr">
            <a:normAutofit/>
          </a:bodyPr>
          <a:lstStyle>
            <a:lvl1pPr marL="0" indent="0" algn="ctr">
              <a:buFont typeface="Arial" panose="020B0604020202020204" pitchFamily="34" charset="0"/>
              <a:buNone/>
              <a:defRPr sz="800">
                <a:solidFill>
                  <a:schemeClr val="tx1"/>
                </a:solidFill>
              </a:defRPr>
            </a:lvl1pPr>
          </a:lstStyle>
          <a:p>
            <a:r>
              <a:rPr lang="en-US"/>
              <a:t>Click icon to add picture</a:t>
            </a:r>
          </a:p>
        </p:txBody>
      </p:sp>
      <p:sp>
        <p:nvSpPr>
          <p:cNvPr id="78" name="Text Placeholder 3">
            <a:extLst>
              <a:ext uri="{FF2B5EF4-FFF2-40B4-BE49-F238E27FC236}">
                <a16:creationId xmlns:a16="http://schemas.microsoft.com/office/drawing/2014/main" id="{F8F2EB86-1DE6-E887-8610-9CF92E5F78DD}"/>
              </a:ext>
            </a:extLst>
          </p:cNvPr>
          <p:cNvSpPr>
            <a:spLocks noGrp="1"/>
          </p:cNvSpPr>
          <p:nvPr>
            <p:ph type="body" sz="quarter" idx="93" hasCustomPrompt="1"/>
          </p:nvPr>
        </p:nvSpPr>
        <p:spPr>
          <a:xfrm>
            <a:off x="6344619" y="1459193"/>
            <a:ext cx="1179925" cy="124650"/>
          </a:xfrm>
          <a:prstGeom prst="rect">
            <a:avLst/>
          </a:prstGeom>
        </p:spPr>
        <p:txBody>
          <a:bodyPr wrap="square" lIns="0" tIns="0" rIns="0" bIns="0">
            <a:normAutofit/>
          </a:bodyPr>
          <a:lstStyle>
            <a:lvl1pPr marL="0" indent="0" algn="ctr">
              <a:lnSpc>
                <a:spcPct val="90000"/>
              </a:lnSpc>
              <a:buNone/>
              <a:defRPr sz="9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79" name="Text Placeholder 3">
            <a:extLst>
              <a:ext uri="{FF2B5EF4-FFF2-40B4-BE49-F238E27FC236}">
                <a16:creationId xmlns:a16="http://schemas.microsoft.com/office/drawing/2014/main" id="{038FA23B-3C5C-91CF-85ED-3CBAE530D786}"/>
              </a:ext>
            </a:extLst>
          </p:cNvPr>
          <p:cNvSpPr>
            <a:spLocks noGrp="1"/>
          </p:cNvSpPr>
          <p:nvPr>
            <p:ph type="body" sz="quarter" idx="94" hasCustomPrompt="1"/>
          </p:nvPr>
        </p:nvSpPr>
        <p:spPr>
          <a:xfrm>
            <a:off x="6344619" y="1643839"/>
            <a:ext cx="1179925" cy="110800"/>
          </a:xfrm>
          <a:prstGeom prst="rect">
            <a:avLst/>
          </a:prstGeom>
        </p:spPr>
        <p:txBody>
          <a:bodyPr wrap="square" lIns="0" tIns="0" rIns="0" bIns="0">
            <a:normAutofit/>
          </a:bodyPr>
          <a:lstStyle>
            <a:lvl1pPr marL="0" indent="0" algn="ctr">
              <a:lnSpc>
                <a:spcPct val="90000"/>
              </a:lnSpc>
              <a:buNone/>
              <a:defRPr sz="800" b="0" i="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cxnSp>
        <p:nvCxnSpPr>
          <p:cNvPr id="80" name="Straight Connector 79">
            <a:extLst>
              <a:ext uri="{FF2B5EF4-FFF2-40B4-BE49-F238E27FC236}">
                <a16:creationId xmlns:a16="http://schemas.microsoft.com/office/drawing/2014/main" id="{4901BA5B-AD3F-261C-4428-3FF671241E3F}"/>
              </a:ext>
            </a:extLst>
          </p:cNvPr>
          <p:cNvCxnSpPr>
            <a:cxnSpLocks/>
          </p:cNvCxnSpPr>
          <p:nvPr userDrawn="1"/>
        </p:nvCxnSpPr>
        <p:spPr>
          <a:xfrm>
            <a:off x="393939" y="2191520"/>
            <a:ext cx="11404121"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DAD881-E7F4-D662-E9E1-388A55CF3DA0}"/>
              </a:ext>
            </a:extLst>
          </p:cNvPr>
          <p:cNvCxnSpPr>
            <a:cxnSpLocks/>
          </p:cNvCxnSpPr>
          <p:nvPr userDrawn="1"/>
        </p:nvCxnSpPr>
        <p:spPr>
          <a:xfrm>
            <a:off x="5559662" y="852503"/>
            <a:ext cx="8056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38DDEB2F-319D-9F1E-1013-F2FA350B80E6}"/>
              </a:ext>
            </a:extLst>
          </p:cNvPr>
          <p:cNvSpPr/>
          <p:nvPr userDrawn="1"/>
        </p:nvSpPr>
        <p:spPr>
          <a:xfrm>
            <a:off x="384134" y="2164283"/>
            <a:ext cx="54475" cy="54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112A10B-F660-1784-3E16-A2553E6DC1C9}"/>
              </a:ext>
            </a:extLst>
          </p:cNvPr>
          <p:cNvSpPr/>
          <p:nvPr userDrawn="1"/>
        </p:nvSpPr>
        <p:spPr>
          <a:xfrm>
            <a:off x="11756285" y="2164283"/>
            <a:ext cx="54475" cy="54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484F6B31-9649-476B-9E4C-F590071979FA}"/>
              </a:ext>
            </a:extLst>
          </p:cNvPr>
          <p:cNvSpPr txBox="1"/>
          <p:nvPr userDrawn="1"/>
        </p:nvSpPr>
        <p:spPr>
          <a:xfrm>
            <a:off x="564995" y="1329042"/>
            <a:ext cx="3186873" cy="400110"/>
          </a:xfrm>
          <a:prstGeom prst="rect">
            <a:avLst/>
          </a:prstGeom>
          <a:noFill/>
        </p:spPr>
        <p:txBody>
          <a:bodyPr wrap="square" rtlCol="0">
            <a:spAutoFit/>
          </a:bodyPr>
          <a:lstStyle/>
          <a:p>
            <a:r>
              <a:rPr lang="en-US" sz="2000" b="1"/>
              <a:t>Org chart title</a:t>
            </a:r>
          </a:p>
        </p:txBody>
      </p:sp>
      <p:sp>
        <p:nvSpPr>
          <p:cNvPr id="3" name="Text Placeholder 11">
            <a:extLst>
              <a:ext uri="{FF2B5EF4-FFF2-40B4-BE49-F238E27FC236}">
                <a16:creationId xmlns:a16="http://schemas.microsoft.com/office/drawing/2014/main" id="{04A38687-5C03-6B45-2C3C-F2B3A3B47AC7}"/>
              </a:ext>
            </a:extLst>
          </p:cNvPr>
          <p:cNvSpPr>
            <a:spLocks noGrp="1"/>
          </p:cNvSpPr>
          <p:nvPr>
            <p:ph type="body" sz="quarter" idx="10" hasCustomPrompt="1"/>
          </p:nvPr>
        </p:nvSpPr>
        <p:spPr>
          <a:xfrm>
            <a:off x="1295794" y="6451100"/>
            <a:ext cx="3026050" cy="203032"/>
          </a:xfrm>
          <a:prstGeom prst="rect">
            <a:avLst/>
          </a:prstGeom>
        </p:spPr>
        <p:txBody>
          <a:bodyPr/>
          <a:lstStyle>
            <a:lvl1pPr marL="0" indent="0">
              <a:buNone/>
              <a:defRPr sz="800" i="1">
                <a:solidFill>
                  <a:schemeClr val="tx2">
                    <a:lumMod val="40000"/>
                    <a:lumOff val="60000"/>
                  </a:schemeClr>
                </a:solidFill>
              </a:defRPr>
            </a:lvl1pPr>
          </a:lstStyle>
          <a:p>
            <a:pPr lvl="0"/>
            <a:r>
              <a:rPr lang="en-US" dirty="0"/>
              <a:t>INFORMATION CLASSIFICATION</a:t>
            </a:r>
          </a:p>
        </p:txBody>
      </p:sp>
    </p:spTree>
    <p:extLst>
      <p:ext uri="{BB962C8B-B14F-4D97-AF65-F5344CB8AC3E}">
        <p14:creationId xmlns:p14="http://schemas.microsoft.com/office/powerpoint/2010/main" val="408633910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34417850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402174255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771572"/>
      </p:ext>
    </p:extLst>
  </p:cSld>
  <p:clrMapOvr>
    <a:overrideClrMapping bg1="lt1" tx1="dk1" bg2="lt2" tx2="dk2" accent1="accent1" accent2="accent2" accent3="accent3" accent4="accent4" accent5="accent5" accent6="accent6" hlink="hlink" folHlink="folHlink"/>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General Index with Logo">
    <p:spTree>
      <p:nvGrpSpPr>
        <p:cNvPr id="1" name=""/>
        <p:cNvGrpSpPr/>
        <p:nvPr/>
      </p:nvGrpSpPr>
      <p:grpSpPr>
        <a:xfrm>
          <a:off x="0" y="0"/>
          <a:ext cx="0" cy="0"/>
          <a:chOff x="0" y="0"/>
          <a:chExt cx="0" cy="0"/>
        </a:xfrm>
      </p:grpSpPr>
      <p:pic>
        <p:nvPicPr>
          <p:cNvPr id="7" name="layer1" descr="preencoded.png">
            <a:hlinkClick r:id="rId2" action="ppaction://hlinksldjump"/>
            <a:extLst>
              <a:ext uri="{FF2B5EF4-FFF2-40B4-BE49-F238E27FC236}">
                <a16:creationId xmlns:a16="http://schemas.microsoft.com/office/drawing/2014/main" id="{2A476A50-CA47-6C90-8173-8350B26D712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73202" y="128379"/>
            <a:ext cx="429946" cy="393483"/>
          </a:xfrm>
          <a:prstGeom prst="rect">
            <a:avLst/>
          </a:prstGeom>
        </p:spPr>
      </p:pic>
      <p:pic>
        <p:nvPicPr>
          <p:cNvPr id="8" name="Graphic 15" descr="Seta de linha: retorno na horizontal com preenchimento sólido">
            <a:hlinkClick r:id="" action="ppaction://hlinkshowjump?jump=lastslideviewed"/>
            <a:extLst>
              <a:ext uri="{FF2B5EF4-FFF2-40B4-BE49-F238E27FC236}">
                <a16:creationId xmlns:a16="http://schemas.microsoft.com/office/drawing/2014/main" id="{09EB09B3-A78D-A9B2-2A68-BEBE3D9A27C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1514665" y="108672"/>
            <a:ext cx="243030" cy="243030"/>
          </a:xfrm>
          <a:prstGeom prst="rect">
            <a:avLst/>
          </a:prstGeom>
        </p:spPr>
      </p:pic>
      <p:pic>
        <p:nvPicPr>
          <p:cNvPr id="9" name="Graphic 7" descr="Fechar com preenchimento sólido">
            <a:hlinkClick r:id="" action="ppaction://hlinkshowjump?jump=lastslide"/>
            <a:extLst>
              <a:ext uri="{FF2B5EF4-FFF2-40B4-BE49-F238E27FC236}">
                <a16:creationId xmlns:a16="http://schemas.microsoft.com/office/drawing/2014/main" id="{1486B8B5-7DEE-B82F-4F04-87BB50FBCD8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1862076" y="172409"/>
            <a:ext cx="152712" cy="152712"/>
          </a:xfrm>
          <a:prstGeom prst="rect">
            <a:avLst/>
          </a:prstGeom>
        </p:spPr>
      </p:pic>
      <p:sp>
        <p:nvSpPr>
          <p:cNvPr id="12" name="Rounded Rectangle 141">
            <a:extLst>
              <a:ext uri="{FF2B5EF4-FFF2-40B4-BE49-F238E27FC236}">
                <a16:creationId xmlns:a16="http://schemas.microsoft.com/office/drawing/2014/main" id="{87004BF9-AB51-30A0-AF5C-D74236D4F2EA}"/>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13" name="Agrupar 12">
            <a:extLst>
              <a:ext uri="{FF2B5EF4-FFF2-40B4-BE49-F238E27FC236}">
                <a16:creationId xmlns:a16="http://schemas.microsoft.com/office/drawing/2014/main" id="{5390812A-2CC2-2FED-5170-B187D6E556B3}"/>
              </a:ext>
            </a:extLst>
          </p:cNvPr>
          <p:cNvGrpSpPr/>
          <p:nvPr/>
        </p:nvGrpSpPr>
        <p:grpSpPr>
          <a:xfrm>
            <a:off x="232893" y="6274809"/>
            <a:ext cx="274453" cy="274454"/>
            <a:chOff x="10758947" y="6120020"/>
            <a:chExt cx="219971" cy="219972"/>
          </a:xfrm>
        </p:grpSpPr>
        <p:sp>
          <p:nvSpPr>
            <p:cNvPr id="14" name="Rounded Rectangle 7">
              <a:extLst>
                <a:ext uri="{FF2B5EF4-FFF2-40B4-BE49-F238E27FC236}">
                  <a16:creationId xmlns:a16="http://schemas.microsoft.com/office/drawing/2014/main" id="{5D5DA0CD-0796-85BE-37C2-80FE0679B2F3}"/>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15" name="Graphic 15" descr="Ícone do menu de hambúrguer com preenchimento sólido">
              <a:extLst>
                <a:ext uri="{FF2B5EF4-FFF2-40B4-BE49-F238E27FC236}">
                  <a16:creationId xmlns:a16="http://schemas.microsoft.com/office/drawing/2014/main" id="{71ED7E63-E831-8328-B926-22A7BB54F7C8}"/>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0802327" y="6163409"/>
              <a:ext cx="133186" cy="133186"/>
            </a:xfrm>
            <a:prstGeom prst="rect">
              <a:avLst/>
            </a:prstGeom>
          </p:spPr>
        </p:pic>
      </p:grpSp>
      <p:sp>
        <p:nvSpPr>
          <p:cNvPr id="16" name="Retângulo 15">
            <a:hlinkClick r:id="rId11" action="ppaction://hlinksldjump"/>
            <a:extLst>
              <a:ext uri="{FF2B5EF4-FFF2-40B4-BE49-F238E27FC236}">
                <a16:creationId xmlns:a16="http://schemas.microsoft.com/office/drawing/2014/main" id="{E7A4C6D0-6280-4C7C-983F-1AB030E7B99B}"/>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93475206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Powertrain without Title">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 name="layer1" descr="preencoded.png">
            <a:hlinkClick r:id="" action="ppaction://hlinkshowjump?jump=firstslide"/>
            <a:extLst>
              <a:ext uri="{FF2B5EF4-FFF2-40B4-BE49-F238E27FC236}">
                <a16:creationId xmlns:a16="http://schemas.microsoft.com/office/drawing/2014/main" id="{9E32BA37-546D-7139-2B04-92CFA150AD0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33" name="Conector Reto 32">
            <a:extLst>
              <a:ext uri="{FF2B5EF4-FFF2-40B4-BE49-F238E27FC236}">
                <a16:creationId xmlns:a16="http://schemas.microsoft.com/office/drawing/2014/main" id="{4A869277-9C7B-879B-7D0A-BF634BFE4C1E}"/>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4" name="Rounded Rectangle 141">
            <a:extLst>
              <a:ext uri="{FF2B5EF4-FFF2-40B4-BE49-F238E27FC236}">
                <a16:creationId xmlns:a16="http://schemas.microsoft.com/office/drawing/2014/main" id="{C2DA3EAE-E5A7-6E35-A1E0-4A03123FAAA7}"/>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35" name="Agrupar 34">
            <a:extLst>
              <a:ext uri="{FF2B5EF4-FFF2-40B4-BE49-F238E27FC236}">
                <a16:creationId xmlns:a16="http://schemas.microsoft.com/office/drawing/2014/main" id="{DCF6EB78-992E-6980-A938-416AE7290C37}"/>
              </a:ext>
            </a:extLst>
          </p:cNvPr>
          <p:cNvGrpSpPr/>
          <p:nvPr/>
        </p:nvGrpSpPr>
        <p:grpSpPr>
          <a:xfrm>
            <a:off x="232893" y="6274809"/>
            <a:ext cx="274453" cy="274454"/>
            <a:chOff x="10758947" y="6120020"/>
            <a:chExt cx="219971" cy="219972"/>
          </a:xfrm>
        </p:grpSpPr>
        <p:sp>
          <p:nvSpPr>
            <p:cNvPr id="36" name="Rounded Rectangle 7">
              <a:extLst>
                <a:ext uri="{FF2B5EF4-FFF2-40B4-BE49-F238E27FC236}">
                  <a16:creationId xmlns:a16="http://schemas.microsoft.com/office/drawing/2014/main" id="{2FEAA7D2-AB0D-5E26-1F71-C859CAD1DF9C}"/>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37" name="Graphic 15" descr="Ícone do menu de hambúrguer com preenchimento sólido">
              <a:extLst>
                <a:ext uri="{FF2B5EF4-FFF2-40B4-BE49-F238E27FC236}">
                  <a16:creationId xmlns:a16="http://schemas.microsoft.com/office/drawing/2014/main" id="{ED6BB820-CB99-47B9-51AC-AA27B887128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38" name="Retângulo 37">
            <a:hlinkClick r:id="rId10" action="ppaction://hlinksldjump"/>
            <a:extLst>
              <a:ext uri="{FF2B5EF4-FFF2-40B4-BE49-F238E27FC236}">
                <a16:creationId xmlns:a16="http://schemas.microsoft.com/office/drawing/2014/main" id="{0216654D-98DB-7304-BA83-9214D74B2557}"/>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 name="Oval 2">
            <a:hlinkClick r:id="" action="ppaction://noaction"/>
            <a:extLst>
              <a:ext uri="{FF2B5EF4-FFF2-40B4-BE49-F238E27FC236}">
                <a16:creationId xmlns:a16="http://schemas.microsoft.com/office/drawing/2014/main" id="{53C81474-7AFB-9FBD-901A-ADFFC0F9F6DE}"/>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4" name="Rounded Rectangle 141">
            <a:hlinkClick r:id="" action="ppaction://noaction"/>
            <a:extLst>
              <a:ext uri="{FF2B5EF4-FFF2-40B4-BE49-F238E27FC236}">
                <a16:creationId xmlns:a16="http://schemas.microsoft.com/office/drawing/2014/main" id="{0F6C2683-D34D-EB9D-DB26-5E5B2753EBA1}"/>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Powertrain</a:t>
            </a:r>
          </a:p>
          <a:p>
            <a:r>
              <a:rPr lang="en-US" sz="1100">
                <a:solidFill>
                  <a:srgbClr val="2A2A2A"/>
                </a:solidFill>
                <a:latin typeface="Aptos" panose="020B0004020202020204" pitchFamily="34" charset="0"/>
                <a:cs typeface="Plus Jakarta Sans" pitchFamily="2" charset="77"/>
              </a:rPr>
              <a:t>Index </a:t>
            </a:r>
          </a:p>
        </p:txBody>
      </p:sp>
      <p:pic>
        <p:nvPicPr>
          <p:cNvPr id="5" name="Gráfico 4" descr="Acento Circunflexo à Direita com preenchimento sólido">
            <a:hlinkClick r:id="" action="ppaction://noaction"/>
            <a:extLst>
              <a:ext uri="{FF2B5EF4-FFF2-40B4-BE49-F238E27FC236}">
                <a16:creationId xmlns:a16="http://schemas.microsoft.com/office/drawing/2014/main" id="{6ED884C2-7CE9-BCBD-B92F-648C7395AC5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spTree>
    <p:extLst>
      <p:ext uri="{BB962C8B-B14F-4D97-AF65-F5344CB8AC3E}">
        <p14:creationId xmlns:p14="http://schemas.microsoft.com/office/powerpoint/2010/main" val="229715943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Powertrain with Title">
    <p:spTree>
      <p:nvGrpSpPr>
        <p:cNvPr id="1" name=""/>
        <p:cNvGrpSpPr/>
        <p:nvPr/>
      </p:nvGrpSpPr>
      <p:grpSpPr>
        <a:xfrm>
          <a:off x="0" y="0"/>
          <a:ext cx="0" cy="0"/>
          <a:chOff x="0" y="0"/>
          <a:chExt cx="0" cy="0"/>
        </a:xfrm>
      </p:grpSpPr>
      <p:sp>
        <p:nvSpPr>
          <p:cNvPr id="5" name="Espaço Reservado para Título 1">
            <a:extLst>
              <a:ext uri="{FF2B5EF4-FFF2-40B4-BE49-F238E27FC236}">
                <a16:creationId xmlns:a16="http://schemas.microsoft.com/office/drawing/2014/main" id="{200667EA-73C3-5C7F-05D6-D4EA19E15A00}"/>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6" name="Espaço Reservado para Texto 2">
            <a:extLst>
              <a:ext uri="{FF2B5EF4-FFF2-40B4-BE49-F238E27FC236}">
                <a16:creationId xmlns:a16="http://schemas.microsoft.com/office/drawing/2014/main" id="{26CA08C1-E9D4-CC95-9809-5EF47BC39692}"/>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3" name="Rounded Rectangle 141">
            <a:extLst>
              <a:ext uri="{FF2B5EF4-FFF2-40B4-BE49-F238E27FC236}">
                <a16:creationId xmlns:a16="http://schemas.microsoft.com/office/drawing/2014/main" id="{6936E704-73BC-1223-DE6E-63E7E1377CBB}"/>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10" name="Agrupar 9">
            <a:extLst>
              <a:ext uri="{FF2B5EF4-FFF2-40B4-BE49-F238E27FC236}">
                <a16:creationId xmlns:a16="http://schemas.microsoft.com/office/drawing/2014/main" id="{095000BB-65C4-E1D4-16D8-E4F0ABFAA5BB}"/>
              </a:ext>
            </a:extLst>
          </p:cNvPr>
          <p:cNvGrpSpPr/>
          <p:nvPr/>
        </p:nvGrpSpPr>
        <p:grpSpPr>
          <a:xfrm>
            <a:off x="232893" y="6274809"/>
            <a:ext cx="274453" cy="274454"/>
            <a:chOff x="10758947" y="6120020"/>
            <a:chExt cx="219971" cy="219972"/>
          </a:xfrm>
        </p:grpSpPr>
        <p:sp>
          <p:nvSpPr>
            <p:cNvPr id="13" name="Rounded Rectangle 7">
              <a:extLst>
                <a:ext uri="{FF2B5EF4-FFF2-40B4-BE49-F238E27FC236}">
                  <a16:creationId xmlns:a16="http://schemas.microsoft.com/office/drawing/2014/main" id="{2B0E160A-3B81-617B-E514-A08E71A1AFBB}"/>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19" name="Graphic 15" descr="Ícone do menu de hambúrguer com preenchimento sólido">
              <a:extLst>
                <a:ext uri="{FF2B5EF4-FFF2-40B4-BE49-F238E27FC236}">
                  <a16:creationId xmlns:a16="http://schemas.microsoft.com/office/drawing/2014/main" id="{E78A489B-BD82-21D8-2592-1F0643ED571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20" name="Retângulo 19">
            <a:hlinkClick r:id="rId10" action="ppaction://hlinksldjump"/>
            <a:extLst>
              <a:ext uri="{FF2B5EF4-FFF2-40B4-BE49-F238E27FC236}">
                <a16:creationId xmlns:a16="http://schemas.microsoft.com/office/drawing/2014/main" id="{959ACB70-35AF-E26E-0CBB-C851B569C32C}"/>
              </a:ext>
            </a:extLst>
          </p:cNvPr>
          <p:cNvSpPr/>
          <p:nvPr/>
        </p:nvSpPr>
        <p:spPr>
          <a:xfrm>
            <a:off x="158496" y="6169152"/>
            <a:ext cx="101193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26" name="Conector Reto 25">
            <a:extLst>
              <a:ext uri="{FF2B5EF4-FFF2-40B4-BE49-F238E27FC236}">
                <a16:creationId xmlns:a16="http://schemas.microsoft.com/office/drawing/2014/main" id="{1F2DFE63-ED25-CCC0-B6BF-B2BD40DABC02}"/>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 name="Oval 1">
            <a:hlinkClick r:id="" action="ppaction://noaction"/>
            <a:extLst>
              <a:ext uri="{FF2B5EF4-FFF2-40B4-BE49-F238E27FC236}">
                <a16:creationId xmlns:a16="http://schemas.microsoft.com/office/drawing/2014/main" id="{B3BA39D7-D195-5551-C4D5-778FC1D15B35}"/>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4" name="Rounded Rectangle 141">
            <a:hlinkClick r:id="" action="ppaction://noaction"/>
            <a:extLst>
              <a:ext uri="{FF2B5EF4-FFF2-40B4-BE49-F238E27FC236}">
                <a16:creationId xmlns:a16="http://schemas.microsoft.com/office/drawing/2014/main" id="{62359136-5014-3A83-B6E8-B0AF25C00965}"/>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Powertrain</a:t>
            </a:r>
          </a:p>
          <a:p>
            <a:r>
              <a:rPr lang="en-US" sz="1100">
                <a:solidFill>
                  <a:srgbClr val="2A2A2A"/>
                </a:solidFill>
                <a:latin typeface="Aptos" panose="020B0004020202020204" pitchFamily="34" charset="0"/>
                <a:cs typeface="Plus Jakarta Sans" pitchFamily="2" charset="77"/>
              </a:rPr>
              <a:t>Index </a:t>
            </a:r>
          </a:p>
        </p:txBody>
      </p:sp>
      <p:pic>
        <p:nvPicPr>
          <p:cNvPr id="14" name="Gráfico 13" descr="Acento Circunflexo à Direita com preenchimento sólido">
            <a:hlinkClick r:id="" action="ppaction://noaction"/>
            <a:extLst>
              <a:ext uri="{FF2B5EF4-FFF2-40B4-BE49-F238E27FC236}">
                <a16:creationId xmlns:a16="http://schemas.microsoft.com/office/drawing/2014/main" id="{D228489C-11F8-891B-B317-CA4FD32020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grpSp>
        <p:nvGrpSpPr>
          <p:cNvPr id="18" name="Group 11">
            <a:extLst>
              <a:ext uri="{FF2B5EF4-FFF2-40B4-BE49-F238E27FC236}">
                <a16:creationId xmlns:a16="http://schemas.microsoft.com/office/drawing/2014/main" id="{DB2807C0-48F9-3B0B-77F7-9EB8A2648B1F}"/>
              </a:ext>
            </a:extLst>
          </p:cNvPr>
          <p:cNvGrpSpPr/>
          <p:nvPr/>
        </p:nvGrpSpPr>
        <p:grpSpPr>
          <a:xfrm>
            <a:off x="1111657" y="461518"/>
            <a:ext cx="216344" cy="216344"/>
            <a:chOff x="4794103" y="1588576"/>
            <a:chExt cx="1242488" cy="1242488"/>
          </a:xfrm>
        </p:grpSpPr>
        <p:sp>
          <p:nvSpPr>
            <p:cNvPr id="21" name="Freeform 13">
              <a:extLst>
                <a:ext uri="{FF2B5EF4-FFF2-40B4-BE49-F238E27FC236}">
                  <a16:creationId xmlns:a16="http://schemas.microsoft.com/office/drawing/2014/main" id="{8BC81F60-4C8F-C0DC-0A24-7217B89C626E}"/>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a:solidFill>
                <a:srgbClr val="787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14">
              <a:extLst>
                <a:ext uri="{FF2B5EF4-FFF2-40B4-BE49-F238E27FC236}">
                  <a16:creationId xmlns:a16="http://schemas.microsoft.com/office/drawing/2014/main" id="{5B1ED410-98B1-C029-2002-34785D0906CE}"/>
                </a:ext>
              </a:extLst>
            </p:cNvPr>
            <p:cNvCxnSpPr>
              <a:cxnSpLocks/>
            </p:cNvCxnSpPr>
            <p:nvPr/>
          </p:nvCxnSpPr>
          <p:spPr>
            <a:xfrm flipV="1">
              <a:off x="4794103" y="1588577"/>
              <a:ext cx="1242488" cy="1242487"/>
            </a:xfrm>
            <a:prstGeom prst="line">
              <a:avLst/>
            </a:prstGeom>
            <a:ln w="12700">
              <a:solidFill>
                <a:srgbClr val="787877"/>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0542755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Powertrain Title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0868163B-1CD6-625E-CB14-4F8CB4C6108A}"/>
              </a:ext>
            </a:extLst>
          </p:cNvPr>
          <p:cNvSpPr>
            <a:spLocks noGrp="1"/>
          </p:cNvSpPr>
          <p:nvPr>
            <p:ph type="pic" sz="quarter" idx="14"/>
          </p:nvPr>
        </p:nvSpPr>
        <p:spPr>
          <a:xfrm>
            <a:off x="789214" y="652680"/>
            <a:ext cx="5331170" cy="5357977"/>
          </a:xfrm>
          <a:custGeom>
            <a:avLst/>
            <a:gdLst>
              <a:gd name="connsiteX0" fmla="*/ 2600409 w 6100200"/>
              <a:gd name="connsiteY0" fmla="*/ 0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0" fmla="*/ 1820968 w 6100200"/>
              <a:gd name="connsiteY0" fmla="*/ 562381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8" fmla="*/ 1820968 w 6100200"/>
              <a:gd name="connsiteY8" fmla="*/ 562381 h 6182557"/>
              <a:gd name="connsiteX0" fmla="*/ 1820968 w 6100200"/>
              <a:gd name="connsiteY0" fmla="*/ 0 h 5620176"/>
              <a:gd name="connsiteX1" fmla="*/ 5547685 w 6100200"/>
              <a:gd name="connsiteY1" fmla="*/ 0 h 5620176"/>
              <a:gd name="connsiteX2" fmla="*/ 6100200 w 6100200"/>
              <a:gd name="connsiteY2" fmla="*/ 4436520 h 5620176"/>
              <a:gd name="connsiteX3" fmla="*/ 4413173 w 6100200"/>
              <a:gd name="connsiteY3" fmla="*/ 5620176 h 5620176"/>
              <a:gd name="connsiteX4" fmla="*/ 232259 w 6100200"/>
              <a:gd name="connsiteY4" fmla="*/ 5620176 h 5620176"/>
              <a:gd name="connsiteX5" fmla="*/ 0 w 6100200"/>
              <a:gd name="connsiteY5" fmla="*/ 5388074 h 5620176"/>
              <a:gd name="connsiteX6" fmla="*/ 0 w 6100200"/>
              <a:gd name="connsiteY6" fmla="*/ 1383077 h 5620176"/>
              <a:gd name="connsiteX7" fmla="*/ 98758 w 6100200"/>
              <a:gd name="connsiteY7" fmla="*/ 1193072 h 5620176"/>
              <a:gd name="connsiteX8" fmla="*/ 1820968 w 610020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4413173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9867 h 5630043"/>
              <a:gd name="connsiteX1" fmla="*/ 5587150 w 5587150"/>
              <a:gd name="connsiteY1" fmla="*/ 0 h 5630043"/>
              <a:gd name="connsiteX2" fmla="*/ 5587150 w 5587150"/>
              <a:gd name="connsiteY2" fmla="*/ 3982669 h 5630043"/>
              <a:gd name="connsiteX3" fmla="*/ 3239079 w 5587150"/>
              <a:gd name="connsiteY3" fmla="*/ 5630043 h 5630043"/>
              <a:gd name="connsiteX4" fmla="*/ 232259 w 5587150"/>
              <a:gd name="connsiteY4" fmla="*/ 5630043 h 5630043"/>
              <a:gd name="connsiteX5" fmla="*/ 0 w 5587150"/>
              <a:gd name="connsiteY5" fmla="*/ 5397941 h 5630043"/>
              <a:gd name="connsiteX6" fmla="*/ 0 w 5587150"/>
              <a:gd name="connsiteY6" fmla="*/ 1392944 h 5630043"/>
              <a:gd name="connsiteX7" fmla="*/ 98758 w 5587150"/>
              <a:gd name="connsiteY7" fmla="*/ 1202939 h 5630043"/>
              <a:gd name="connsiteX8" fmla="*/ 1820968 w 5587150"/>
              <a:gd name="connsiteY8" fmla="*/ 9867 h 5630043"/>
              <a:gd name="connsiteX0" fmla="*/ 1820968 w 5587150"/>
              <a:gd name="connsiteY0" fmla="*/ 0 h 5620176"/>
              <a:gd name="connsiteX1" fmla="*/ 5191339 w 5587150"/>
              <a:gd name="connsiteY1" fmla="*/ 510004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87150 w 5587150"/>
              <a:gd name="connsiteY1" fmla="*/ 391851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98965"/>
              <a:gd name="connsiteY0" fmla="*/ 0 h 5620176"/>
              <a:gd name="connsiteX1" fmla="*/ 5598965 w 5598965"/>
              <a:gd name="connsiteY1" fmla="*/ 1948 h 5620176"/>
              <a:gd name="connsiteX2" fmla="*/ 5587150 w 5598965"/>
              <a:gd name="connsiteY2" fmla="*/ 3972802 h 5620176"/>
              <a:gd name="connsiteX3" fmla="*/ 3239079 w 5598965"/>
              <a:gd name="connsiteY3" fmla="*/ 5620176 h 5620176"/>
              <a:gd name="connsiteX4" fmla="*/ 232259 w 5598965"/>
              <a:gd name="connsiteY4" fmla="*/ 5620176 h 5620176"/>
              <a:gd name="connsiteX5" fmla="*/ 0 w 5598965"/>
              <a:gd name="connsiteY5" fmla="*/ 5388074 h 5620176"/>
              <a:gd name="connsiteX6" fmla="*/ 0 w 5598965"/>
              <a:gd name="connsiteY6" fmla="*/ 1383077 h 5620176"/>
              <a:gd name="connsiteX7" fmla="*/ 98758 w 5598965"/>
              <a:gd name="connsiteY7" fmla="*/ 1193072 h 5620176"/>
              <a:gd name="connsiteX8" fmla="*/ 1820968 w 5598965"/>
              <a:gd name="connsiteY8" fmla="*/ 0 h 5620176"/>
              <a:gd name="connsiteX0" fmla="*/ 1820968 w 5593058"/>
              <a:gd name="connsiteY0" fmla="*/ 0 h 5620176"/>
              <a:gd name="connsiteX1" fmla="*/ 5593058 w 5593058"/>
              <a:gd name="connsiteY1" fmla="*/ 1948 h 5620176"/>
              <a:gd name="connsiteX2" fmla="*/ 5587150 w 5593058"/>
              <a:gd name="connsiteY2" fmla="*/ 3972802 h 5620176"/>
              <a:gd name="connsiteX3" fmla="*/ 3239079 w 5593058"/>
              <a:gd name="connsiteY3" fmla="*/ 5620176 h 5620176"/>
              <a:gd name="connsiteX4" fmla="*/ 232259 w 5593058"/>
              <a:gd name="connsiteY4" fmla="*/ 5620176 h 5620176"/>
              <a:gd name="connsiteX5" fmla="*/ 0 w 5593058"/>
              <a:gd name="connsiteY5" fmla="*/ 5388074 h 5620176"/>
              <a:gd name="connsiteX6" fmla="*/ 0 w 5593058"/>
              <a:gd name="connsiteY6" fmla="*/ 1383077 h 5620176"/>
              <a:gd name="connsiteX7" fmla="*/ 98758 w 5593058"/>
              <a:gd name="connsiteY7" fmla="*/ 1193072 h 5620176"/>
              <a:gd name="connsiteX8" fmla="*/ 1820968 w 5593058"/>
              <a:gd name="connsiteY8" fmla="*/ 0 h 5620176"/>
              <a:gd name="connsiteX0" fmla="*/ 1820968 w 5871561"/>
              <a:gd name="connsiteY0" fmla="*/ 93271 h 5713447"/>
              <a:gd name="connsiteX1" fmla="*/ 5593058 w 5871561"/>
              <a:gd name="connsiteY1" fmla="*/ 95219 h 5713447"/>
              <a:gd name="connsiteX2" fmla="*/ 5589664 w 5871561"/>
              <a:gd name="connsiteY2" fmla="*/ 372747 h 5713447"/>
              <a:gd name="connsiteX3" fmla="*/ 5587150 w 5871561"/>
              <a:gd name="connsiteY3" fmla="*/ 4066073 h 5713447"/>
              <a:gd name="connsiteX4" fmla="*/ 3239079 w 5871561"/>
              <a:gd name="connsiteY4" fmla="*/ 5713447 h 5713447"/>
              <a:gd name="connsiteX5" fmla="*/ 232259 w 5871561"/>
              <a:gd name="connsiteY5" fmla="*/ 5713447 h 5713447"/>
              <a:gd name="connsiteX6" fmla="*/ 0 w 5871561"/>
              <a:gd name="connsiteY6" fmla="*/ 5481345 h 5713447"/>
              <a:gd name="connsiteX7" fmla="*/ 0 w 5871561"/>
              <a:gd name="connsiteY7" fmla="*/ 1476348 h 5713447"/>
              <a:gd name="connsiteX8" fmla="*/ 98758 w 5871561"/>
              <a:gd name="connsiteY8" fmla="*/ 1286343 h 5713447"/>
              <a:gd name="connsiteX9" fmla="*/ 1820968 w 5871561"/>
              <a:gd name="connsiteY9"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68964"/>
              <a:gd name="connsiteY0" fmla="*/ 0 h 5620176"/>
              <a:gd name="connsiteX1" fmla="*/ 5282468 w 5868964"/>
              <a:gd name="connsiteY1" fmla="*/ 1818 h 5620176"/>
              <a:gd name="connsiteX2" fmla="*/ 5593058 w 5868964"/>
              <a:gd name="connsiteY2" fmla="*/ 1948 h 5620176"/>
              <a:gd name="connsiteX3" fmla="*/ 5589664 w 5868964"/>
              <a:gd name="connsiteY3" fmla="*/ 279476 h 5620176"/>
              <a:gd name="connsiteX4" fmla="*/ 5587150 w 5868964"/>
              <a:gd name="connsiteY4" fmla="*/ 3972802 h 5620176"/>
              <a:gd name="connsiteX5" fmla="*/ 3239079 w 5868964"/>
              <a:gd name="connsiteY5" fmla="*/ 5620176 h 5620176"/>
              <a:gd name="connsiteX6" fmla="*/ 232259 w 5868964"/>
              <a:gd name="connsiteY6" fmla="*/ 5620176 h 5620176"/>
              <a:gd name="connsiteX7" fmla="*/ 0 w 5868964"/>
              <a:gd name="connsiteY7" fmla="*/ 5388074 h 5620176"/>
              <a:gd name="connsiteX8" fmla="*/ 0 w 5868964"/>
              <a:gd name="connsiteY8" fmla="*/ 1383077 h 5620176"/>
              <a:gd name="connsiteX9" fmla="*/ 98758 w 5868964"/>
              <a:gd name="connsiteY9" fmla="*/ 1193072 h 5620176"/>
              <a:gd name="connsiteX10" fmla="*/ 1820968 w 5868964"/>
              <a:gd name="connsiteY10" fmla="*/ 0 h 5620176"/>
              <a:gd name="connsiteX0" fmla="*/ 1820968 w 5593273"/>
              <a:gd name="connsiteY0" fmla="*/ 0 h 5620176"/>
              <a:gd name="connsiteX1" fmla="*/ 5282468 w 5593273"/>
              <a:gd name="connsiteY1" fmla="*/ 1818 h 5620176"/>
              <a:gd name="connsiteX2" fmla="*/ 5589664 w 5593273"/>
              <a:gd name="connsiteY2" fmla="*/ 279476 h 5620176"/>
              <a:gd name="connsiteX3" fmla="*/ 5587150 w 5593273"/>
              <a:gd name="connsiteY3" fmla="*/ 3972802 h 5620176"/>
              <a:gd name="connsiteX4" fmla="*/ 3239079 w 5593273"/>
              <a:gd name="connsiteY4" fmla="*/ 5620176 h 5620176"/>
              <a:gd name="connsiteX5" fmla="*/ 232259 w 5593273"/>
              <a:gd name="connsiteY5" fmla="*/ 5620176 h 5620176"/>
              <a:gd name="connsiteX6" fmla="*/ 0 w 5593273"/>
              <a:gd name="connsiteY6" fmla="*/ 5388074 h 5620176"/>
              <a:gd name="connsiteX7" fmla="*/ 0 w 5593273"/>
              <a:gd name="connsiteY7" fmla="*/ 1383077 h 5620176"/>
              <a:gd name="connsiteX8" fmla="*/ 98758 w 5593273"/>
              <a:gd name="connsiteY8" fmla="*/ 1193072 h 5620176"/>
              <a:gd name="connsiteX9" fmla="*/ 1820968 w 5593273"/>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2056"/>
              <a:gd name="connsiteY0" fmla="*/ 0 h 5620176"/>
              <a:gd name="connsiteX1" fmla="*/ 5282468 w 5592056"/>
              <a:gd name="connsiteY1" fmla="*/ 1818 h 5620176"/>
              <a:gd name="connsiteX2" fmla="*/ 5589664 w 5592056"/>
              <a:gd name="connsiteY2" fmla="*/ 279476 h 5620176"/>
              <a:gd name="connsiteX3" fmla="*/ 5587150 w 5592056"/>
              <a:gd name="connsiteY3" fmla="*/ 3972802 h 5620176"/>
              <a:gd name="connsiteX4" fmla="*/ 3239079 w 5592056"/>
              <a:gd name="connsiteY4" fmla="*/ 5620176 h 5620176"/>
              <a:gd name="connsiteX5" fmla="*/ 232259 w 5592056"/>
              <a:gd name="connsiteY5" fmla="*/ 5620176 h 5620176"/>
              <a:gd name="connsiteX6" fmla="*/ 0 w 5592056"/>
              <a:gd name="connsiteY6" fmla="*/ 5388074 h 5620176"/>
              <a:gd name="connsiteX7" fmla="*/ 0 w 5592056"/>
              <a:gd name="connsiteY7" fmla="*/ 1383077 h 5620176"/>
              <a:gd name="connsiteX8" fmla="*/ 98758 w 5592056"/>
              <a:gd name="connsiteY8" fmla="*/ 1193072 h 5620176"/>
              <a:gd name="connsiteX9" fmla="*/ 1820968 w 5592056"/>
              <a:gd name="connsiteY9" fmla="*/ 0 h 562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2056" h="5620176">
                <a:moveTo>
                  <a:pt x="1820968" y="0"/>
                </a:moveTo>
                <a:lnTo>
                  <a:pt x="5282468" y="1818"/>
                </a:lnTo>
                <a:cubicBezTo>
                  <a:pt x="5349421" y="5756"/>
                  <a:pt x="5581789" y="21510"/>
                  <a:pt x="5589664" y="279476"/>
                </a:cubicBezTo>
                <a:cubicBezTo>
                  <a:pt x="5597539" y="537442"/>
                  <a:pt x="5583104" y="3980644"/>
                  <a:pt x="5587150" y="3972802"/>
                </a:cubicBezTo>
                <a:lnTo>
                  <a:pt x="3239079" y="5620176"/>
                </a:lnTo>
                <a:lnTo>
                  <a:pt x="232259" y="5620176"/>
                </a:lnTo>
                <a:cubicBezTo>
                  <a:pt x="103976" y="5620176"/>
                  <a:pt x="0" y="5516270"/>
                  <a:pt x="0" y="5388074"/>
                </a:cubicBezTo>
                <a:lnTo>
                  <a:pt x="0" y="1383077"/>
                </a:lnTo>
                <a:cubicBezTo>
                  <a:pt x="0" y="1307406"/>
                  <a:pt x="36907" y="1236567"/>
                  <a:pt x="98758" y="1193072"/>
                </a:cubicBezTo>
                <a:lnTo>
                  <a:pt x="1820968" y="0"/>
                </a:lnTo>
                <a:close/>
              </a:path>
            </a:pathLst>
          </a:custGeom>
          <a:solidFill>
            <a:schemeClr val="bg1">
              <a:lumMod val="95000"/>
            </a:schemeClr>
          </a:solidFill>
        </p:spPr>
        <p:txBody>
          <a:bodyPr wrap="square" anchor="ctr">
            <a:noAutofit/>
          </a:bodyPr>
          <a:lstStyle>
            <a:lvl1pPr marL="0" indent="0" algn="ctr">
              <a:buNone/>
              <a:defRPr sz="1100" baseline="0">
                <a:solidFill>
                  <a:schemeClr val="tx1"/>
                </a:solidFill>
              </a:defRPr>
            </a:lvl1pPr>
          </a:lstStyle>
          <a:p>
            <a:pPr marL="0" marR="0" lvl="0" indent="0" algn="ctr" defTabSz="914400" rtl="0" eaLnBrk="1" fontAlgn="auto" latinLnBrk="0" hangingPunct="1">
              <a:lnSpc>
                <a:spcPct val="90000"/>
              </a:lnSpc>
              <a:spcBef>
                <a:spcPts val="1000"/>
              </a:spcBef>
              <a:spcAft>
                <a:spcPts val="0"/>
              </a:spcAft>
              <a:buClrTx/>
              <a:buSzTx/>
              <a:buFont typeface="Wingdings" charset="2"/>
              <a:buNone/>
              <a:tabLst/>
              <a:defRPr/>
            </a:pPr>
            <a:r>
              <a:rPr lang="en-US"/>
              <a:t>Click icon to add picture</a:t>
            </a:r>
          </a:p>
        </p:txBody>
      </p:sp>
      <p:sp>
        <p:nvSpPr>
          <p:cNvPr id="5" name="Espaço Reservado para Título 1">
            <a:extLst>
              <a:ext uri="{FF2B5EF4-FFF2-40B4-BE49-F238E27FC236}">
                <a16:creationId xmlns:a16="http://schemas.microsoft.com/office/drawing/2014/main" id="{406CC781-0F52-66CB-2D4F-6254503BBC02}"/>
              </a:ext>
            </a:extLst>
          </p:cNvPr>
          <p:cNvSpPr>
            <a:spLocks noGrp="1"/>
          </p:cNvSpPr>
          <p:nvPr>
            <p:ph type="title"/>
          </p:nvPr>
        </p:nvSpPr>
        <p:spPr>
          <a:xfrm>
            <a:off x="6917469" y="2376165"/>
            <a:ext cx="3969608" cy="384164"/>
          </a:xfrm>
          <a:prstGeom prst="rect">
            <a:avLst/>
          </a:prstGeom>
        </p:spPr>
        <p:txBody>
          <a:bodyPr vert="horz" lIns="91440" tIns="45720" rIns="91440" bIns="45720" rtlCol="0" anchor="t">
            <a:noAutofit/>
          </a:bodyPr>
          <a:lstStyle>
            <a:lvl1pPr>
              <a:defRPr sz="3600" b="1">
                <a:solidFill>
                  <a:schemeClr val="tx1"/>
                </a:solidFill>
                <a:latin typeface="Aptos" panose="020B0004020202020204" pitchFamily="34" charset="0"/>
              </a:defRPr>
            </a:lvl1pPr>
          </a:lstStyle>
          <a:p>
            <a:r>
              <a:rPr lang="pt-BR"/>
              <a:t>Clique para editar</a:t>
            </a:r>
          </a:p>
        </p:txBody>
      </p:sp>
      <p:sp>
        <p:nvSpPr>
          <p:cNvPr id="6" name="Espaço Reservado para Texto 2">
            <a:extLst>
              <a:ext uri="{FF2B5EF4-FFF2-40B4-BE49-F238E27FC236}">
                <a16:creationId xmlns:a16="http://schemas.microsoft.com/office/drawing/2014/main" id="{5FCCC78F-CB97-B37F-0010-A977A5F6601F}"/>
              </a:ext>
            </a:extLst>
          </p:cNvPr>
          <p:cNvSpPr>
            <a:spLocks noGrp="1"/>
          </p:cNvSpPr>
          <p:nvPr>
            <p:ph idx="1" hasCustomPrompt="1"/>
          </p:nvPr>
        </p:nvSpPr>
        <p:spPr>
          <a:xfrm>
            <a:off x="6904756" y="2771657"/>
            <a:ext cx="4192800" cy="1427778"/>
          </a:xfrm>
          <a:prstGeom prst="rect">
            <a:avLst/>
          </a:prstGeom>
        </p:spPr>
        <p:txBody>
          <a:bodyPr vert="horz" lIns="91440" tIns="45720" rIns="91440" bIns="45720" rtlCol="0">
            <a:noAutofit/>
          </a:bodyPr>
          <a:lstStyle>
            <a:lvl1pPr marL="0" indent="0">
              <a:buNone/>
              <a:defRPr sz="3600" b="1">
                <a:solidFill>
                  <a:srgbClr val="DA291C"/>
                </a:solidFill>
                <a:latin typeface="Aptos" panose="020B0004020202020204" pitchFamily="34" charset="0"/>
              </a:defRPr>
            </a:lvl1pPr>
          </a:lstStyle>
          <a:p>
            <a:pPr lvl="0"/>
            <a:r>
              <a:rPr lang="pt-BR"/>
              <a:t>Clique para editar o texto principal</a:t>
            </a:r>
          </a:p>
        </p:txBody>
      </p:sp>
      <p:grpSp>
        <p:nvGrpSpPr>
          <p:cNvPr id="7" name="Group 11">
            <a:extLst>
              <a:ext uri="{FF2B5EF4-FFF2-40B4-BE49-F238E27FC236}">
                <a16:creationId xmlns:a16="http://schemas.microsoft.com/office/drawing/2014/main" id="{839AC0D1-C25B-BEC2-38A5-6C0C0A03A820}"/>
              </a:ext>
            </a:extLst>
          </p:cNvPr>
          <p:cNvGrpSpPr/>
          <p:nvPr/>
        </p:nvGrpSpPr>
        <p:grpSpPr>
          <a:xfrm>
            <a:off x="6686905" y="2520162"/>
            <a:ext cx="216344" cy="216344"/>
            <a:chOff x="4794103" y="1588576"/>
            <a:chExt cx="1242488" cy="1242488"/>
          </a:xfrm>
        </p:grpSpPr>
        <p:sp>
          <p:nvSpPr>
            <p:cNvPr id="8" name="Freeform 13">
              <a:extLst>
                <a:ext uri="{FF2B5EF4-FFF2-40B4-BE49-F238E27FC236}">
                  <a16:creationId xmlns:a16="http://schemas.microsoft.com/office/drawing/2014/main" id="{D8E649A7-E11B-60E3-D7AA-EC0117B283EC}"/>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9" name="Straight Connector 14">
              <a:extLst>
                <a:ext uri="{FF2B5EF4-FFF2-40B4-BE49-F238E27FC236}">
                  <a16:creationId xmlns:a16="http://schemas.microsoft.com/office/drawing/2014/main" id="{C32EBAC8-8287-BAF9-531A-ECDB0704FB39}"/>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pic>
        <p:nvPicPr>
          <p:cNvPr id="12" name="Graphic 15" descr="Seta de linha: retorno na horizontal com preenchimento sólido">
            <a:hlinkClick r:id="" action="ppaction://hlinkshowjump?jump=lastslideviewed"/>
            <a:extLst>
              <a:ext uri="{FF2B5EF4-FFF2-40B4-BE49-F238E27FC236}">
                <a16:creationId xmlns:a16="http://schemas.microsoft.com/office/drawing/2014/main" id="{05EF9444-B2B6-DFD6-58E4-A1AFE331F73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3" name="Graphic 7" descr="Fechar com preenchimento sólido">
            <a:hlinkClick r:id="" action="ppaction://hlinkshowjump?jump=lastslide"/>
            <a:extLst>
              <a:ext uri="{FF2B5EF4-FFF2-40B4-BE49-F238E27FC236}">
                <a16:creationId xmlns:a16="http://schemas.microsoft.com/office/drawing/2014/main" id="{52EB8D14-961A-8121-B1C1-9C1F273869C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19" name="layer1" descr="preencoded.png">
            <a:hlinkClick r:id="" action="ppaction://hlinkshowjump?jump=firstslide"/>
            <a:extLst>
              <a:ext uri="{FF2B5EF4-FFF2-40B4-BE49-F238E27FC236}">
                <a16:creationId xmlns:a16="http://schemas.microsoft.com/office/drawing/2014/main" id="{EE2FE52F-15FF-CA81-8D39-63538D08104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10" name="Rounded Rectangle 141">
            <a:extLst>
              <a:ext uri="{FF2B5EF4-FFF2-40B4-BE49-F238E27FC236}">
                <a16:creationId xmlns:a16="http://schemas.microsoft.com/office/drawing/2014/main" id="{83AA2206-E529-5365-350F-40F7A6B5A16C}"/>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11" name="Agrupar 10">
            <a:extLst>
              <a:ext uri="{FF2B5EF4-FFF2-40B4-BE49-F238E27FC236}">
                <a16:creationId xmlns:a16="http://schemas.microsoft.com/office/drawing/2014/main" id="{690BC95D-DC6C-A8AB-0A60-F1BBF9567459}"/>
              </a:ext>
            </a:extLst>
          </p:cNvPr>
          <p:cNvGrpSpPr/>
          <p:nvPr/>
        </p:nvGrpSpPr>
        <p:grpSpPr>
          <a:xfrm>
            <a:off x="232893" y="6274809"/>
            <a:ext cx="274453" cy="274454"/>
            <a:chOff x="10758947" y="6120020"/>
            <a:chExt cx="219971" cy="219972"/>
          </a:xfrm>
        </p:grpSpPr>
        <p:sp>
          <p:nvSpPr>
            <p:cNvPr id="14" name="Rounded Rectangle 7">
              <a:extLst>
                <a:ext uri="{FF2B5EF4-FFF2-40B4-BE49-F238E27FC236}">
                  <a16:creationId xmlns:a16="http://schemas.microsoft.com/office/drawing/2014/main" id="{33FC20FD-2B21-6FDD-8E33-4AE7B1E2FD28}"/>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15" name="Graphic 15" descr="Ícone do menu de hambúrguer com preenchimento sólido">
              <a:extLst>
                <a:ext uri="{FF2B5EF4-FFF2-40B4-BE49-F238E27FC236}">
                  <a16:creationId xmlns:a16="http://schemas.microsoft.com/office/drawing/2014/main" id="{F9015572-3C99-4B48-BEC7-341F13168011}"/>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16" name="Retângulo 15">
            <a:hlinkClick r:id="rId10" action="ppaction://hlinksldjump"/>
            <a:extLst>
              <a:ext uri="{FF2B5EF4-FFF2-40B4-BE49-F238E27FC236}">
                <a16:creationId xmlns:a16="http://schemas.microsoft.com/office/drawing/2014/main" id="{AD77B6CA-7BE5-375B-B43D-1D2A9ACACCFA}"/>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21" name="Conector Reto 20">
            <a:extLst>
              <a:ext uri="{FF2B5EF4-FFF2-40B4-BE49-F238E27FC236}">
                <a16:creationId xmlns:a16="http://schemas.microsoft.com/office/drawing/2014/main" id="{D6D8732F-20B5-EC62-BFEB-93AA831A2107}"/>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 name="Oval 1">
            <a:hlinkClick r:id="" action="ppaction://noaction"/>
            <a:extLst>
              <a:ext uri="{FF2B5EF4-FFF2-40B4-BE49-F238E27FC236}">
                <a16:creationId xmlns:a16="http://schemas.microsoft.com/office/drawing/2014/main" id="{925FCA08-F775-5FF0-83E9-8F9FA21DCC25}"/>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4" name="Rounded Rectangle 141">
            <a:hlinkClick r:id="" action="ppaction://noaction"/>
            <a:extLst>
              <a:ext uri="{FF2B5EF4-FFF2-40B4-BE49-F238E27FC236}">
                <a16:creationId xmlns:a16="http://schemas.microsoft.com/office/drawing/2014/main" id="{9C5BBBFD-56BC-A178-F2A7-79E609E91B98}"/>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Powertrain</a:t>
            </a:r>
          </a:p>
          <a:p>
            <a:r>
              <a:rPr lang="en-US" sz="1100">
                <a:solidFill>
                  <a:srgbClr val="2A2A2A"/>
                </a:solidFill>
                <a:latin typeface="Aptos" panose="020B0004020202020204" pitchFamily="34" charset="0"/>
                <a:cs typeface="Plus Jakarta Sans" pitchFamily="2" charset="77"/>
              </a:rPr>
              <a:t>Index </a:t>
            </a:r>
          </a:p>
        </p:txBody>
      </p:sp>
      <p:pic>
        <p:nvPicPr>
          <p:cNvPr id="22" name="Gráfico 21" descr="Acento Circunflexo à Direita com preenchimento sólido">
            <a:hlinkClick r:id="" action="ppaction://noaction"/>
            <a:extLst>
              <a:ext uri="{FF2B5EF4-FFF2-40B4-BE49-F238E27FC236}">
                <a16:creationId xmlns:a16="http://schemas.microsoft.com/office/drawing/2014/main" id="{39C3D3C8-E8FF-FD1A-745D-C2F9935BC54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spTree>
    <p:extLst>
      <p:ext uri="{BB962C8B-B14F-4D97-AF65-F5344CB8AC3E}">
        <p14:creationId xmlns:p14="http://schemas.microsoft.com/office/powerpoint/2010/main" val="157408727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Powertrain B6.7 EPA24">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 name="layer1" descr="preencoded.png">
            <a:hlinkClick r:id="" action="ppaction://hlinkshowjump?jump=firstslide"/>
            <a:extLst>
              <a:ext uri="{FF2B5EF4-FFF2-40B4-BE49-F238E27FC236}">
                <a16:creationId xmlns:a16="http://schemas.microsoft.com/office/drawing/2014/main" id="{9E32BA37-546D-7139-2B04-92CFA150AD0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26" name="Conector Reto 25">
            <a:extLst>
              <a:ext uri="{FF2B5EF4-FFF2-40B4-BE49-F238E27FC236}">
                <a16:creationId xmlns:a16="http://schemas.microsoft.com/office/drawing/2014/main" id="{D5E8BEA2-C3B8-8A7A-EC77-D3D8772198E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7" name="Rounded Rectangle 141">
            <a:extLst>
              <a:ext uri="{FF2B5EF4-FFF2-40B4-BE49-F238E27FC236}">
                <a16:creationId xmlns:a16="http://schemas.microsoft.com/office/drawing/2014/main" id="{33A417C3-D135-41C1-1F7F-D84E08575670}"/>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31" name="Agrupar 30">
            <a:extLst>
              <a:ext uri="{FF2B5EF4-FFF2-40B4-BE49-F238E27FC236}">
                <a16:creationId xmlns:a16="http://schemas.microsoft.com/office/drawing/2014/main" id="{679BEE9F-05BB-A71F-195C-B0800C7E870D}"/>
              </a:ext>
            </a:extLst>
          </p:cNvPr>
          <p:cNvGrpSpPr/>
          <p:nvPr/>
        </p:nvGrpSpPr>
        <p:grpSpPr>
          <a:xfrm>
            <a:off x="232893" y="6274809"/>
            <a:ext cx="274453" cy="274454"/>
            <a:chOff x="10758947" y="6120020"/>
            <a:chExt cx="219971" cy="219972"/>
          </a:xfrm>
        </p:grpSpPr>
        <p:sp>
          <p:nvSpPr>
            <p:cNvPr id="32" name="Rounded Rectangle 7">
              <a:extLst>
                <a:ext uri="{FF2B5EF4-FFF2-40B4-BE49-F238E27FC236}">
                  <a16:creationId xmlns:a16="http://schemas.microsoft.com/office/drawing/2014/main" id="{D4DACB28-B3EE-1288-6E9C-ACE750F3B006}"/>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33" name="Graphic 15" descr="Ícone do menu de hambúrguer com preenchimento sólido">
              <a:extLst>
                <a:ext uri="{FF2B5EF4-FFF2-40B4-BE49-F238E27FC236}">
                  <a16:creationId xmlns:a16="http://schemas.microsoft.com/office/drawing/2014/main" id="{48007976-7D61-E758-4BC8-E122714F44C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34" name="Retângulo 33">
            <a:hlinkClick r:id="rId10" action="ppaction://hlinksldjump"/>
            <a:extLst>
              <a:ext uri="{FF2B5EF4-FFF2-40B4-BE49-F238E27FC236}">
                <a16:creationId xmlns:a16="http://schemas.microsoft.com/office/drawing/2014/main" id="{A6823FF8-6399-2477-9828-8220A20E07B8}"/>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4" name="Group 11">
            <a:extLst>
              <a:ext uri="{FF2B5EF4-FFF2-40B4-BE49-F238E27FC236}">
                <a16:creationId xmlns:a16="http://schemas.microsoft.com/office/drawing/2014/main" id="{E9DDC5DE-52BB-94D7-E15B-76DA38D378F4}"/>
              </a:ext>
            </a:extLst>
          </p:cNvPr>
          <p:cNvGrpSpPr/>
          <p:nvPr/>
        </p:nvGrpSpPr>
        <p:grpSpPr>
          <a:xfrm>
            <a:off x="1111657" y="461518"/>
            <a:ext cx="216344" cy="216344"/>
            <a:chOff x="4794103" y="1588576"/>
            <a:chExt cx="1242488" cy="1242488"/>
          </a:xfrm>
        </p:grpSpPr>
        <p:sp>
          <p:nvSpPr>
            <p:cNvPr id="5" name="Freeform 13">
              <a:extLst>
                <a:ext uri="{FF2B5EF4-FFF2-40B4-BE49-F238E27FC236}">
                  <a16:creationId xmlns:a16="http://schemas.microsoft.com/office/drawing/2014/main" id="{6A0E37DF-2C3F-93DC-E1E9-E8CFC9C3D2ED}"/>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a:solidFill>
                <a:srgbClr val="787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14">
              <a:extLst>
                <a:ext uri="{FF2B5EF4-FFF2-40B4-BE49-F238E27FC236}">
                  <a16:creationId xmlns:a16="http://schemas.microsoft.com/office/drawing/2014/main" id="{60DEC432-3625-E192-9C29-A7F9A7A83E09}"/>
                </a:ext>
              </a:extLst>
            </p:cNvPr>
            <p:cNvCxnSpPr>
              <a:cxnSpLocks/>
            </p:cNvCxnSpPr>
            <p:nvPr/>
          </p:nvCxnSpPr>
          <p:spPr>
            <a:xfrm flipV="1">
              <a:off x="4794103" y="1588577"/>
              <a:ext cx="1242488" cy="1242487"/>
            </a:xfrm>
            <a:prstGeom prst="line">
              <a:avLst/>
            </a:prstGeom>
            <a:ln w="12700">
              <a:solidFill>
                <a:srgbClr val="787877"/>
              </a:solidFill>
            </a:ln>
          </p:spPr>
          <p:style>
            <a:lnRef idx="1">
              <a:schemeClr val="accent1"/>
            </a:lnRef>
            <a:fillRef idx="0">
              <a:schemeClr val="accent1"/>
            </a:fillRef>
            <a:effectRef idx="0">
              <a:schemeClr val="accent1"/>
            </a:effectRef>
            <a:fontRef idx="minor">
              <a:schemeClr val="tx1"/>
            </a:fontRef>
          </p:style>
        </p:cxnSp>
      </p:grpSp>
      <p:sp>
        <p:nvSpPr>
          <p:cNvPr id="7" name="CaixaDeTexto 6">
            <a:extLst>
              <a:ext uri="{FF2B5EF4-FFF2-40B4-BE49-F238E27FC236}">
                <a16:creationId xmlns:a16="http://schemas.microsoft.com/office/drawing/2014/main" id="{AB9D94A8-FA83-BBB3-502C-D3FC450B3488}"/>
              </a:ext>
            </a:extLst>
          </p:cNvPr>
          <p:cNvSpPr txBox="1"/>
          <p:nvPr/>
        </p:nvSpPr>
        <p:spPr>
          <a:xfrm>
            <a:off x="1341120" y="370070"/>
            <a:ext cx="6096000" cy="338554"/>
          </a:xfrm>
          <a:prstGeom prst="rect">
            <a:avLst/>
          </a:prstGeom>
          <a:noFill/>
        </p:spPr>
        <p:txBody>
          <a:bodyPr wrap="squar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rPr>
              <a:t>B6.7</a:t>
            </a:r>
          </a:p>
        </p:txBody>
      </p:sp>
      <p:sp>
        <p:nvSpPr>
          <p:cNvPr id="8" name="Espaço Reservado para Texto 2">
            <a:extLst>
              <a:ext uri="{FF2B5EF4-FFF2-40B4-BE49-F238E27FC236}">
                <a16:creationId xmlns:a16="http://schemas.microsoft.com/office/drawing/2014/main" id="{3A39E4A7-D78F-7F9B-547C-8969B8C911DE}"/>
              </a:ext>
            </a:extLst>
          </p:cNvPr>
          <p:cNvSpPr>
            <a:spLocks noGrp="1"/>
          </p:cNvSpPr>
          <p:nvPr>
            <p:ph idx="1" hasCustomPrompt="1"/>
          </p:nvPr>
        </p:nvSpPr>
        <p:spPr>
          <a:xfrm>
            <a:off x="1307888" y="669494"/>
            <a:ext cx="7419423"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pic>
        <p:nvPicPr>
          <p:cNvPr id="9" name="Picture 14">
            <a:extLst>
              <a:ext uri="{FF2B5EF4-FFF2-40B4-BE49-F238E27FC236}">
                <a16:creationId xmlns:a16="http://schemas.microsoft.com/office/drawing/2014/main" id="{5AEBCB93-A09A-302C-30F9-52E98B641BBF}"/>
              </a:ext>
            </a:extLst>
          </p:cNvPr>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125795" y="643920"/>
            <a:ext cx="1328938" cy="420091"/>
          </a:xfrm>
          <a:prstGeom prst="rect">
            <a:avLst/>
          </a:prstGeom>
        </p:spPr>
      </p:pic>
      <p:sp>
        <p:nvSpPr>
          <p:cNvPr id="3" name="Oval 2">
            <a:hlinkClick r:id="" action="ppaction://noaction"/>
            <a:extLst>
              <a:ext uri="{FF2B5EF4-FFF2-40B4-BE49-F238E27FC236}">
                <a16:creationId xmlns:a16="http://schemas.microsoft.com/office/drawing/2014/main" id="{55BDFEAE-8ED0-8E78-E595-7D66A1811BC0}"/>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0" name="Rounded Rectangle 141">
            <a:hlinkClick r:id="" action="ppaction://noaction"/>
            <a:extLst>
              <a:ext uri="{FF2B5EF4-FFF2-40B4-BE49-F238E27FC236}">
                <a16:creationId xmlns:a16="http://schemas.microsoft.com/office/drawing/2014/main" id="{B91F7836-B2ED-B598-51B6-134A12752A5F}"/>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Powertrain</a:t>
            </a:r>
          </a:p>
          <a:p>
            <a:r>
              <a:rPr lang="en-US" sz="1100">
                <a:solidFill>
                  <a:srgbClr val="2A2A2A"/>
                </a:solidFill>
                <a:latin typeface="Aptos" panose="020B0004020202020204" pitchFamily="34" charset="0"/>
                <a:cs typeface="Plus Jakarta Sans" pitchFamily="2" charset="77"/>
              </a:rPr>
              <a:t>Index </a:t>
            </a:r>
          </a:p>
        </p:txBody>
      </p:sp>
      <p:pic>
        <p:nvPicPr>
          <p:cNvPr id="13" name="Gráfico 12" descr="Acento Circunflexo à Direita com preenchimento sólido">
            <a:hlinkClick r:id="" action="ppaction://noaction"/>
            <a:extLst>
              <a:ext uri="{FF2B5EF4-FFF2-40B4-BE49-F238E27FC236}">
                <a16:creationId xmlns:a16="http://schemas.microsoft.com/office/drawing/2014/main" id="{68281E4B-FFD4-3049-8444-6F9CA35140C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7141" y="6291508"/>
            <a:ext cx="274320" cy="274320"/>
          </a:xfrm>
          <a:prstGeom prst="rect">
            <a:avLst/>
          </a:prstGeom>
        </p:spPr>
      </p:pic>
    </p:spTree>
    <p:extLst>
      <p:ext uri="{BB962C8B-B14F-4D97-AF65-F5344CB8AC3E}">
        <p14:creationId xmlns:p14="http://schemas.microsoft.com/office/powerpoint/2010/main" val="250255644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Powertrain L9">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 name="layer1" descr="preencoded.png">
            <a:hlinkClick r:id="" action="ppaction://hlinkshowjump?jump=firstslide"/>
            <a:extLst>
              <a:ext uri="{FF2B5EF4-FFF2-40B4-BE49-F238E27FC236}">
                <a16:creationId xmlns:a16="http://schemas.microsoft.com/office/drawing/2014/main" id="{9E32BA37-546D-7139-2B04-92CFA150AD0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26" name="Conector Reto 25">
            <a:extLst>
              <a:ext uri="{FF2B5EF4-FFF2-40B4-BE49-F238E27FC236}">
                <a16:creationId xmlns:a16="http://schemas.microsoft.com/office/drawing/2014/main" id="{D5E8BEA2-C3B8-8A7A-EC77-D3D8772198E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7" name="Rounded Rectangle 141">
            <a:extLst>
              <a:ext uri="{FF2B5EF4-FFF2-40B4-BE49-F238E27FC236}">
                <a16:creationId xmlns:a16="http://schemas.microsoft.com/office/drawing/2014/main" id="{33A417C3-D135-41C1-1F7F-D84E08575670}"/>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31" name="Agrupar 30">
            <a:extLst>
              <a:ext uri="{FF2B5EF4-FFF2-40B4-BE49-F238E27FC236}">
                <a16:creationId xmlns:a16="http://schemas.microsoft.com/office/drawing/2014/main" id="{679BEE9F-05BB-A71F-195C-B0800C7E870D}"/>
              </a:ext>
            </a:extLst>
          </p:cNvPr>
          <p:cNvGrpSpPr/>
          <p:nvPr/>
        </p:nvGrpSpPr>
        <p:grpSpPr>
          <a:xfrm>
            <a:off x="232893" y="6274809"/>
            <a:ext cx="274453" cy="274454"/>
            <a:chOff x="10758947" y="6120020"/>
            <a:chExt cx="219971" cy="219972"/>
          </a:xfrm>
        </p:grpSpPr>
        <p:sp>
          <p:nvSpPr>
            <p:cNvPr id="32" name="Rounded Rectangle 7">
              <a:extLst>
                <a:ext uri="{FF2B5EF4-FFF2-40B4-BE49-F238E27FC236}">
                  <a16:creationId xmlns:a16="http://schemas.microsoft.com/office/drawing/2014/main" id="{D4DACB28-B3EE-1288-6E9C-ACE750F3B006}"/>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33" name="Graphic 15" descr="Ícone do menu de hambúrguer com preenchimento sólido">
              <a:extLst>
                <a:ext uri="{FF2B5EF4-FFF2-40B4-BE49-F238E27FC236}">
                  <a16:creationId xmlns:a16="http://schemas.microsoft.com/office/drawing/2014/main" id="{48007976-7D61-E758-4BC8-E122714F44C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34" name="Retângulo 33">
            <a:hlinkClick r:id="rId10" action="ppaction://hlinksldjump"/>
            <a:extLst>
              <a:ext uri="{FF2B5EF4-FFF2-40B4-BE49-F238E27FC236}">
                <a16:creationId xmlns:a16="http://schemas.microsoft.com/office/drawing/2014/main" id="{A6823FF8-6399-2477-9828-8220A20E07B8}"/>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4" name="Group 11">
            <a:extLst>
              <a:ext uri="{FF2B5EF4-FFF2-40B4-BE49-F238E27FC236}">
                <a16:creationId xmlns:a16="http://schemas.microsoft.com/office/drawing/2014/main" id="{E9DDC5DE-52BB-94D7-E15B-76DA38D378F4}"/>
              </a:ext>
            </a:extLst>
          </p:cNvPr>
          <p:cNvGrpSpPr/>
          <p:nvPr/>
        </p:nvGrpSpPr>
        <p:grpSpPr>
          <a:xfrm>
            <a:off x="1111657" y="461518"/>
            <a:ext cx="216344" cy="216344"/>
            <a:chOff x="4794103" y="1588576"/>
            <a:chExt cx="1242488" cy="1242488"/>
          </a:xfrm>
        </p:grpSpPr>
        <p:sp>
          <p:nvSpPr>
            <p:cNvPr id="5" name="Freeform 13">
              <a:extLst>
                <a:ext uri="{FF2B5EF4-FFF2-40B4-BE49-F238E27FC236}">
                  <a16:creationId xmlns:a16="http://schemas.microsoft.com/office/drawing/2014/main" id="{6A0E37DF-2C3F-93DC-E1E9-E8CFC9C3D2ED}"/>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a:solidFill>
                <a:srgbClr val="787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14">
              <a:extLst>
                <a:ext uri="{FF2B5EF4-FFF2-40B4-BE49-F238E27FC236}">
                  <a16:creationId xmlns:a16="http://schemas.microsoft.com/office/drawing/2014/main" id="{60DEC432-3625-E192-9C29-A7F9A7A83E09}"/>
                </a:ext>
              </a:extLst>
            </p:cNvPr>
            <p:cNvCxnSpPr>
              <a:cxnSpLocks/>
            </p:cNvCxnSpPr>
            <p:nvPr/>
          </p:nvCxnSpPr>
          <p:spPr>
            <a:xfrm flipV="1">
              <a:off x="4794103" y="1588577"/>
              <a:ext cx="1242488" cy="1242487"/>
            </a:xfrm>
            <a:prstGeom prst="line">
              <a:avLst/>
            </a:prstGeom>
            <a:ln w="12700">
              <a:solidFill>
                <a:srgbClr val="787877"/>
              </a:solidFill>
            </a:ln>
          </p:spPr>
          <p:style>
            <a:lnRef idx="1">
              <a:schemeClr val="accent1"/>
            </a:lnRef>
            <a:fillRef idx="0">
              <a:schemeClr val="accent1"/>
            </a:fillRef>
            <a:effectRef idx="0">
              <a:schemeClr val="accent1"/>
            </a:effectRef>
            <a:fontRef idx="minor">
              <a:schemeClr val="tx1"/>
            </a:fontRef>
          </p:style>
        </p:cxnSp>
      </p:grpSp>
      <p:sp>
        <p:nvSpPr>
          <p:cNvPr id="7" name="CaixaDeTexto 6">
            <a:extLst>
              <a:ext uri="{FF2B5EF4-FFF2-40B4-BE49-F238E27FC236}">
                <a16:creationId xmlns:a16="http://schemas.microsoft.com/office/drawing/2014/main" id="{AB9D94A8-FA83-BBB3-502C-D3FC450B3488}"/>
              </a:ext>
            </a:extLst>
          </p:cNvPr>
          <p:cNvSpPr txBox="1"/>
          <p:nvPr/>
        </p:nvSpPr>
        <p:spPr>
          <a:xfrm>
            <a:off x="1341120" y="370070"/>
            <a:ext cx="6096000" cy="338554"/>
          </a:xfrm>
          <a:prstGeom prst="rect">
            <a:avLst/>
          </a:prstGeom>
          <a:noFill/>
        </p:spPr>
        <p:txBody>
          <a:bodyPr wrap="square">
            <a:spAutoFit/>
          </a:bodyPr>
          <a:lstStyle/>
          <a:p>
            <a:pPr defTabSz="914354">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rPr>
              <a:t>L9</a:t>
            </a:r>
            <a:endParaRPr kumimoji="0" lang="en-GB" sz="2800" b="1" i="0" u="none" strike="noStrike" kern="1200" cap="none" spc="0" normalizeH="0" baseline="0" noProof="0" dirty="0">
              <a:ln>
                <a:noFill/>
              </a:ln>
              <a:solidFill>
                <a:srgbClr val="DA291C"/>
              </a:solidFill>
              <a:effectLst/>
              <a:uLnTx/>
              <a:uFillTx/>
              <a:latin typeface="Aptos" panose="020B0004020202020204" pitchFamily="34" charset="0"/>
              <a:ea typeface="+mn-ea"/>
              <a:cs typeface="+mn-cs"/>
            </a:endParaRPr>
          </a:p>
        </p:txBody>
      </p:sp>
      <p:sp>
        <p:nvSpPr>
          <p:cNvPr id="8" name="Espaço Reservado para Texto 2">
            <a:extLst>
              <a:ext uri="{FF2B5EF4-FFF2-40B4-BE49-F238E27FC236}">
                <a16:creationId xmlns:a16="http://schemas.microsoft.com/office/drawing/2014/main" id="{3A39E4A7-D78F-7F9B-547C-8969B8C911DE}"/>
              </a:ext>
            </a:extLst>
          </p:cNvPr>
          <p:cNvSpPr>
            <a:spLocks noGrp="1"/>
          </p:cNvSpPr>
          <p:nvPr>
            <p:ph idx="1" hasCustomPrompt="1"/>
          </p:nvPr>
        </p:nvSpPr>
        <p:spPr>
          <a:xfrm>
            <a:off x="1307888" y="669494"/>
            <a:ext cx="7419423"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pic>
        <p:nvPicPr>
          <p:cNvPr id="9" name="Picture 5">
            <a:extLst>
              <a:ext uri="{FF2B5EF4-FFF2-40B4-BE49-F238E27FC236}">
                <a16:creationId xmlns:a16="http://schemas.microsoft.com/office/drawing/2014/main" id="{42921115-728A-618E-BFAD-0F504C568354}"/>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10392227" y="603767"/>
            <a:ext cx="962512" cy="416960"/>
          </a:xfrm>
          <a:prstGeom prst="rect">
            <a:avLst/>
          </a:prstGeom>
        </p:spPr>
      </p:pic>
      <p:sp>
        <p:nvSpPr>
          <p:cNvPr id="3" name="Oval 2">
            <a:hlinkClick r:id="" action="ppaction://noaction"/>
            <a:extLst>
              <a:ext uri="{FF2B5EF4-FFF2-40B4-BE49-F238E27FC236}">
                <a16:creationId xmlns:a16="http://schemas.microsoft.com/office/drawing/2014/main" id="{41C5379B-0535-48BA-F9C1-BD735372F6A5}"/>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0" name="Rounded Rectangle 141">
            <a:hlinkClick r:id="" action="ppaction://noaction"/>
            <a:extLst>
              <a:ext uri="{FF2B5EF4-FFF2-40B4-BE49-F238E27FC236}">
                <a16:creationId xmlns:a16="http://schemas.microsoft.com/office/drawing/2014/main" id="{C12D61CC-0A95-A059-608A-C8B65B03ED45}"/>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Powertrain</a:t>
            </a:r>
          </a:p>
          <a:p>
            <a:r>
              <a:rPr lang="en-US" sz="1100">
                <a:solidFill>
                  <a:srgbClr val="2A2A2A"/>
                </a:solidFill>
                <a:latin typeface="Aptos" panose="020B0004020202020204" pitchFamily="34" charset="0"/>
                <a:cs typeface="Plus Jakarta Sans" pitchFamily="2" charset="77"/>
              </a:rPr>
              <a:t>Index </a:t>
            </a:r>
          </a:p>
        </p:txBody>
      </p:sp>
      <p:pic>
        <p:nvPicPr>
          <p:cNvPr id="13" name="Gráfico 12" descr="Acento Circunflexo à Direita com preenchimento sólido">
            <a:hlinkClick r:id="" action="ppaction://noaction"/>
            <a:extLst>
              <a:ext uri="{FF2B5EF4-FFF2-40B4-BE49-F238E27FC236}">
                <a16:creationId xmlns:a16="http://schemas.microsoft.com/office/drawing/2014/main" id="{A397AB7B-EA20-2607-6E11-5368C270AC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7141" y="6291508"/>
            <a:ext cx="274320" cy="274320"/>
          </a:xfrm>
          <a:prstGeom prst="rect">
            <a:avLst/>
          </a:prstGeom>
        </p:spPr>
      </p:pic>
    </p:spTree>
    <p:extLst>
      <p:ext uri="{BB962C8B-B14F-4D97-AF65-F5344CB8AC3E}">
        <p14:creationId xmlns:p14="http://schemas.microsoft.com/office/powerpoint/2010/main" val="128087881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Powertrain X10">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 name="layer1" descr="preencoded.png">
            <a:hlinkClick r:id="" action="ppaction://hlinkshowjump?jump=firstslide"/>
            <a:extLst>
              <a:ext uri="{FF2B5EF4-FFF2-40B4-BE49-F238E27FC236}">
                <a16:creationId xmlns:a16="http://schemas.microsoft.com/office/drawing/2014/main" id="{9E32BA37-546D-7139-2B04-92CFA150AD0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26" name="Conector Reto 25">
            <a:extLst>
              <a:ext uri="{FF2B5EF4-FFF2-40B4-BE49-F238E27FC236}">
                <a16:creationId xmlns:a16="http://schemas.microsoft.com/office/drawing/2014/main" id="{D5E8BEA2-C3B8-8A7A-EC77-D3D8772198E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7" name="Rounded Rectangle 141">
            <a:extLst>
              <a:ext uri="{FF2B5EF4-FFF2-40B4-BE49-F238E27FC236}">
                <a16:creationId xmlns:a16="http://schemas.microsoft.com/office/drawing/2014/main" id="{33A417C3-D135-41C1-1F7F-D84E08575670}"/>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31" name="Agrupar 30">
            <a:extLst>
              <a:ext uri="{FF2B5EF4-FFF2-40B4-BE49-F238E27FC236}">
                <a16:creationId xmlns:a16="http://schemas.microsoft.com/office/drawing/2014/main" id="{679BEE9F-05BB-A71F-195C-B0800C7E870D}"/>
              </a:ext>
            </a:extLst>
          </p:cNvPr>
          <p:cNvGrpSpPr/>
          <p:nvPr/>
        </p:nvGrpSpPr>
        <p:grpSpPr>
          <a:xfrm>
            <a:off x="232893" y="6274809"/>
            <a:ext cx="274453" cy="274454"/>
            <a:chOff x="10758947" y="6120020"/>
            <a:chExt cx="219971" cy="219972"/>
          </a:xfrm>
        </p:grpSpPr>
        <p:sp>
          <p:nvSpPr>
            <p:cNvPr id="32" name="Rounded Rectangle 7">
              <a:extLst>
                <a:ext uri="{FF2B5EF4-FFF2-40B4-BE49-F238E27FC236}">
                  <a16:creationId xmlns:a16="http://schemas.microsoft.com/office/drawing/2014/main" id="{D4DACB28-B3EE-1288-6E9C-ACE750F3B006}"/>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33" name="Graphic 15" descr="Ícone do menu de hambúrguer com preenchimento sólido">
              <a:extLst>
                <a:ext uri="{FF2B5EF4-FFF2-40B4-BE49-F238E27FC236}">
                  <a16:creationId xmlns:a16="http://schemas.microsoft.com/office/drawing/2014/main" id="{48007976-7D61-E758-4BC8-E122714F44C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34" name="Retângulo 33">
            <a:hlinkClick r:id="rId10" action="ppaction://hlinksldjump"/>
            <a:extLst>
              <a:ext uri="{FF2B5EF4-FFF2-40B4-BE49-F238E27FC236}">
                <a16:creationId xmlns:a16="http://schemas.microsoft.com/office/drawing/2014/main" id="{A6823FF8-6399-2477-9828-8220A20E07B8}"/>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4" name="Group 11">
            <a:extLst>
              <a:ext uri="{FF2B5EF4-FFF2-40B4-BE49-F238E27FC236}">
                <a16:creationId xmlns:a16="http://schemas.microsoft.com/office/drawing/2014/main" id="{E9DDC5DE-52BB-94D7-E15B-76DA38D378F4}"/>
              </a:ext>
            </a:extLst>
          </p:cNvPr>
          <p:cNvGrpSpPr/>
          <p:nvPr/>
        </p:nvGrpSpPr>
        <p:grpSpPr>
          <a:xfrm>
            <a:off x="1111657" y="461518"/>
            <a:ext cx="216344" cy="216344"/>
            <a:chOff x="4794103" y="1588576"/>
            <a:chExt cx="1242488" cy="1242488"/>
          </a:xfrm>
        </p:grpSpPr>
        <p:sp>
          <p:nvSpPr>
            <p:cNvPr id="5" name="Freeform 13">
              <a:extLst>
                <a:ext uri="{FF2B5EF4-FFF2-40B4-BE49-F238E27FC236}">
                  <a16:creationId xmlns:a16="http://schemas.microsoft.com/office/drawing/2014/main" id="{6A0E37DF-2C3F-93DC-E1E9-E8CFC9C3D2ED}"/>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a:solidFill>
                <a:srgbClr val="787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14">
              <a:extLst>
                <a:ext uri="{FF2B5EF4-FFF2-40B4-BE49-F238E27FC236}">
                  <a16:creationId xmlns:a16="http://schemas.microsoft.com/office/drawing/2014/main" id="{60DEC432-3625-E192-9C29-A7F9A7A83E09}"/>
                </a:ext>
              </a:extLst>
            </p:cNvPr>
            <p:cNvCxnSpPr>
              <a:cxnSpLocks/>
            </p:cNvCxnSpPr>
            <p:nvPr/>
          </p:nvCxnSpPr>
          <p:spPr>
            <a:xfrm flipV="1">
              <a:off x="4794103" y="1588577"/>
              <a:ext cx="1242488" cy="1242487"/>
            </a:xfrm>
            <a:prstGeom prst="line">
              <a:avLst/>
            </a:prstGeom>
            <a:ln w="12700">
              <a:solidFill>
                <a:srgbClr val="787877"/>
              </a:solidFill>
            </a:ln>
          </p:spPr>
          <p:style>
            <a:lnRef idx="1">
              <a:schemeClr val="accent1"/>
            </a:lnRef>
            <a:fillRef idx="0">
              <a:schemeClr val="accent1"/>
            </a:fillRef>
            <a:effectRef idx="0">
              <a:schemeClr val="accent1"/>
            </a:effectRef>
            <a:fontRef idx="minor">
              <a:schemeClr val="tx1"/>
            </a:fontRef>
          </p:style>
        </p:cxnSp>
      </p:grpSp>
      <p:sp>
        <p:nvSpPr>
          <p:cNvPr id="7" name="CaixaDeTexto 6">
            <a:extLst>
              <a:ext uri="{FF2B5EF4-FFF2-40B4-BE49-F238E27FC236}">
                <a16:creationId xmlns:a16="http://schemas.microsoft.com/office/drawing/2014/main" id="{AB9D94A8-FA83-BBB3-502C-D3FC450B3488}"/>
              </a:ext>
            </a:extLst>
          </p:cNvPr>
          <p:cNvSpPr txBox="1"/>
          <p:nvPr/>
        </p:nvSpPr>
        <p:spPr>
          <a:xfrm>
            <a:off x="1341120" y="370070"/>
            <a:ext cx="6096000" cy="338554"/>
          </a:xfrm>
          <a:prstGeom prst="rect">
            <a:avLst/>
          </a:prstGeom>
          <a:noFill/>
        </p:spPr>
        <p:txBody>
          <a:bodyPr wrap="square">
            <a:spAutoFit/>
          </a:bodyPr>
          <a:lstStyle/>
          <a:p>
            <a:pPr defTabSz="914354">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rPr>
              <a:t>X10</a:t>
            </a:r>
            <a:endParaRPr kumimoji="0" lang="en-GB" sz="2800" b="1" i="0" u="none" strike="noStrike" kern="1200" cap="none" spc="0" normalizeH="0" baseline="0" noProof="0" dirty="0">
              <a:ln>
                <a:noFill/>
              </a:ln>
              <a:solidFill>
                <a:srgbClr val="DA291C"/>
              </a:solidFill>
              <a:effectLst/>
              <a:uLnTx/>
              <a:uFillTx/>
              <a:latin typeface="Aptos" panose="020B0004020202020204" pitchFamily="34" charset="0"/>
              <a:ea typeface="+mn-ea"/>
              <a:cs typeface="+mn-cs"/>
            </a:endParaRPr>
          </a:p>
        </p:txBody>
      </p:sp>
      <p:sp>
        <p:nvSpPr>
          <p:cNvPr id="8" name="Espaço Reservado para Texto 2">
            <a:extLst>
              <a:ext uri="{FF2B5EF4-FFF2-40B4-BE49-F238E27FC236}">
                <a16:creationId xmlns:a16="http://schemas.microsoft.com/office/drawing/2014/main" id="{3A39E4A7-D78F-7F9B-547C-8969B8C911DE}"/>
              </a:ext>
            </a:extLst>
          </p:cNvPr>
          <p:cNvSpPr>
            <a:spLocks noGrp="1"/>
          </p:cNvSpPr>
          <p:nvPr>
            <p:ph idx="1" hasCustomPrompt="1"/>
          </p:nvPr>
        </p:nvSpPr>
        <p:spPr>
          <a:xfrm>
            <a:off x="1307888" y="669494"/>
            <a:ext cx="7419423"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pic>
        <p:nvPicPr>
          <p:cNvPr id="3" name="Picture 48" descr="A red and black logo&#10;&#10;Description automatically generated">
            <a:extLst>
              <a:ext uri="{FF2B5EF4-FFF2-40B4-BE49-F238E27FC236}">
                <a16:creationId xmlns:a16="http://schemas.microsoft.com/office/drawing/2014/main" id="{06C6B63E-E449-39F2-F94E-85B69D1D6F8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144234" y="616689"/>
            <a:ext cx="1199509" cy="433348"/>
          </a:xfrm>
          <a:prstGeom prst="rect">
            <a:avLst/>
          </a:prstGeom>
        </p:spPr>
      </p:pic>
      <p:sp>
        <p:nvSpPr>
          <p:cNvPr id="9" name="Oval 8">
            <a:hlinkClick r:id="" action="ppaction://noaction"/>
            <a:extLst>
              <a:ext uri="{FF2B5EF4-FFF2-40B4-BE49-F238E27FC236}">
                <a16:creationId xmlns:a16="http://schemas.microsoft.com/office/drawing/2014/main" id="{4CEDE557-DA3B-FC6A-78AE-D0E0B5A9722F}"/>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0" name="Rounded Rectangle 141">
            <a:hlinkClick r:id="" action="ppaction://noaction"/>
            <a:extLst>
              <a:ext uri="{FF2B5EF4-FFF2-40B4-BE49-F238E27FC236}">
                <a16:creationId xmlns:a16="http://schemas.microsoft.com/office/drawing/2014/main" id="{B0502A45-4269-0ECA-6B14-502E89DFF2AC}"/>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Powertrain</a:t>
            </a:r>
          </a:p>
          <a:p>
            <a:r>
              <a:rPr lang="en-US" sz="1100">
                <a:solidFill>
                  <a:srgbClr val="2A2A2A"/>
                </a:solidFill>
                <a:latin typeface="Aptos" panose="020B0004020202020204" pitchFamily="34" charset="0"/>
                <a:cs typeface="Plus Jakarta Sans" pitchFamily="2" charset="77"/>
              </a:rPr>
              <a:t>Index </a:t>
            </a:r>
          </a:p>
        </p:txBody>
      </p:sp>
      <p:pic>
        <p:nvPicPr>
          <p:cNvPr id="13" name="Gráfico 12" descr="Acento Circunflexo à Direita com preenchimento sólido">
            <a:hlinkClick r:id="" action="ppaction://noaction"/>
            <a:extLst>
              <a:ext uri="{FF2B5EF4-FFF2-40B4-BE49-F238E27FC236}">
                <a16:creationId xmlns:a16="http://schemas.microsoft.com/office/drawing/2014/main" id="{439799AA-272C-0382-E7F4-68ADD3BD874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7141" y="6291508"/>
            <a:ext cx="274320" cy="274320"/>
          </a:xfrm>
          <a:prstGeom prst="rect">
            <a:avLst/>
          </a:prstGeom>
        </p:spPr>
      </p:pic>
    </p:spTree>
    <p:extLst>
      <p:ext uri="{BB962C8B-B14F-4D97-AF65-F5344CB8AC3E}">
        <p14:creationId xmlns:p14="http://schemas.microsoft.com/office/powerpoint/2010/main" val="180287893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Powertrain X12">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 name="layer1" descr="preencoded.png">
            <a:hlinkClick r:id="" action="ppaction://hlinkshowjump?jump=firstslide"/>
            <a:extLst>
              <a:ext uri="{FF2B5EF4-FFF2-40B4-BE49-F238E27FC236}">
                <a16:creationId xmlns:a16="http://schemas.microsoft.com/office/drawing/2014/main" id="{9E32BA37-546D-7139-2B04-92CFA150AD0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26" name="Conector Reto 25">
            <a:extLst>
              <a:ext uri="{FF2B5EF4-FFF2-40B4-BE49-F238E27FC236}">
                <a16:creationId xmlns:a16="http://schemas.microsoft.com/office/drawing/2014/main" id="{D5E8BEA2-C3B8-8A7A-EC77-D3D8772198E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7" name="Rounded Rectangle 141">
            <a:extLst>
              <a:ext uri="{FF2B5EF4-FFF2-40B4-BE49-F238E27FC236}">
                <a16:creationId xmlns:a16="http://schemas.microsoft.com/office/drawing/2014/main" id="{33A417C3-D135-41C1-1F7F-D84E08575670}"/>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31" name="Agrupar 30">
            <a:extLst>
              <a:ext uri="{FF2B5EF4-FFF2-40B4-BE49-F238E27FC236}">
                <a16:creationId xmlns:a16="http://schemas.microsoft.com/office/drawing/2014/main" id="{679BEE9F-05BB-A71F-195C-B0800C7E870D}"/>
              </a:ext>
            </a:extLst>
          </p:cNvPr>
          <p:cNvGrpSpPr/>
          <p:nvPr/>
        </p:nvGrpSpPr>
        <p:grpSpPr>
          <a:xfrm>
            <a:off x="232893" y="6274809"/>
            <a:ext cx="274453" cy="274454"/>
            <a:chOff x="10758947" y="6120020"/>
            <a:chExt cx="219971" cy="219972"/>
          </a:xfrm>
        </p:grpSpPr>
        <p:sp>
          <p:nvSpPr>
            <p:cNvPr id="32" name="Rounded Rectangle 7">
              <a:extLst>
                <a:ext uri="{FF2B5EF4-FFF2-40B4-BE49-F238E27FC236}">
                  <a16:creationId xmlns:a16="http://schemas.microsoft.com/office/drawing/2014/main" id="{D4DACB28-B3EE-1288-6E9C-ACE750F3B006}"/>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33" name="Graphic 15" descr="Ícone do menu de hambúrguer com preenchimento sólido">
              <a:extLst>
                <a:ext uri="{FF2B5EF4-FFF2-40B4-BE49-F238E27FC236}">
                  <a16:creationId xmlns:a16="http://schemas.microsoft.com/office/drawing/2014/main" id="{48007976-7D61-E758-4BC8-E122714F44C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34" name="Retângulo 33">
            <a:hlinkClick r:id="rId10" action="ppaction://hlinksldjump"/>
            <a:extLst>
              <a:ext uri="{FF2B5EF4-FFF2-40B4-BE49-F238E27FC236}">
                <a16:creationId xmlns:a16="http://schemas.microsoft.com/office/drawing/2014/main" id="{A6823FF8-6399-2477-9828-8220A20E07B8}"/>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4" name="Group 11">
            <a:extLst>
              <a:ext uri="{FF2B5EF4-FFF2-40B4-BE49-F238E27FC236}">
                <a16:creationId xmlns:a16="http://schemas.microsoft.com/office/drawing/2014/main" id="{E9DDC5DE-52BB-94D7-E15B-76DA38D378F4}"/>
              </a:ext>
            </a:extLst>
          </p:cNvPr>
          <p:cNvGrpSpPr/>
          <p:nvPr/>
        </p:nvGrpSpPr>
        <p:grpSpPr>
          <a:xfrm>
            <a:off x="1111657" y="461518"/>
            <a:ext cx="216344" cy="216344"/>
            <a:chOff x="4794103" y="1588576"/>
            <a:chExt cx="1242488" cy="1242488"/>
          </a:xfrm>
        </p:grpSpPr>
        <p:sp>
          <p:nvSpPr>
            <p:cNvPr id="5" name="Freeform 13">
              <a:extLst>
                <a:ext uri="{FF2B5EF4-FFF2-40B4-BE49-F238E27FC236}">
                  <a16:creationId xmlns:a16="http://schemas.microsoft.com/office/drawing/2014/main" id="{6A0E37DF-2C3F-93DC-E1E9-E8CFC9C3D2ED}"/>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a:solidFill>
                <a:srgbClr val="787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14">
              <a:extLst>
                <a:ext uri="{FF2B5EF4-FFF2-40B4-BE49-F238E27FC236}">
                  <a16:creationId xmlns:a16="http://schemas.microsoft.com/office/drawing/2014/main" id="{60DEC432-3625-E192-9C29-A7F9A7A83E09}"/>
                </a:ext>
              </a:extLst>
            </p:cNvPr>
            <p:cNvCxnSpPr>
              <a:cxnSpLocks/>
            </p:cNvCxnSpPr>
            <p:nvPr/>
          </p:nvCxnSpPr>
          <p:spPr>
            <a:xfrm flipV="1">
              <a:off x="4794103" y="1588577"/>
              <a:ext cx="1242488" cy="1242487"/>
            </a:xfrm>
            <a:prstGeom prst="line">
              <a:avLst/>
            </a:prstGeom>
            <a:ln w="12700">
              <a:solidFill>
                <a:srgbClr val="787877"/>
              </a:solidFill>
            </a:ln>
          </p:spPr>
          <p:style>
            <a:lnRef idx="1">
              <a:schemeClr val="accent1"/>
            </a:lnRef>
            <a:fillRef idx="0">
              <a:schemeClr val="accent1"/>
            </a:fillRef>
            <a:effectRef idx="0">
              <a:schemeClr val="accent1"/>
            </a:effectRef>
            <a:fontRef idx="minor">
              <a:schemeClr val="tx1"/>
            </a:fontRef>
          </p:style>
        </p:cxnSp>
      </p:grpSp>
      <p:sp>
        <p:nvSpPr>
          <p:cNvPr id="7" name="CaixaDeTexto 6">
            <a:extLst>
              <a:ext uri="{FF2B5EF4-FFF2-40B4-BE49-F238E27FC236}">
                <a16:creationId xmlns:a16="http://schemas.microsoft.com/office/drawing/2014/main" id="{AB9D94A8-FA83-BBB3-502C-D3FC450B3488}"/>
              </a:ext>
            </a:extLst>
          </p:cNvPr>
          <p:cNvSpPr txBox="1"/>
          <p:nvPr/>
        </p:nvSpPr>
        <p:spPr>
          <a:xfrm>
            <a:off x="1341120" y="370070"/>
            <a:ext cx="6096000" cy="338554"/>
          </a:xfrm>
          <a:prstGeom prst="rect">
            <a:avLst/>
          </a:prstGeom>
          <a:noFill/>
        </p:spPr>
        <p:txBody>
          <a:bodyPr wrap="square">
            <a:spAutoFit/>
          </a:bodyPr>
          <a:lstStyle/>
          <a:p>
            <a:pPr defTabSz="914354">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rPr>
              <a:t>X12</a:t>
            </a:r>
            <a:endParaRPr kumimoji="0" lang="en-GB" sz="2800" b="1" i="0" u="none" strike="noStrike" kern="1200" cap="none" spc="0" normalizeH="0" baseline="0" noProof="0" dirty="0">
              <a:ln>
                <a:noFill/>
              </a:ln>
              <a:solidFill>
                <a:srgbClr val="DA291C"/>
              </a:solidFill>
              <a:effectLst/>
              <a:uLnTx/>
              <a:uFillTx/>
              <a:latin typeface="Aptos" panose="020B0004020202020204" pitchFamily="34" charset="0"/>
              <a:ea typeface="+mn-ea"/>
              <a:cs typeface="+mn-cs"/>
            </a:endParaRPr>
          </a:p>
        </p:txBody>
      </p:sp>
      <p:sp>
        <p:nvSpPr>
          <p:cNvPr id="8" name="Espaço Reservado para Texto 2">
            <a:extLst>
              <a:ext uri="{FF2B5EF4-FFF2-40B4-BE49-F238E27FC236}">
                <a16:creationId xmlns:a16="http://schemas.microsoft.com/office/drawing/2014/main" id="{3A39E4A7-D78F-7F9B-547C-8969B8C911DE}"/>
              </a:ext>
            </a:extLst>
          </p:cNvPr>
          <p:cNvSpPr>
            <a:spLocks noGrp="1"/>
          </p:cNvSpPr>
          <p:nvPr>
            <p:ph idx="1" hasCustomPrompt="1"/>
          </p:nvPr>
        </p:nvSpPr>
        <p:spPr>
          <a:xfrm>
            <a:off x="1307888" y="669494"/>
            <a:ext cx="7419423"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pic>
        <p:nvPicPr>
          <p:cNvPr id="9" name="Gráfico 8">
            <a:extLst>
              <a:ext uri="{FF2B5EF4-FFF2-40B4-BE49-F238E27FC236}">
                <a16:creationId xmlns:a16="http://schemas.microsoft.com/office/drawing/2014/main" id="{DDE7C5D1-C903-DFD3-F5F7-1F97901155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54131" y="680484"/>
            <a:ext cx="1071759" cy="340241"/>
          </a:xfrm>
          <a:prstGeom prst="rect">
            <a:avLst/>
          </a:prstGeom>
        </p:spPr>
      </p:pic>
      <p:sp>
        <p:nvSpPr>
          <p:cNvPr id="3" name="Oval 2">
            <a:hlinkClick r:id="" action="ppaction://noaction"/>
            <a:extLst>
              <a:ext uri="{FF2B5EF4-FFF2-40B4-BE49-F238E27FC236}">
                <a16:creationId xmlns:a16="http://schemas.microsoft.com/office/drawing/2014/main" id="{618B933F-9253-BB0F-7F87-AA653BEC1E32}"/>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0" name="Rounded Rectangle 141">
            <a:hlinkClick r:id="" action="ppaction://noaction"/>
            <a:extLst>
              <a:ext uri="{FF2B5EF4-FFF2-40B4-BE49-F238E27FC236}">
                <a16:creationId xmlns:a16="http://schemas.microsoft.com/office/drawing/2014/main" id="{2B0ECAF7-AD49-4F91-7A60-EF2F93B35D74}"/>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Powertrain</a:t>
            </a:r>
          </a:p>
          <a:p>
            <a:r>
              <a:rPr lang="en-US" sz="1100">
                <a:solidFill>
                  <a:srgbClr val="2A2A2A"/>
                </a:solidFill>
                <a:latin typeface="Aptos" panose="020B0004020202020204" pitchFamily="34" charset="0"/>
                <a:cs typeface="Plus Jakarta Sans" pitchFamily="2" charset="77"/>
              </a:rPr>
              <a:t>Index </a:t>
            </a:r>
          </a:p>
        </p:txBody>
      </p:sp>
      <p:pic>
        <p:nvPicPr>
          <p:cNvPr id="13" name="Gráfico 12" descr="Acento Circunflexo à Direita com preenchimento sólido">
            <a:hlinkClick r:id="" action="ppaction://noaction"/>
            <a:extLst>
              <a:ext uri="{FF2B5EF4-FFF2-40B4-BE49-F238E27FC236}">
                <a16:creationId xmlns:a16="http://schemas.microsoft.com/office/drawing/2014/main" id="{BD0EE399-D840-43B5-20D3-B726C071372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97141" y="6291508"/>
            <a:ext cx="274320" cy="274320"/>
          </a:xfrm>
          <a:prstGeom prst="rect">
            <a:avLst/>
          </a:prstGeom>
        </p:spPr>
      </p:pic>
    </p:spTree>
    <p:extLst>
      <p:ext uri="{BB962C8B-B14F-4D97-AF65-F5344CB8AC3E}">
        <p14:creationId xmlns:p14="http://schemas.microsoft.com/office/powerpoint/2010/main" val="11074221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Powertrain 2024 X15">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 name="layer1" descr="preencoded.png">
            <a:hlinkClick r:id="" action="ppaction://hlinkshowjump?jump=firstslide"/>
            <a:extLst>
              <a:ext uri="{FF2B5EF4-FFF2-40B4-BE49-F238E27FC236}">
                <a16:creationId xmlns:a16="http://schemas.microsoft.com/office/drawing/2014/main" id="{9E32BA37-546D-7139-2B04-92CFA150AD0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26" name="Conector Reto 25">
            <a:extLst>
              <a:ext uri="{FF2B5EF4-FFF2-40B4-BE49-F238E27FC236}">
                <a16:creationId xmlns:a16="http://schemas.microsoft.com/office/drawing/2014/main" id="{D5E8BEA2-C3B8-8A7A-EC77-D3D8772198E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7" name="Rounded Rectangle 141">
            <a:extLst>
              <a:ext uri="{FF2B5EF4-FFF2-40B4-BE49-F238E27FC236}">
                <a16:creationId xmlns:a16="http://schemas.microsoft.com/office/drawing/2014/main" id="{33A417C3-D135-41C1-1F7F-D84E08575670}"/>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31" name="Agrupar 30">
            <a:extLst>
              <a:ext uri="{FF2B5EF4-FFF2-40B4-BE49-F238E27FC236}">
                <a16:creationId xmlns:a16="http://schemas.microsoft.com/office/drawing/2014/main" id="{679BEE9F-05BB-A71F-195C-B0800C7E870D}"/>
              </a:ext>
            </a:extLst>
          </p:cNvPr>
          <p:cNvGrpSpPr/>
          <p:nvPr/>
        </p:nvGrpSpPr>
        <p:grpSpPr>
          <a:xfrm>
            <a:off x="232893" y="6274809"/>
            <a:ext cx="274453" cy="274454"/>
            <a:chOff x="10758947" y="6120020"/>
            <a:chExt cx="219971" cy="219972"/>
          </a:xfrm>
        </p:grpSpPr>
        <p:sp>
          <p:nvSpPr>
            <p:cNvPr id="32" name="Rounded Rectangle 7">
              <a:extLst>
                <a:ext uri="{FF2B5EF4-FFF2-40B4-BE49-F238E27FC236}">
                  <a16:creationId xmlns:a16="http://schemas.microsoft.com/office/drawing/2014/main" id="{D4DACB28-B3EE-1288-6E9C-ACE750F3B006}"/>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33" name="Graphic 15" descr="Ícone do menu de hambúrguer com preenchimento sólido">
              <a:extLst>
                <a:ext uri="{FF2B5EF4-FFF2-40B4-BE49-F238E27FC236}">
                  <a16:creationId xmlns:a16="http://schemas.microsoft.com/office/drawing/2014/main" id="{48007976-7D61-E758-4BC8-E122714F44C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34" name="Retângulo 33">
            <a:hlinkClick r:id="rId10" action="ppaction://hlinksldjump"/>
            <a:extLst>
              <a:ext uri="{FF2B5EF4-FFF2-40B4-BE49-F238E27FC236}">
                <a16:creationId xmlns:a16="http://schemas.microsoft.com/office/drawing/2014/main" id="{A6823FF8-6399-2477-9828-8220A20E07B8}"/>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4" name="Group 11">
            <a:extLst>
              <a:ext uri="{FF2B5EF4-FFF2-40B4-BE49-F238E27FC236}">
                <a16:creationId xmlns:a16="http://schemas.microsoft.com/office/drawing/2014/main" id="{E9DDC5DE-52BB-94D7-E15B-76DA38D378F4}"/>
              </a:ext>
            </a:extLst>
          </p:cNvPr>
          <p:cNvGrpSpPr/>
          <p:nvPr/>
        </p:nvGrpSpPr>
        <p:grpSpPr>
          <a:xfrm>
            <a:off x="1111657" y="461518"/>
            <a:ext cx="216344" cy="216344"/>
            <a:chOff x="4794103" y="1588576"/>
            <a:chExt cx="1242488" cy="1242488"/>
          </a:xfrm>
        </p:grpSpPr>
        <p:sp>
          <p:nvSpPr>
            <p:cNvPr id="5" name="Freeform 13">
              <a:extLst>
                <a:ext uri="{FF2B5EF4-FFF2-40B4-BE49-F238E27FC236}">
                  <a16:creationId xmlns:a16="http://schemas.microsoft.com/office/drawing/2014/main" id="{6A0E37DF-2C3F-93DC-E1E9-E8CFC9C3D2ED}"/>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a:solidFill>
                <a:srgbClr val="787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14">
              <a:extLst>
                <a:ext uri="{FF2B5EF4-FFF2-40B4-BE49-F238E27FC236}">
                  <a16:creationId xmlns:a16="http://schemas.microsoft.com/office/drawing/2014/main" id="{60DEC432-3625-E192-9C29-A7F9A7A83E09}"/>
                </a:ext>
              </a:extLst>
            </p:cNvPr>
            <p:cNvCxnSpPr>
              <a:cxnSpLocks/>
            </p:cNvCxnSpPr>
            <p:nvPr/>
          </p:nvCxnSpPr>
          <p:spPr>
            <a:xfrm flipV="1">
              <a:off x="4794103" y="1588577"/>
              <a:ext cx="1242488" cy="1242487"/>
            </a:xfrm>
            <a:prstGeom prst="line">
              <a:avLst/>
            </a:prstGeom>
            <a:ln w="12700">
              <a:solidFill>
                <a:srgbClr val="787877"/>
              </a:solidFill>
            </a:ln>
          </p:spPr>
          <p:style>
            <a:lnRef idx="1">
              <a:schemeClr val="accent1"/>
            </a:lnRef>
            <a:fillRef idx="0">
              <a:schemeClr val="accent1"/>
            </a:fillRef>
            <a:effectRef idx="0">
              <a:schemeClr val="accent1"/>
            </a:effectRef>
            <a:fontRef idx="minor">
              <a:schemeClr val="tx1"/>
            </a:fontRef>
          </p:style>
        </p:cxnSp>
      </p:grpSp>
      <p:sp>
        <p:nvSpPr>
          <p:cNvPr id="7" name="CaixaDeTexto 6">
            <a:extLst>
              <a:ext uri="{FF2B5EF4-FFF2-40B4-BE49-F238E27FC236}">
                <a16:creationId xmlns:a16="http://schemas.microsoft.com/office/drawing/2014/main" id="{AB9D94A8-FA83-BBB3-502C-D3FC450B3488}"/>
              </a:ext>
            </a:extLst>
          </p:cNvPr>
          <p:cNvSpPr txBox="1"/>
          <p:nvPr/>
        </p:nvSpPr>
        <p:spPr>
          <a:xfrm>
            <a:off x="1341120" y="370070"/>
            <a:ext cx="6096000" cy="338554"/>
          </a:xfrm>
          <a:prstGeom prst="rect">
            <a:avLst/>
          </a:prstGeom>
          <a:noFill/>
        </p:spPr>
        <p:txBody>
          <a:bodyPr wrap="squar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rPr>
              <a:t>2024 X15</a:t>
            </a:r>
          </a:p>
        </p:txBody>
      </p:sp>
      <p:sp>
        <p:nvSpPr>
          <p:cNvPr id="8" name="Espaço Reservado para Texto 2">
            <a:extLst>
              <a:ext uri="{FF2B5EF4-FFF2-40B4-BE49-F238E27FC236}">
                <a16:creationId xmlns:a16="http://schemas.microsoft.com/office/drawing/2014/main" id="{3A39E4A7-D78F-7F9B-547C-8969B8C911DE}"/>
              </a:ext>
            </a:extLst>
          </p:cNvPr>
          <p:cNvSpPr>
            <a:spLocks noGrp="1"/>
          </p:cNvSpPr>
          <p:nvPr>
            <p:ph idx="1" hasCustomPrompt="1"/>
          </p:nvPr>
        </p:nvSpPr>
        <p:spPr>
          <a:xfrm>
            <a:off x="1307888" y="669494"/>
            <a:ext cx="7419423"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pic>
        <p:nvPicPr>
          <p:cNvPr id="13" name="Gráfico 12">
            <a:extLst>
              <a:ext uri="{FF2B5EF4-FFF2-40B4-BE49-F238E27FC236}">
                <a16:creationId xmlns:a16="http://schemas.microsoft.com/office/drawing/2014/main" id="{E8F225EB-EF27-9D9D-AA0E-DFFB29BE7CD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78532" y="705555"/>
            <a:ext cx="1028441" cy="287763"/>
          </a:xfrm>
          <a:prstGeom prst="rect">
            <a:avLst/>
          </a:prstGeom>
        </p:spPr>
      </p:pic>
      <p:sp>
        <p:nvSpPr>
          <p:cNvPr id="3" name="Oval 2">
            <a:hlinkClick r:id="" action="ppaction://noaction"/>
            <a:extLst>
              <a:ext uri="{FF2B5EF4-FFF2-40B4-BE49-F238E27FC236}">
                <a16:creationId xmlns:a16="http://schemas.microsoft.com/office/drawing/2014/main" id="{12AE15F9-E902-DCE5-FAD7-78DEF4EC03E0}"/>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9" name="Rounded Rectangle 141">
            <a:hlinkClick r:id="" action="ppaction://noaction"/>
            <a:extLst>
              <a:ext uri="{FF2B5EF4-FFF2-40B4-BE49-F238E27FC236}">
                <a16:creationId xmlns:a16="http://schemas.microsoft.com/office/drawing/2014/main" id="{B300E48B-5828-BE7D-DC98-600E3F4E8938}"/>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Powertrain</a:t>
            </a:r>
          </a:p>
          <a:p>
            <a:r>
              <a:rPr lang="en-US" sz="1100">
                <a:solidFill>
                  <a:srgbClr val="2A2A2A"/>
                </a:solidFill>
                <a:latin typeface="Aptos" panose="020B0004020202020204" pitchFamily="34" charset="0"/>
                <a:cs typeface="Plus Jakarta Sans" pitchFamily="2" charset="77"/>
              </a:rPr>
              <a:t>Index </a:t>
            </a:r>
          </a:p>
        </p:txBody>
      </p:sp>
      <p:pic>
        <p:nvPicPr>
          <p:cNvPr id="10" name="Gráfico 9" descr="Acento Circunflexo à Direita com preenchimento sólido">
            <a:hlinkClick r:id="" action="ppaction://noaction"/>
            <a:extLst>
              <a:ext uri="{FF2B5EF4-FFF2-40B4-BE49-F238E27FC236}">
                <a16:creationId xmlns:a16="http://schemas.microsoft.com/office/drawing/2014/main" id="{C522A8DB-72F6-09C8-F187-6386A7CDF18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97141" y="6291508"/>
            <a:ext cx="274320" cy="274320"/>
          </a:xfrm>
          <a:prstGeom prst="rect">
            <a:avLst/>
          </a:prstGeom>
        </p:spPr>
      </p:pic>
    </p:spTree>
    <p:extLst>
      <p:ext uri="{BB962C8B-B14F-4D97-AF65-F5344CB8AC3E}">
        <p14:creationId xmlns:p14="http://schemas.microsoft.com/office/powerpoint/2010/main" val="4162341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48321219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Powertrain 2027 X15">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 name="layer1" descr="preencoded.png">
            <a:hlinkClick r:id="" action="ppaction://hlinkshowjump?jump=firstslide"/>
            <a:extLst>
              <a:ext uri="{FF2B5EF4-FFF2-40B4-BE49-F238E27FC236}">
                <a16:creationId xmlns:a16="http://schemas.microsoft.com/office/drawing/2014/main" id="{9E32BA37-546D-7139-2B04-92CFA150AD0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26" name="Conector Reto 25">
            <a:extLst>
              <a:ext uri="{FF2B5EF4-FFF2-40B4-BE49-F238E27FC236}">
                <a16:creationId xmlns:a16="http://schemas.microsoft.com/office/drawing/2014/main" id="{D5E8BEA2-C3B8-8A7A-EC77-D3D8772198E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7" name="Rounded Rectangle 141">
            <a:extLst>
              <a:ext uri="{FF2B5EF4-FFF2-40B4-BE49-F238E27FC236}">
                <a16:creationId xmlns:a16="http://schemas.microsoft.com/office/drawing/2014/main" id="{33A417C3-D135-41C1-1F7F-D84E08575670}"/>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31" name="Agrupar 30">
            <a:extLst>
              <a:ext uri="{FF2B5EF4-FFF2-40B4-BE49-F238E27FC236}">
                <a16:creationId xmlns:a16="http://schemas.microsoft.com/office/drawing/2014/main" id="{679BEE9F-05BB-A71F-195C-B0800C7E870D}"/>
              </a:ext>
            </a:extLst>
          </p:cNvPr>
          <p:cNvGrpSpPr/>
          <p:nvPr/>
        </p:nvGrpSpPr>
        <p:grpSpPr>
          <a:xfrm>
            <a:off x="232893" y="6274809"/>
            <a:ext cx="274453" cy="274454"/>
            <a:chOff x="10758947" y="6120020"/>
            <a:chExt cx="219971" cy="219972"/>
          </a:xfrm>
        </p:grpSpPr>
        <p:sp>
          <p:nvSpPr>
            <p:cNvPr id="32" name="Rounded Rectangle 7">
              <a:extLst>
                <a:ext uri="{FF2B5EF4-FFF2-40B4-BE49-F238E27FC236}">
                  <a16:creationId xmlns:a16="http://schemas.microsoft.com/office/drawing/2014/main" id="{D4DACB28-B3EE-1288-6E9C-ACE750F3B006}"/>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33" name="Graphic 15" descr="Ícone do menu de hambúrguer com preenchimento sólido">
              <a:extLst>
                <a:ext uri="{FF2B5EF4-FFF2-40B4-BE49-F238E27FC236}">
                  <a16:creationId xmlns:a16="http://schemas.microsoft.com/office/drawing/2014/main" id="{48007976-7D61-E758-4BC8-E122714F44C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34" name="Retângulo 33">
            <a:hlinkClick r:id="rId10" action="ppaction://hlinksldjump"/>
            <a:extLst>
              <a:ext uri="{FF2B5EF4-FFF2-40B4-BE49-F238E27FC236}">
                <a16:creationId xmlns:a16="http://schemas.microsoft.com/office/drawing/2014/main" id="{A6823FF8-6399-2477-9828-8220A20E07B8}"/>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4" name="Group 11">
            <a:extLst>
              <a:ext uri="{FF2B5EF4-FFF2-40B4-BE49-F238E27FC236}">
                <a16:creationId xmlns:a16="http://schemas.microsoft.com/office/drawing/2014/main" id="{E9DDC5DE-52BB-94D7-E15B-76DA38D378F4}"/>
              </a:ext>
            </a:extLst>
          </p:cNvPr>
          <p:cNvGrpSpPr/>
          <p:nvPr/>
        </p:nvGrpSpPr>
        <p:grpSpPr>
          <a:xfrm>
            <a:off x="1111657" y="461518"/>
            <a:ext cx="216344" cy="216344"/>
            <a:chOff x="4794103" y="1588576"/>
            <a:chExt cx="1242488" cy="1242488"/>
          </a:xfrm>
        </p:grpSpPr>
        <p:sp>
          <p:nvSpPr>
            <p:cNvPr id="5" name="Freeform 13">
              <a:extLst>
                <a:ext uri="{FF2B5EF4-FFF2-40B4-BE49-F238E27FC236}">
                  <a16:creationId xmlns:a16="http://schemas.microsoft.com/office/drawing/2014/main" id="{6A0E37DF-2C3F-93DC-E1E9-E8CFC9C3D2ED}"/>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a:solidFill>
                <a:srgbClr val="78787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14">
              <a:extLst>
                <a:ext uri="{FF2B5EF4-FFF2-40B4-BE49-F238E27FC236}">
                  <a16:creationId xmlns:a16="http://schemas.microsoft.com/office/drawing/2014/main" id="{60DEC432-3625-E192-9C29-A7F9A7A83E09}"/>
                </a:ext>
              </a:extLst>
            </p:cNvPr>
            <p:cNvCxnSpPr>
              <a:cxnSpLocks/>
            </p:cNvCxnSpPr>
            <p:nvPr/>
          </p:nvCxnSpPr>
          <p:spPr>
            <a:xfrm flipV="1">
              <a:off x="4794103" y="1588577"/>
              <a:ext cx="1242488" cy="1242487"/>
            </a:xfrm>
            <a:prstGeom prst="line">
              <a:avLst/>
            </a:prstGeom>
            <a:ln w="12700">
              <a:solidFill>
                <a:srgbClr val="787877"/>
              </a:solidFill>
            </a:ln>
          </p:spPr>
          <p:style>
            <a:lnRef idx="1">
              <a:schemeClr val="accent1"/>
            </a:lnRef>
            <a:fillRef idx="0">
              <a:schemeClr val="accent1"/>
            </a:fillRef>
            <a:effectRef idx="0">
              <a:schemeClr val="accent1"/>
            </a:effectRef>
            <a:fontRef idx="minor">
              <a:schemeClr val="tx1"/>
            </a:fontRef>
          </p:style>
        </p:cxnSp>
      </p:grpSp>
      <p:sp>
        <p:nvSpPr>
          <p:cNvPr id="7" name="CaixaDeTexto 6">
            <a:extLst>
              <a:ext uri="{FF2B5EF4-FFF2-40B4-BE49-F238E27FC236}">
                <a16:creationId xmlns:a16="http://schemas.microsoft.com/office/drawing/2014/main" id="{AB9D94A8-FA83-BBB3-502C-D3FC450B3488}"/>
              </a:ext>
            </a:extLst>
          </p:cNvPr>
          <p:cNvSpPr txBox="1"/>
          <p:nvPr/>
        </p:nvSpPr>
        <p:spPr>
          <a:xfrm>
            <a:off x="1341120" y="370070"/>
            <a:ext cx="6096000" cy="338554"/>
          </a:xfrm>
          <a:prstGeom prst="rect">
            <a:avLst/>
          </a:prstGeom>
          <a:noFill/>
        </p:spPr>
        <p:txBody>
          <a:bodyPr wrap="squar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rPr>
              <a:t>2027 X15</a:t>
            </a:r>
          </a:p>
        </p:txBody>
      </p:sp>
      <p:sp>
        <p:nvSpPr>
          <p:cNvPr id="8" name="Espaço Reservado para Texto 2">
            <a:extLst>
              <a:ext uri="{FF2B5EF4-FFF2-40B4-BE49-F238E27FC236}">
                <a16:creationId xmlns:a16="http://schemas.microsoft.com/office/drawing/2014/main" id="{3A39E4A7-D78F-7F9B-547C-8969B8C911DE}"/>
              </a:ext>
            </a:extLst>
          </p:cNvPr>
          <p:cNvSpPr>
            <a:spLocks noGrp="1"/>
          </p:cNvSpPr>
          <p:nvPr>
            <p:ph idx="1" hasCustomPrompt="1"/>
          </p:nvPr>
        </p:nvSpPr>
        <p:spPr>
          <a:xfrm>
            <a:off x="1307888" y="669494"/>
            <a:ext cx="7419423"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pic>
        <p:nvPicPr>
          <p:cNvPr id="13" name="Gráfico 12">
            <a:extLst>
              <a:ext uri="{FF2B5EF4-FFF2-40B4-BE49-F238E27FC236}">
                <a16:creationId xmlns:a16="http://schemas.microsoft.com/office/drawing/2014/main" id="{E8F225EB-EF27-9D9D-AA0E-DFFB29BE7CD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78532" y="705555"/>
            <a:ext cx="1028441" cy="287763"/>
          </a:xfrm>
          <a:prstGeom prst="rect">
            <a:avLst/>
          </a:prstGeom>
        </p:spPr>
      </p:pic>
      <p:sp>
        <p:nvSpPr>
          <p:cNvPr id="3" name="Oval 2">
            <a:hlinkClick r:id="" action="ppaction://noaction"/>
            <a:extLst>
              <a:ext uri="{FF2B5EF4-FFF2-40B4-BE49-F238E27FC236}">
                <a16:creationId xmlns:a16="http://schemas.microsoft.com/office/drawing/2014/main" id="{BB105BB6-A9C4-7443-2E1F-EB60747C3A9A}"/>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9" name="Rounded Rectangle 141">
            <a:hlinkClick r:id="" action="ppaction://noaction"/>
            <a:extLst>
              <a:ext uri="{FF2B5EF4-FFF2-40B4-BE49-F238E27FC236}">
                <a16:creationId xmlns:a16="http://schemas.microsoft.com/office/drawing/2014/main" id="{6A8DDEF4-C14F-F1B2-DAAD-3A18BA6047FD}"/>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Powertrain</a:t>
            </a:r>
          </a:p>
          <a:p>
            <a:r>
              <a:rPr lang="en-US" sz="1100">
                <a:solidFill>
                  <a:srgbClr val="2A2A2A"/>
                </a:solidFill>
                <a:latin typeface="Aptos" panose="020B0004020202020204" pitchFamily="34" charset="0"/>
                <a:cs typeface="Plus Jakarta Sans" pitchFamily="2" charset="77"/>
              </a:rPr>
              <a:t>Index </a:t>
            </a:r>
          </a:p>
        </p:txBody>
      </p:sp>
      <p:pic>
        <p:nvPicPr>
          <p:cNvPr id="10" name="Gráfico 9" descr="Acento Circunflexo à Direita com preenchimento sólido">
            <a:hlinkClick r:id="" action="ppaction://noaction"/>
            <a:extLst>
              <a:ext uri="{FF2B5EF4-FFF2-40B4-BE49-F238E27FC236}">
                <a16:creationId xmlns:a16="http://schemas.microsoft.com/office/drawing/2014/main" id="{D51AF4D9-5538-7B70-3DE2-3B13C207380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97141" y="6291508"/>
            <a:ext cx="274320" cy="274320"/>
          </a:xfrm>
          <a:prstGeom prst="rect">
            <a:avLst/>
          </a:prstGeom>
        </p:spPr>
      </p:pic>
    </p:spTree>
    <p:extLst>
      <p:ext uri="{BB962C8B-B14F-4D97-AF65-F5344CB8AC3E}">
        <p14:creationId xmlns:p14="http://schemas.microsoft.com/office/powerpoint/2010/main" val="107196359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Green General Index and Logo">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sp>
        <p:nvSpPr>
          <p:cNvPr id="13" name="Rounded Rectangle 141">
            <a:extLst>
              <a:ext uri="{FF2B5EF4-FFF2-40B4-BE49-F238E27FC236}">
                <a16:creationId xmlns:a16="http://schemas.microsoft.com/office/drawing/2014/main" id="{77663531-C870-93DE-6107-BA187B04477C}"/>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19" name="Agrupar 18">
            <a:extLst>
              <a:ext uri="{FF2B5EF4-FFF2-40B4-BE49-F238E27FC236}">
                <a16:creationId xmlns:a16="http://schemas.microsoft.com/office/drawing/2014/main" id="{044CEAE4-BBCF-E3E2-AB92-E0133BEBA160}"/>
              </a:ext>
            </a:extLst>
          </p:cNvPr>
          <p:cNvGrpSpPr/>
          <p:nvPr/>
        </p:nvGrpSpPr>
        <p:grpSpPr>
          <a:xfrm>
            <a:off x="232893" y="6274809"/>
            <a:ext cx="274453" cy="274454"/>
            <a:chOff x="10758947" y="6120020"/>
            <a:chExt cx="219971" cy="219972"/>
          </a:xfrm>
        </p:grpSpPr>
        <p:sp>
          <p:nvSpPr>
            <p:cNvPr id="20" name="Rounded Rectangle 7">
              <a:extLst>
                <a:ext uri="{FF2B5EF4-FFF2-40B4-BE49-F238E27FC236}">
                  <a16:creationId xmlns:a16="http://schemas.microsoft.com/office/drawing/2014/main" id="{29699281-D297-EB06-2803-BD33157C6694}"/>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21" name="Graphic 15" descr="Ícone do menu de hambúrguer com preenchimento sólido">
              <a:extLst>
                <a:ext uri="{FF2B5EF4-FFF2-40B4-BE49-F238E27FC236}">
                  <a16:creationId xmlns:a16="http://schemas.microsoft.com/office/drawing/2014/main" id="{912CCA30-413A-DFBF-0D78-087799350E3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0802327" y="6163409"/>
              <a:ext cx="133186" cy="133186"/>
            </a:xfrm>
            <a:prstGeom prst="rect">
              <a:avLst/>
            </a:prstGeom>
          </p:spPr>
        </p:pic>
      </p:grpSp>
      <p:sp>
        <p:nvSpPr>
          <p:cNvPr id="22" name="Retângulo 21">
            <a:hlinkClick r:id="rId8" action="ppaction://hlinksldjump"/>
            <a:extLst>
              <a:ext uri="{FF2B5EF4-FFF2-40B4-BE49-F238E27FC236}">
                <a16:creationId xmlns:a16="http://schemas.microsoft.com/office/drawing/2014/main" id="{59E6634A-5AFF-052F-8CCB-235755CB4BDC}"/>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 name="layer1" descr="preencoded.png">
            <a:hlinkClick r:id="" action="ppaction://hlinkshowjump?jump=firstslide"/>
            <a:extLst>
              <a:ext uri="{FF2B5EF4-FFF2-40B4-BE49-F238E27FC236}">
                <a16:creationId xmlns:a16="http://schemas.microsoft.com/office/drawing/2014/main" id="{14256315-756D-D344-1B1B-90990B8A6603}"/>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73202" y="128379"/>
            <a:ext cx="429946" cy="393483"/>
          </a:xfrm>
          <a:prstGeom prst="rect">
            <a:avLst/>
          </a:prstGeom>
        </p:spPr>
      </p:pic>
    </p:spTree>
    <p:extLst>
      <p:ext uri="{BB962C8B-B14F-4D97-AF65-F5344CB8AC3E}">
        <p14:creationId xmlns:p14="http://schemas.microsoft.com/office/powerpoint/2010/main" val="389695233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Alt Tech Green with Title and Index">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5" name="Conector Reto 4">
            <a:extLst>
              <a:ext uri="{FF2B5EF4-FFF2-40B4-BE49-F238E27FC236}">
                <a16:creationId xmlns:a16="http://schemas.microsoft.com/office/drawing/2014/main" id="{7A7E61C3-EAFD-47E6-A70A-19B610220268}"/>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6" name="Rounded Rectangle 141">
            <a:extLst>
              <a:ext uri="{FF2B5EF4-FFF2-40B4-BE49-F238E27FC236}">
                <a16:creationId xmlns:a16="http://schemas.microsoft.com/office/drawing/2014/main" id="{6CEFC669-887A-BFD0-6151-232C1AE123C3}"/>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7" name="Agrupar 6">
            <a:extLst>
              <a:ext uri="{FF2B5EF4-FFF2-40B4-BE49-F238E27FC236}">
                <a16:creationId xmlns:a16="http://schemas.microsoft.com/office/drawing/2014/main" id="{BCC5E0DD-18FA-AA13-7771-942A7B61A6A0}"/>
              </a:ext>
            </a:extLst>
          </p:cNvPr>
          <p:cNvGrpSpPr/>
          <p:nvPr/>
        </p:nvGrpSpPr>
        <p:grpSpPr>
          <a:xfrm>
            <a:off x="232893" y="6274809"/>
            <a:ext cx="274453" cy="274454"/>
            <a:chOff x="10758947" y="6120020"/>
            <a:chExt cx="219971" cy="219972"/>
          </a:xfrm>
        </p:grpSpPr>
        <p:sp>
          <p:nvSpPr>
            <p:cNvPr id="8" name="Rounded Rectangle 7">
              <a:extLst>
                <a:ext uri="{FF2B5EF4-FFF2-40B4-BE49-F238E27FC236}">
                  <a16:creationId xmlns:a16="http://schemas.microsoft.com/office/drawing/2014/main" id="{48CEEEB3-6CC7-3B0D-2954-36236E7AA5F6}"/>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9" name="Graphic 15" descr="Ícone do menu de hambúrguer com preenchimento sólido">
              <a:extLst>
                <a:ext uri="{FF2B5EF4-FFF2-40B4-BE49-F238E27FC236}">
                  <a16:creationId xmlns:a16="http://schemas.microsoft.com/office/drawing/2014/main" id="{84632F75-A46C-AE88-9D91-356CFC2D44A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10" name="Retângulo 9">
            <a:hlinkClick r:id="rId10" action="ppaction://hlinksldjump"/>
            <a:extLst>
              <a:ext uri="{FF2B5EF4-FFF2-40B4-BE49-F238E27FC236}">
                <a16:creationId xmlns:a16="http://schemas.microsoft.com/office/drawing/2014/main" id="{1DAC8918-5B9D-79BA-B841-34BB4BF52A8F}"/>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Espaço Reservado para Texto 2">
            <a:extLst>
              <a:ext uri="{FF2B5EF4-FFF2-40B4-BE49-F238E27FC236}">
                <a16:creationId xmlns:a16="http://schemas.microsoft.com/office/drawing/2014/main" id="{BA6AC18B-1477-C15C-8066-3D46A255514B}"/>
              </a:ext>
            </a:extLst>
          </p:cNvPr>
          <p:cNvSpPr>
            <a:spLocks noGrp="1"/>
          </p:cNvSpPr>
          <p:nvPr>
            <p:ph idx="11" hasCustomPrompt="1"/>
          </p:nvPr>
        </p:nvSpPr>
        <p:spPr>
          <a:xfrm>
            <a:off x="2695328" y="6215427"/>
            <a:ext cx="675886" cy="393205"/>
          </a:xfrm>
          <a:prstGeom prst="rect">
            <a:avLst/>
          </a:prstGeom>
        </p:spPr>
        <p:txBody>
          <a:bodyPr vert="horz" lIns="91440" tIns="45720" rIns="91440" bIns="45720" rtlCol="0" anchor="ctr">
            <a:noAutofit/>
          </a:bodyPr>
          <a:lstStyle>
            <a:lvl1pPr marL="0" indent="0">
              <a:lnSpc>
                <a:spcPct val="70000"/>
              </a:lnSpc>
              <a:spcBef>
                <a:spcPts val="1200"/>
              </a:spcBef>
              <a:buNone/>
              <a:defRPr sz="1000" b="0">
                <a:solidFill>
                  <a:srgbClr val="2A2A2A"/>
                </a:solidFill>
                <a:latin typeface="Aptos" panose="020B0004020202020204" pitchFamily="34" charset="0"/>
              </a:defRPr>
            </a:lvl1pPr>
          </a:lstStyle>
          <a:p>
            <a:pPr lvl="0"/>
            <a:r>
              <a:rPr lang="pt-BR"/>
              <a:t>Nome da sessão</a:t>
            </a:r>
          </a:p>
        </p:txBody>
      </p:sp>
      <p:sp>
        <p:nvSpPr>
          <p:cNvPr id="4" name="Oval 3">
            <a:hlinkClick r:id="" action="ppaction://noaction"/>
            <a:extLst>
              <a:ext uri="{FF2B5EF4-FFF2-40B4-BE49-F238E27FC236}">
                <a16:creationId xmlns:a16="http://schemas.microsoft.com/office/drawing/2014/main" id="{FB35D42D-88B4-B7EE-241E-567B7DD18A5E}"/>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3" name="Rounded Rectangle 141">
            <a:hlinkClick r:id="" action="ppaction://noaction"/>
            <a:extLst>
              <a:ext uri="{FF2B5EF4-FFF2-40B4-BE49-F238E27FC236}">
                <a16:creationId xmlns:a16="http://schemas.microsoft.com/office/drawing/2014/main" id="{F42DB170-BB29-6BAD-F6B2-3B42E39173D9}"/>
              </a:ext>
            </a:extLst>
          </p:cNvPr>
          <p:cNvSpPr/>
          <p:nvPr/>
        </p:nvSpPr>
        <p:spPr>
          <a:xfrm>
            <a:off x="1500887" y="6264939"/>
            <a:ext cx="11868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Alternative Technologies</a:t>
            </a:r>
          </a:p>
          <a:p>
            <a:r>
              <a:rPr lang="en-US" sz="1100">
                <a:solidFill>
                  <a:srgbClr val="2A2A2A"/>
                </a:solidFill>
                <a:latin typeface="Aptos" panose="020B0004020202020204" pitchFamily="34" charset="0"/>
                <a:cs typeface="Plus Jakarta Sans" pitchFamily="2" charset="77"/>
              </a:rPr>
              <a:t>Index </a:t>
            </a:r>
          </a:p>
        </p:txBody>
      </p:sp>
      <p:pic>
        <p:nvPicPr>
          <p:cNvPr id="14" name="Gráfico 13" descr="Acento Circunflexo à Direita com preenchimento sólido">
            <a:extLst>
              <a:ext uri="{FF2B5EF4-FFF2-40B4-BE49-F238E27FC236}">
                <a16:creationId xmlns:a16="http://schemas.microsoft.com/office/drawing/2014/main" id="{2C986FBF-7C2F-6838-CE56-699CEE0B762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cxnSp>
        <p:nvCxnSpPr>
          <p:cNvPr id="15" name="Conector Reto 14">
            <a:extLst>
              <a:ext uri="{FF2B5EF4-FFF2-40B4-BE49-F238E27FC236}">
                <a16:creationId xmlns:a16="http://schemas.microsoft.com/office/drawing/2014/main" id="{DA797A40-8ADA-623B-8562-249F81B211B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cxnSp>
        <p:nvCxnSpPr>
          <p:cNvPr id="16" name="Conector Reto 15">
            <a:extLst>
              <a:ext uri="{FF2B5EF4-FFF2-40B4-BE49-F238E27FC236}">
                <a16:creationId xmlns:a16="http://schemas.microsoft.com/office/drawing/2014/main" id="{972193CC-6EA3-BCE3-B546-5F38584979B3}"/>
              </a:ext>
            </a:extLst>
          </p:cNvPr>
          <p:cNvCxnSpPr>
            <a:cxnSpLocks/>
          </p:cNvCxnSpPr>
          <p:nvPr/>
        </p:nvCxnSpPr>
        <p:spPr>
          <a:xfrm>
            <a:off x="2559760"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17" name="Espaço Reservado para Título 1">
            <a:extLst>
              <a:ext uri="{FF2B5EF4-FFF2-40B4-BE49-F238E27FC236}">
                <a16:creationId xmlns:a16="http://schemas.microsoft.com/office/drawing/2014/main" id="{C2096937-50FF-70D0-B462-1AD37209272A}"/>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18" name="Espaço Reservado para Texto 2">
            <a:extLst>
              <a:ext uri="{FF2B5EF4-FFF2-40B4-BE49-F238E27FC236}">
                <a16:creationId xmlns:a16="http://schemas.microsoft.com/office/drawing/2014/main" id="{D00C73EA-1525-F024-9708-5F69349FB0F9}"/>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rgbClr val="30A566"/>
                </a:solidFill>
                <a:latin typeface="Aptos" panose="020B0004020202020204" pitchFamily="34" charset="0"/>
              </a:defRPr>
            </a:lvl1pPr>
          </a:lstStyle>
          <a:p>
            <a:pPr lvl="0"/>
            <a:r>
              <a:rPr lang="pt-BR"/>
              <a:t>Clique para editar os estilos de texto Mestres</a:t>
            </a:r>
          </a:p>
        </p:txBody>
      </p:sp>
      <p:grpSp>
        <p:nvGrpSpPr>
          <p:cNvPr id="19" name="Group 11">
            <a:extLst>
              <a:ext uri="{FF2B5EF4-FFF2-40B4-BE49-F238E27FC236}">
                <a16:creationId xmlns:a16="http://schemas.microsoft.com/office/drawing/2014/main" id="{16B4B973-384F-9262-166F-86991E1FAFB5}"/>
              </a:ext>
            </a:extLst>
          </p:cNvPr>
          <p:cNvGrpSpPr/>
          <p:nvPr/>
        </p:nvGrpSpPr>
        <p:grpSpPr>
          <a:xfrm>
            <a:off x="1139545" y="423418"/>
            <a:ext cx="216344" cy="216344"/>
            <a:chOff x="4794103" y="1588576"/>
            <a:chExt cx="1242488" cy="1242488"/>
          </a:xfrm>
        </p:grpSpPr>
        <p:sp>
          <p:nvSpPr>
            <p:cNvPr id="20" name="Freeform 13">
              <a:extLst>
                <a:ext uri="{FF2B5EF4-FFF2-40B4-BE49-F238E27FC236}">
                  <a16:creationId xmlns:a16="http://schemas.microsoft.com/office/drawing/2014/main" id="{8023814A-978B-AD40-1BB6-2191CDE534B2}"/>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21" name="Straight Connector 14">
              <a:extLst>
                <a:ext uri="{FF2B5EF4-FFF2-40B4-BE49-F238E27FC236}">
                  <a16:creationId xmlns:a16="http://schemas.microsoft.com/office/drawing/2014/main" id="{FB3DA217-A12D-E7F6-4B64-F35C7D7D045E}"/>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541609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1_Alt Tech Green with Title without Index">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5" name="Conector Reto 4">
            <a:extLst>
              <a:ext uri="{FF2B5EF4-FFF2-40B4-BE49-F238E27FC236}">
                <a16:creationId xmlns:a16="http://schemas.microsoft.com/office/drawing/2014/main" id="{7A7E61C3-EAFD-47E6-A70A-19B610220268}"/>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6" name="Rounded Rectangle 141">
            <a:extLst>
              <a:ext uri="{FF2B5EF4-FFF2-40B4-BE49-F238E27FC236}">
                <a16:creationId xmlns:a16="http://schemas.microsoft.com/office/drawing/2014/main" id="{6CEFC669-887A-BFD0-6151-232C1AE123C3}"/>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7" name="Agrupar 6">
            <a:extLst>
              <a:ext uri="{FF2B5EF4-FFF2-40B4-BE49-F238E27FC236}">
                <a16:creationId xmlns:a16="http://schemas.microsoft.com/office/drawing/2014/main" id="{BCC5E0DD-18FA-AA13-7771-942A7B61A6A0}"/>
              </a:ext>
            </a:extLst>
          </p:cNvPr>
          <p:cNvGrpSpPr/>
          <p:nvPr/>
        </p:nvGrpSpPr>
        <p:grpSpPr>
          <a:xfrm>
            <a:off x="232893" y="6274809"/>
            <a:ext cx="274453" cy="274454"/>
            <a:chOff x="10758947" y="6120020"/>
            <a:chExt cx="219971" cy="219972"/>
          </a:xfrm>
        </p:grpSpPr>
        <p:sp>
          <p:nvSpPr>
            <p:cNvPr id="8" name="Rounded Rectangle 7">
              <a:extLst>
                <a:ext uri="{FF2B5EF4-FFF2-40B4-BE49-F238E27FC236}">
                  <a16:creationId xmlns:a16="http://schemas.microsoft.com/office/drawing/2014/main" id="{48CEEEB3-6CC7-3B0D-2954-36236E7AA5F6}"/>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9" name="Graphic 15" descr="Ícone do menu de hambúrguer com preenchimento sólido">
              <a:extLst>
                <a:ext uri="{FF2B5EF4-FFF2-40B4-BE49-F238E27FC236}">
                  <a16:creationId xmlns:a16="http://schemas.microsoft.com/office/drawing/2014/main" id="{84632F75-A46C-AE88-9D91-356CFC2D44A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10" name="Retângulo 9">
            <a:hlinkClick r:id="rId10" action="ppaction://hlinksldjump"/>
            <a:extLst>
              <a:ext uri="{FF2B5EF4-FFF2-40B4-BE49-F238E27FC236}">
                <a16:creationId xmlns:a16="http://schemas.microsoft.com/office/drawing/2014/main" id="{1DAC8918-5B9D-79BA-B841-34BB4BF52A8F}"/>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Oval 3">
            <a:hlinkClick r:id="" action="ppaction://noaction"/>
            <a:extLst>
              <a:ext uri="{FF2B5EF4-FFF2-40B4-BE49-F238E27FC236}">
                <a16:creationId xmlns:a16="http://schemas.microsoft.com/office/drawing/2014/main" id="{FB35D42D-88B4-B7EE-241E-567B7DD18A5E}"/>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3" name="Rounded Rectangle 141">
            <a:hlinkClick r:id="" action="ppaction://noaction"/>
            <a:extLst>
              <a:ext uri="{FF2B5EF4-FFF2-40B4-BE49-F238E27FC236}">
                <a16:creationId xmlns:a16="http://schemas.microsoft.com/office/drawing/2014/main" id="{F42DB170-BB29-6BAD-F6B2-3B42E39173D9}"/>
              </a:ext>
            </a:extLst>
          </p:cNvPr>
          <p:cNvSpPr/>
          <p:nvPr/>
        </p:nvSpPr>
        <p:spPr>
          <a:xfrm>
            <a:off x="1500887" y="6264939"/>
            <a:ext cx="11868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Alternative Technologies</a:t>
            </a:r>
          </a:p>
          <a:p>
            <a:r>
              <a:rPr lang="en-US" sz="1100">
                <a:solidFill>
                  <a:srgbClr val="2A2A2A"/>
                </a:solidFill>
                <a:latin typeface="Aptos" panose="020B0004020202020204" pitchFamily="34" charset="0"/>
                <a:cs typeface="Plus Jakarta Sans" pitchFamily="2" charset="77"/>
              </a:rPr>
              <a:t>Index </a:t>
            </a:r>
          </a:p>
        </p:txBody>
      </p:sp>
      <p:pic>
        <p:nvPicPr>
          <p:cNvPr id="14" name="Gráfico 13" descr="Acento Circunflexo à Direita com preenchimento sólido">
            <a:extLst>
              <a:ext uri="{FF2B5EF4-FFF2-40B4-BE49-F238E27FC236}">
                <a16:creationId xmlns:a16="http://schemas.microsoft.com/office/drawing/2014/main" id="{2C986FBF-7C2F-6838-CE56-699CEE0B762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cxnSp>
        <p:nvCxnSpPr>
          <p:cNvPr id="15" name="Conector Reto 14">
            <a:extLst>
              <a:ext uri="{FF2B5EF4-FFF2-40B4-BE49-F238E27FC236}">
                <a16:creationId xmlns:a16="http://schemas.microsoft.com/office/drawing/2014/main" id="{DA797A40-8ADA-623B-8562-249F81B211B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cxnSp>
        <p:nvCxnSpPr>
          <p:cNvPr id="16" name="Conector Reto 15">
            <a:extLst>
              <a:ext uri="{FF2B5EF4-FFF2-40B4-BE49-F238E27FC236}">
                <a16:creationId xmlns:a16="http://schemas.microsoft.com/office/drawing/2014/main" id="{972193CC-6EA3-BCE3-B546-5F38584979B3}"/>
              </a:ext>
            </a:extLst>
          </p:cNvPr>
          <p:cNvCxnSpPr>
            <a:cxnSpLocks/>
          </p:cNvCxnSpPr>
          <p:nvPr/>
        </p:nvCxnSpPr>
        <p:spPr>
          <a:xfrm>
            <a:off x="2559760"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17" name="Espaço Reservado para Título 1">
            <a:extLst>
              <a:ext uri="{FF2B5EF4-FFF2-40B4-BE49-F238E27FC236}">
                <a16:creationId xmlns:a16="http://schemas.microsoft.com/office/drawing/2014/main" id="{C2096937-50FF-70D0-B462-1AD37209272A}"/>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18" name="Espaço Reservado para Texto 2">
            <a:extLst>
              <a:ext uri="{FF2B5EF4-FFF2-40B4-BE49-F238E27FC236}">
                <a16:creationId xmlns:a16="http://schemas.microsoft.com/office/drawing/2014/main" id="{D00C73EA-1525-F024-9708-5F69349FB0F9}"/>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rgbClr val="30A566"/>
                </a:solidFill>
                <a:latin typeface="Aptos" panose="020B0004020202020204" pitchFamily="34" charset="0"/>
              </a:defRPr>
            </a:lvl1pPr>
          </a:lstStyle>
          <a:p>
            <a:pPr lvl="0"/>
            <a:r>
              <a:rPr lang="pt-BR"/>
              <a:t>Clique para editar os estilos de texto Mestres</a:t>
            </a:r>
          </a:p>
        </p:txBody>
      </p:sp>
      <p:grpSp>
        <p:nvGrpSpPr>
          <p:cNvPr id="19" name="Group 11">
            <a:extLst>
              <a:ext uri="{FF2B5EF4-FFF2-40B4-BE49-F238E27FC236}">
                <a16:creationId xmlns:a16="http://schemas.microsoft.com/office/drawing/2014/main" id="{16B4B973-384F-9262-166F-86991E1FAFB5}"/>
              </a:ext>
            </a:extLst>
          </p:cNvPr>
          <p:cNvGrpSpPr/>
          <p:nvPr/>
        </p:nvGrpSpPr>
        <p:grpSpPr>
          <a:xfrm>
            <a:off x="1139545" y="423418"/>
            <a:ext cx="216344" cy="216344"/>
            <a:chOff x="4794103" y="1588576"/>
            <a:chExt cx="1242488" cy="1242488"/>
          </a:xfrm>
        </p:grpSpPr>
        <p:sp>
          <p:nvSpPr>
            <p:cNvPr id="20" name="Freeform 13">
              <a:extLst>
                <a:ext uri="{FF2B5EF4-FFF2-40B4-BE49-F238E27FC236}">
                  <a16:creationId xmlns:a16="http://schemas.microsoft.com/office/drawing/2014/main" id="{8023814A-978B-AD40-1BB6-2191CDE534B2}"/>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21" name="Straight Connector 14">
              <a:extLst>
                <a:ext uri="{FF2B5EF4-FFF2-40B4-BE49-F238E27FC236}">
                  <a16:creationId xmlns:a16="http://schemas.microsoft.com/office/drawing/2014/main" id="{FB3DA217-A12D-E7F6-4B64-F35C7D7D045E}"/>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019071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Alt Tech Green without Title">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cxnSp>
        <p:nvCxnSpPr>
          <p:cNvPr id="5" name="Conector Reto 4">
            <a:extLst>
              <a:ext uri="{FF2B5EF4-FFF2-40B4-BE49-F238E27FC236}">
                <a16:creationId xmlns:a16="http://schemas.microsoft.com/office/drawing/2014/main" id="{7A7E61C3-EAFD-47E6-A70A-19B610220268}"/>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6" name="Rounded Rectangle 141">
            <a:extLst>
              <a:ext uri="{FF2B5EF4-FFF2-40B4-BE49-F238E27FC236}">
                <a16:creationId xmlns:a16="http://schemas.microsoft.com/office/drawing/2014/main" id="{6CEFC669-887A-BFD0-6151-232C1AE123C3}"/>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7" name="Agrupar 6">
            <a:extLst>
              <a:ext uri="{FF2B5EF4-FFF2-40B4-BE49-F238E27FC236}">
                <a16:creationId xmlns:a16="http://schemas.microsoft.com/office/drawing/2014/main" id="{BCC5E0DD-18FA-AA13-7771-942A7B61A6A0}"/>
              </a:ext>
            </a:extLst>
          </p:cNvPr>
          <p:cNvGrpSpPr/>
          <p:nvPr/>
        </p:nvGrpSpPr>
        <p:grpSpPr>
          <a:xfrm>
            <a:off x="232893" y="6274809"/>
            <a:ext cx="274453" cy="274454"/>
            <a:chOff x="10758947" y="6120020"/>
            <a:chExt cx="219971" cy="219972"/>
          </a:xfrm>
        </p:grpSpPr>
        <p:sp>
          <p:nvSpPr>
            <p:cNvPr id="8" name="Rounded Rectangle 7">
              <a:extLst>
                <a:ext uri="{FF2B5EF4-FFF2-40B4-BE49-F238E27FC236}">
                  <a16:creationId xmlns:a16="http://schemas.microsoft.com/office/drawing/2014/main" id="{48CEEEB3-6CC7-3B0D-2954-36236E7AA5F6}"/>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9" name="Graphic 15" descr="Ícone do menu de hambúrguer com preenchimento sólido">
              <a:extLst>
                <a:ext uri="{FF2B5EF4-FFF2-40B4-BE49-F238E27FC236}">
                  <a16:creationId xmlns:a16="http://schemas.microsoft.com/office/drawing/2014/main" id="{84632F75-A46C-AE88-9D91-356CFC2D44A4}"/>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0802327" y="6163409"/>
              <a:ext cx="133186" cy="133186"/>
            </a:xfrm>
            <a:prstGeom prst="rect">
              <a:avLst/>
            </a:prstGeom>
          </p:spPr>
        </p:pic>
      </p:grpSp>
      <p:sp>
        <p:nvSpPr>
          <p:cNvPr id="10" name="Retângulo 9">
            <a:hlinkClick r:id="rId8" action="ppaction://hlinksldjump"/>
            <a:extLst>
              <a:ext uri="{FF2B5EF4-FFF2-40B4-BE49-F238E27FC236}">
                <a16:creationId xmlns:a16="http://schemas.microsoft.com/office/drawing/2014/main" id="{1DAC8918-5B9D-79BA-B841-34BB4BF52A8F}"/>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Espaço Reservado para Texto 2">
            <a:extLst>
              <a:ext uri="{FF2B5EF4-FFF2-40B4-BE49-F238E27FC236}">
                <a16:creationId xmlns:a16="http://schemas.microsoft.com/office/drawing/2014/main" id="{BA6AC18B-1477-C15C-8066-3D46A255514B}"/>
              </a:ext>
            </a:extLst>
          </p:cNvPr>
          <p:cNvSpPr>
            <a:spLocks noGrp="1"/>
          </p:cNvSpPr>
          <p:nvPr>
            <p:ph idx="11" hasCustomPrompt="1"/>
          </p:nvPr>
        </p:nvSpPr>
        <p:spPr>
          <a:xfrm>
            <a:off x="2695328" y="6215427"/>
            <a:ext cx="675886" cy="393205"/>
          </a:xfrm>
          <a:prstGeom prst="rect">
            <a:avLst/>
          </a:prstGeom>
        </p:spPr>
        <p:txBody>
          <a:bodyPr vert="horz" lIns="91440" tIns="45720" rIns="91440" bIns="45720" rtlCol="0" anchor="ctr">
            <a:noAutofit/>
          </a:bodyPr>
          <a:lstStyle>
            <a:lvl1pPr marL="0" indent="0">
              <a:lnSpc>
                <a:spcPct val="70000"/>
              </a:lnSpc>
              <a:spcBef>
                <a:spcPts val="1200"/>
              </a:spcBef>
              <a:buNone/>
              <a:defRPr sz="1000" b="0">
                <a:solidFill>
                  <a:srgbClr val="2A2A2A"/>
                </a:solidFill>
                <a:latin typeface="Aptos" panose="020B0004020202020204" pitchFamily="34" charset="0"/>
              </a:defRPr>
            </a:lvl1pPr>
          </a:lstStyle>
          <a:p>
            <a:pPr lvl="0"/>
            <a:r>
              <a:rPr lang="pt-BR"/>
              <a:t>Nome da sessão</a:t>
            </a:r>
          </a:p>
        </p:txBody>
      </p:sp>
      <p:sp>
        <p:nvSpPr>
          <p:cNvPr id="4" name="Oval 3">
            <a:hlinkClick r:id="" action="ppaction://noaction"/>
            <a:extLst>
              <a:ext uri="{FF2B5EF4-FFF2-40B4-BE49-F238E27FC236}">
                <a16:creationId xmlns:a16="http://schemas.microsoft.com/office/drawing/2014/main" id="{FB35D42D-88B4-B7EE-241E-567B7DD18A5E}"/>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3" name="Rounded Rectangle 141">
            <a:hlinkClick r:id="" action="ppaction://noaction"/>
            <a:extLst>
              <a:ext uri="{FF2B5EF4-FFF2-40B4-BE49-F238E27FC236}">
                <a16:creationId xmlns:a16="http://schemas.microsoft.com/office/drawing/2014/main" id="{F42DB170-BB29-6BAD-F6B2-3B42E39173D9}"/>
              </a:ext>
            </a:extLst>
          </p:cNvPr>
          <p:cNvSpPr/>
          <p:nvPr/>
        </p:nvSpPr>
        <p:spPr>
          <a:xfrm>
            <a:off x="1500887" y="6264939"/>
            <a:ext cx="11868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Alternative Technologies</a:t>
            </a:r>
          </a:p>
          <a:p>
            <a:r>
              <a:rPr lang="en-US" sz="1100">
                <a:solidFill>
                  <a:srgbClr val="2A2A2A"/>
                </a:solidFill>
                <a:latin typeface="Aptos" panose="020B0004020202020204" pitchFamily="34" charset="0"/>
                <a:cs typeface="Plus Jakarta Sans" pitchFamily="2" charset="77"/>
              </a:rPr>
              <a:t>Index </a:t>
            </a:r>
          </a:p>
        </p:txBody>
      </p:sp>
      <p:pic>
        <p:nvPicPr>
          <p:cNvPr id="14" name="Gráfico 13" descr="Acento Circunflexo à Direita com preenchimento sólido">
            <a:extLst>
              <a:ext uri="{FF2B5EF4-FFF2-40B4-BE49-F238E27FC236}">
                <a16:creationId xmlns:a16="http://schemas.microsoft.com/office/drawing/2014/main" id="{2C986FBF-7C2F-6838-CE56-699CEE0B762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97141" y="6291508"/>
            <a:ext cx="274320" cy="274320"/>
          </a:xfrm>
          <a:prstGeom prst="rect">
            <a:avLst/>
          </a:prstGeom>
        </p:spPr>
      </p:pic>
      <p:cxnSp>
        <p:nvCxnSpPr>
          <p:cNvPr id="15" name="Conector Reto 14">
            <a:extLst>
              <a:ext uri="{FF2B5EF4-FFF2-40B4-BE49-F238E27FC236}">
                <a16:creationId xmlns:a16="http://schemas.microsoft.com/office/drawing/2014/main" id="{DA797A40-8ADA-623B-8562-249F81B211B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cxnSp>
        <p:nvCxnSpPr>
          <p:cNvPr id="16" name="Conector Reto 15">
            <a:extLst>
              <a:ext uri="{FF2B5EF4-FFF2-40B4-BE49-F238E27FC236}">
                <a16:creationId xmlns:a16="http://schemas.microsoft.com/office/drawing/2014/main" id="{972193CC-6EA3-BCE3-B546-5F38584979B3}"/>
              </a:ext>
            </a:extLst>
          </p:cNvPr>
          <p:cNvCxnSpPr>
            <a:cxnSpLocks/>
          </p:cNvCxnSpPr>
          <p:nvPr/>
        </p:nvCxnSpPr>
        <p:spPr>
          <a:xfrm>
            <a:off x="2559760"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9592447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Alternative_Technologies_Green_Index">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5" name="Conector Reto 4">
            <a:extLst>
              <a:ext uri="{FF2B5EF4-FFF2-40B4-BE49-F238E27FC236}">
                <a16:creationId xmlns:a16="http://schemas.microsoft.com/office/drawing/2014/main" id="{7A7E61C3-EAFD-47E6-A70A-19B610220268}"/>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6" name="Rounded Rectangle 141">
            <a:extLst>
              <a:ext uri="{FF2B5EF4-FFF2-40B4-BE49-F238E27FC236}">
                <a16:creationId xmlns:a16="http://schemas.microsoft.com/office/drawing/2014/main" id="{6CEFC669-887A-BFD0-6151-232C1AE123C3}"/>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7" name="Agrupar 6">
            <a:extLst>
              <a:ext uri="{FF2B5EF4-FFF2-40B4-BE49-F238E27FC236}">
                <a16:creationId xmlns:a16="http://schemas.microsoft.com/office/drawing/2014/main" id="{BCC5E0DD-18FA-AA13-7771-942A7B61A6A0}"/>
              </a:ext>
            </a:extLst>
          </p:cNvPr>
          <p:cNvGrpSpPr/>
          <p:nvPr/>
        </p:nvGrpSpPr>
        <p:grpSpPr>
          <a:xfrm>
            <a:off x="232893" y="6274809"/>
            <a:ext cx="274453" cy="274454"/>
            <a:chOff x="10758947" y="6120020"/>
            <a:chExt cx="219971" cy="219972"/>
          </a:xfrm>
        </p:grpSpPr>
        <p:sp>
          <p:nvSpPr>
            <p:cNvPr id="8" name="Rounded Rectangle 7">
              <a:extLst>
                <a:ext uri="{FF2B5EF4-FFF2-40B4-BE49-F238E27FC236}">
                  <a16:creationId xmlns:a16="http://schemas.microsoft.com/office/drawing/2014/main" id="{48CEEEB3-6CC7-3B0D-2954-36236E7AA5F6}"/>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9" name="Graphic 15" descr="Ícone do menu de hambúrguer com preenchimento sólido">
              <a:extLst>
                <a:ext uri="{FF2B5EF4-FFF2-40B4-BE49-F238E27FC236}">
                  <a16:creationId xmlns:a16="http://schemas.microsoft.com/office/drawing/2014/main" id="{84632F75-A46C-AE88-9D91-356CFC2D44A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10" name="Retângulo 9">
            <a:hlinkClick r:id="rId10" action="ppaction://hlinksldjump"/>
            <a:extLst>
              <a:ext uri="{FF2B5EF4-FFF2-40B4-BE49-F238E27FC236}">
                <a16:creationId xmlns:a16="http://schemas.microsoft.com/office/drawing/2014/main" id="{1DAC8918-5B9D-79BA-B841-34BB4BF52A8F}"/>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Oval 3">
            <a:hlinkClick r:id="" action="ppaction://noaction"/>
            <a:extLst>
              <a:ext uri="{FF2B5EF4-FFF2-40B4-BE49-F238E27FC236}">
                <a16:creationId xmlns:a16="http://schemas.microsoft.com/office/drawing/2014/main" id="{FB35D42D-88B4-B7EE-241E-567B7DD18A5E}"/>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3" name="Rounded Rectangle 141">
            <a:hlinkClick r:id="" action="ppaction://noaction"/>
            <a:extLst>
              <a:ext uri="{FF2B5EF4-FFF2-40B4-BE49-F238E27FC236}">
                <a16:creationId xmlns:a16="http://schemas.microsoft.com/office/drawing/2014/main" id="{F42DB170-BB29-6BAD-F6B2-3B42E39173D9}"/>
              </a:ext>
            </a:extLst>
          </p:cNvPr>
          <p:cNvSpPr/>
          <p:nvPr/>
        </p:nvSpPr>
        <p:spPr>
          <a:xfrm>
            <a:off x="1500887" y="6264939"/>
            <a:ext cx="11868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Alternative Technologies</a:t>
            </a:r>
          </a:p>
          <a:p>
            <a:r>
              <a:rPr lang="en-US" sz="1100">
                <a:solidFill>
                  <a:srgbClr val="2A2A2A"/>
                </a:solidFill>
                <a:latin typeface="Aptos" panose="020B0004020202020204" pitchFamily="34" charset="0"/>
                <a:cs typeface="Plus Jakarta Sans" pitchFamily="2" charset="77"/>
              </a:rPr>
              <a:t>Index </a:t>
            </a:r>
          </a:p>
        </p:txBody>
      </p:sp>
      <p:pic>
        <p:nvPicPr>
          <p:cNvPr id="14" name="Gráfico 13" descr="Acento Circunflexo à Direita com preenchimento sólido">
            <a:extLst>
              <a:ext uri="{FF2B5EF4-FFF2-40B4-BE49-F238E27FC236}">
                <a16:creationId xmlns:a16="http://schemas.microsoft.com/office/drawing/2014/main" id="{2C986FBF-7C2F-6838-CE56-699CEE0B762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cxnSp>
        <p:nvCxnSpPr>
          <p:cNvPr id="15" name="Conector Reto 14">
            <a:extLst>
              <a:ext uri="{FF2B5EF4-FFF2-40B4-BE49-F238E27FC236}">
                <a16:creationId xmlns:a16="http://schemas.microsoft.com/office/drawing/2014/main" id="{DA797A40-8ADA-623B-8562-249F81B211B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cxnSp>
        <p:nvCxnSpPr>
          <p:cNvPr id="16" name="Conector Reto 15">
            <a:extLst>
              <a:ext uri="{FF2B5EF4-FFF2-40B4-BE49-F238E27FC236}">
                <a16:creationId xmlns:a16="http://schemas.microsoft.com/office/drawing/2014/main" id="{972193CC-6EA3-BCE3-B546-5F38584979B3}"/>
              </a:ext>
            </a:extLst>
          </p:cNvPr>
          <p:cNvCxnSpPr>
            <a:cxnSpLocks/>
          </p:cNvCxnSpPr>
          <p:nvPr/>
        </p:nvCxnSpPr>
        <p:spPr>
          <a:xfrm>
            <a:off x="2559760"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17" name="Espaço Reservado para Título 1">
            <a:extLst>
              <a:ext uri="{FF2B5EF4-FFF2-40B4-BE49-F238E27FC236}">
                <a16:creationId xmlns:a16="http://schemas.microsoft.com/office/drawing/2014/main" id="{C2096937-50FF-70D0-B462-1AD37209272A}"/>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18" name="Espaço Reservado para Texto 2">
            <a:extLst>
              <a:ext uri="{FF2B5EF4-FFF2-40B4-BE49-F238E27FC236}">
                <a16:creationId xmlns:a16="http://schemas.microsoft.com/office/drawing/2014/main" id="{D00C73EA-1525-F024-9708-5F69349FB0F9}"/>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rgbClr val="30A566"/>
                </a:solidFill>
                <a:latin typeface="Aptos" panose="020B0004020202020204" pitchFamily="34" charset="0"/>
              </a:defRPr>
            </a:lvl1pPr>
          </a:lstStyle>
          <a:p>
            <a:pPr lvl="0"/>
            <a:r>
              <a:rPr lang="pt-BR"/>
              <a:t>Clique para editar os estilos de texto Mestres</a:t>
            </a:r>
          </a:p>
        </p:txBody>
      </p:sp>
      <p:grpSp>
        <p:nvGrpSpPr>
          <p:cNvPr id="19" name="Group 11">
            <a:extLst>
              <a:ext uri="{FF2B5EF4-FFF2-40B4-BE49-F238E27FC236}">
                <a16:creationId xmlns:a16="http://schemas.microsoft.com/office/drawing/2014/main" id="{16B4B973-384F-9262-166F-86991E1FAFB5}"/>
              </a:ext>
            </a:extLst>
          </p:cNvPr>
          <p:cNvGrpSpPr/>
          <p:nvPr/>
        </p:nvGrpSpPr>
        <p:grpSpPr>
          <a:xfrm>
            <a:off x="1139545" y="423418"/>
            <a:ext cx="216344" cy="216344"/>
            <a:chOff x="4794103" y="1588576"/>
            <a:chExt cx="1242488" cy="1242488"/>
          </a:xfrm>
        </p:grpSpPr>
        <p:sp>
          <p:nvSpPr>
            <p:cNvPr id="20" name="Freeform 13">
              <a:extLst>
                <a:ext uri="{FF2B5EF4-FFF2-40B4-BE49-F238E27FC236}">
                  <a16:creationId xmlns:a16="http://schemas.microsoft.com/office/drawing/2014/main" id="{8023814A-978B-AD40-1BB6-2191CDE534B2}"/>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21" name="Straight Connector 14">
              <a:extLst>
                <a:ext uri="{FF2B5EF4-FFF2-40B4-BE49-F238E27FC236}">
                  <a16:creationId xmlns:a16="http://schemas.microsoft.com/office/drawing/2014/main" id="{FB3DA217-A12D-E7F6-4B64-F35C7D7D045E}"/>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sp>
        <p:nvSpPr>
          <p:cNvPr id="3" name="Rounded Rectangle 141">
            <a:hlinkClick r:id="" action="ppaction://noaction"/>
            <a:extLst>
              <a:ext uri="{FF2B5EF4-FFF2-40B4-BE49-F238E27FC236}">
                <a16:creationId xmlns:a16="http://schemas.microsoft.com/office/drawing/2014/main" id="{538781AD-67F6-BA94-E094-6D1B74940AB3}"/>
              </a:ext>
            </a:extLst>
          </p:cNvPr>
          <p:cNvSpPr/>
          <p:nvPr/>
        </p:nvSpPr>
        <p:spPr>
          <a:xfrm>
            <a:off x="2570591" y="6251412"/>
            <a:ext cx="742452" cy="330288"/>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000">
                <a:solidFill>
                  <a:schemeClr val="tx1"/>
                </a:solidFill>
                <a:latin typeface="Aptos" panose="020B0004020202020204" pitchFamily="34" charset="0"/>
                <a:cs typeface="Plus Jakarta Sans" pitchFamily="2" charset="77"/>
              </a:rPr>
              <a:t>FCEV</a:t>
            </a:r>
          </a:p>
        </p:txBody>
      </p:sp>
    </p:spTree>
    <p:extLst>
      <p:ext uri="{BB962C8B-B14F-4D97-AF65-F5344CB8AC3E}">
        <p14:creationId xmlns:p14="http://schemas.microsoft.com/office/powerpoint/2010/main" val="194460217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1_Green_Biodiesel">
    <p:spTree>
      <p:nvGrpSpPr>
        <p:cNvPr id="1" name=""/>
        <p:cNvGrpSpPr/>
        <p:nvPr/>
      </p:nvGrpSpPr>
      <p:grpSpPr>
        <a:xfrm>
          <a:off x="0" y="0"/>
          <a:ext cx="0" cy="0"/>
          <a:chOff x="0" y="0"/>
          <a:chExt cx="0" cy="0"/>
        </a:xfrm>
      </p:grpSpPr>
      <p:sp>
        <p:nvSpPr>
          <p:cNvPr id="5" name="Espaço Reservado para Título 1">
            <a:extLst>
              <a:ext uri="{FF2B5EF4-FFF2-40B4-BE49-F238E27FC236}">
                <a16:creationId xmlns:a16="http://schemas.microsoft.com/office/drawing/2014/main" id="{200667EA-73C3-5C7F-05D6-D4EA19E15A00}"/>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6" name="Espaço Reservado para Texto 2">
            <a:extLst>
              <a:ext uri="{FF2B5EF4-FFF2-40B4-BE49-F238E27FC236}">
                <a16:creationId xmlns:a16="http://schemas.microsoft.com/office/drawing/2014/main" id="{26CA08C1-E9D4-CC95-9809-5EF47BC39692}"/>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rgbClr val="30A566"/>
                </a:solidFill>
                <a:latin typeface="Aptos" panose="020B0004020202020204" pitchFamily="34" charset="0"/>
              </a:defRPr>
            </a:lvl1pPr>
          </a:lstStyle>
          <a:p>
            <a:pPr lvl="0"/>
            <a:r>
              <a:rPr lang="pt-BR"/>
              <a:t>Clique para editar os estilos de texto Mestres</a:t>
            </a:r>
          </a:p>
        </p:txBody>
      </p:sp>
      <p:grpSp>
        <p:nvGrpSpPr>
          <p:cNvPr id="7" name="Group 11">
            <a:extLst>
              <a:ext uri="{FF2B5EF4-FFF2-40B4-BE49-F238E27FC236}">
                <a16:creationId xmlns:a16="http://schemas.microsoft.com/office/drawing/2014/main" id="{21302BE7-9B35-92B8-D526-EEAA6C8F2EF4}"/>
              </a:ext>
            </a:extLst>
          </p:cNvPr>
          <p:cNvGrpSpPr/>
          <p:nvPr/>
        </p:nvGrpSpPr>
        <p:grpSpPr>
          <a:xfrm>
            <a:off x="1139545" y="423418"/>
            <a:ext cx="216344" cy="216344"/>
            <a:chOff x="4794103" y="1588576"/>
            <a:chExt cx="1242488" cy="1242488"/>
          </a:xfrm>
        </p:grpSpPr>
        <p:sp>
          <p:nvSpPr>
            <p:cNvPr id="8" name="Freeform 13">
              <a:extLst>
                <a:ext uri="{FF2B5EF4-FFF2-40B4-BE49-F238E27FC236}">
                  <a16:creationId xmlns:a16="http://schemas.microsoft.com/office/drawing/2014/main" id="{6A8D0E23-6194-9B17-DBB4-254F12528880}"/>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9" name="Straight Connector 14">
              <a:extLst>
                <a:ext uri="{FF2B5EF4-FFF2-40B4-BE49-F238E27FC236}">
                  <a16:creationId xmlns:a16="http://schemas.microsoft.com/office/drawing/2014/main" id="{555C1BEB-59D2-2284-1A67-11B56F0E42DF}"/>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25" name="Rounded Rectangle 141">
            <a:extLst>
              <a:ext uri="{FF2B5EF4-FFF2-40B4-BE49-F238E27FC236}">
                <a16:creationId xmlns:a16="http://schemas.microsoft.com/office/drawing/2014/main" id="{4A410DA7-C4FF-C59C-010A-B3849C2655AC}"/>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26" name="Agrupar 25">
            <a:extLst>
              <a:ext uri="{FF2B5EF4-FFF2-40B4-BE49-F238E27FC236}">
                <a16:creationId xmlns:a16="http://schemas.microsoft.com/office/drawing/2014/main" id="{3B6EBADF-89A4-0EDA-F75C-B83D99CA0415}"/>
              </a:ext>
            </a:extLst>
          </p:cNvPr>
          <p:cNvGrpSpPr/>
          <p:nvPr/>
        </p:nvGrpSpPr>
        <p:grpSpPr>
          <a:xfrm>
            <a:off x="232893" y="6274809"/>
            <a:ext cx="274453" cy="274454"/>
            <a:chOff x="10758947" y="6120020"/>
            <a:chExt cx="219971" cy="219972"/>
          </a:xfrm>
        </p:grpSpPr>
        <p:sp>
          <p:nvSpPr>
            <p:cNvPr id="27" name="Rounded Rectangle 7">
              <a:extLst>
                <a:ext uri="{FF2B5EF4-FFF2-40B4-BE49-F238E27FC236}">
                  <a16:creationId xmlns:a16="http://schemas.microsoft.com/office/drawing/2014/main" id="{5407DD0B-1E54-3E9C-1157-B573039D1F96}"/>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28" name="Graphic 15" descr="Ícone do menu de hambúrguer com preenchimento sólido">
              <a:extLst>
                <a:ext uri="{FF2B5EF4-FFF2-40B4-BE49-F238E27FC236}">
                  <a16:creationId xmlns:a16="http://schemas.microsoft.com/office/drawing/2014/main" id="{6A623B30-6D49-DC25-EE4A-6A62C5441CB0}"/>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29" name="Retângulo 28">
            <a:hlinkClick r:id="rId10" action="ppaction://hlinksldjump"/>
            <a:extLst>
              <a:ext uri="{FF2B5EF4-FFF2-40B4-BE49-F238E27FC236}">
                <a16:creationId xmlns:a16="http://schemas.microsoft.com/office/drawing/2014/main" id="{1555B2AD-7DE1-DABC-29F8-4B8CC2DF601B}"/>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2" name="Conector Reto 1">
            <a:extLst>
              <a:ext uri="{FF2B5EF4-FFF2-40B4-BE49-F238E27FC236}">
                <a16:creationId xmlns:a16="http://schemas.microsoft.com/office/drawing/2014/main" id="{6747B179-16E4-459D-044F-6CD857C8BD4C}"/>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 name="Oval 2">
            <a:hlinkClick r:id="" action="ppaction://noaction"/>
            <a:extLst>
              <a:ext uri="{FF2B5EF4-FFF2-40B4-BE49-F238E27FC236}">
                <a16:creationId xmlns:a16="http://schemas.microsoft.com/office/drawing/2014/main" id="{B43BFA0B-C63A-6423-27F6-4A23E87812A8}"/>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4" name="Rounded Rectangle 141">
            <a:hlinkClick r:id="" action="ppaction://noaction"/>
            <a:extLst>
              <a:ext uri="{FF2B5EF4-FFF2-40B4-BE49-F238E27FC236}">
                <a16:creationId xmlns:a16="http://schemas.microsoft.com/office/drawing/2014/main" id="{C0E42ABC-2246-00D5-F8CC-97026AFEC822}"/>
              </a:ext>
            </a:extLst>
          </p:cNvPr>
          <p:cNvSpPr/>
          <p:nvPr/>
        </p:nvSpPr>
        <p:spPr>
          <a:xfrm>
            <a:off x="1500887" y="6274083"/>
            <a:ext cx="11868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Alternative Technologies</a:t>
            </a:r>
          </a:p>
          <a:p>
            <a:r>
              <a:rPr lang="en-US" sz="1100">
                <a:solidFill>
                  <a:srgbClr val="2A2A2A"/>
                </a:solidFill>
                <a:latin typeface="Aptos" panose="020B0004020202020204" pitchFamily="34" charset="0"/>
                <a:cs typeface="Plus Jakarta Sans" pitchFamily="2" charset="77"/>
              </a:rPr>
              <a:t>Index </a:t>
            </a:r>
          </a:p>
        </p:txBody>
      </p:sp>
      <p:pic>
        <p:nvPicPr>
          <p:cNvPr id="10" name="Gráfico 9" descr="Acento Circunflexo à Direita com preenchimento sólido">
            <a:extLst>
              <a:ext uri="{FF2B5EF4-FFF2-40B4-BE49-F238E27FC236}">
                <a16:creationId xmlns:a16="http://schemas.microsoft.com/office/drawing/2014/main" id="{F39C2619-DCA0-AD64-709A-0BAAE9A1CD5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cxnSp>
        <p:nvCxnSpPr>
          <p:cNvPr id="13" name="Conector Reto 12">
            <a:extLst>
              <a:ext uri="{FF2B5EF4-FFF2-40B4-BE49-F238E27FC236}">
                <a16:creationId xmlns:a16="http://schemas.microsoft.com/office/drawing/2014/main" id="{223BF401-519D-05DF-546E-94F6CD8EF474}"/>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cxnSp>
        <p:nvCxnSpPr>
          <p:cNvPr id="14" name="Conector Reto 13">
            <a:extLst>
              <a:ext uri="{FF2B5EF4-FFF2-40B4-BE49-F238E27FC236}">
                <a16:creationId xmlns:a16="http://schemas.microsoft.com/office/drawing/2014/main" id="{9B7BDCFF-5636-746D-BDE0-D950A3BF82AD}"/>
              </a:ext>
            </a:extLst>
          </p:cNvPr>
          <p:cNvCxnSpPr>
            <a:cxnSpLocks/>
          </p:cNvCxnSpPr>
          <p:nvPr/>
        </p:nvCxnSpPr>
        <p:spPr>
          <a:xfrm>
            <a:off x="2541472"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18" name="Rounded Rectangle 141">
            <a:hlinkClick r:id="" action="ppaction://noaction"/>
            <a:extLst>
              <a:ext uri="{FF2B5EF4-FFF2-40B4-BE49-F238E27FC236}">
                <a16:creationId xmlns:a16="http://schemas.microsoft.com/office/drawing/2014/main" id="{05B0ADEC-9CBD-6CE0-6E0F-94A01535D643}"/>
              </a:ext>
            </a:extLst>
          </p:cNvPr>
          <p:cNvSpPr/>
          <p:nvPr/>
        </p:nvSpPr>
        <p:spPr>
          <a:xfrm>
            <a:off x="2570591" y="6251412"/>
            <a:ext cx="742452" cy="330288"/>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000">
                <a:solidFill>
                  <a:schemeClr val="tx1"/>
                </a:solidFill>
                <a:latin typeface="Aptos" panose="020B0004020202020204" pitchFamily="34" charset="0"/>
                <a:cs typeface="Plus Jakarta Sans" pitchFamily="2" charset="77"/>
              </a:rPr>
              <a:t>Biodiesel</a:t>
            </a:r>
          </a:p>
        </p:txBody>
      </p:sp>
    </p:spTree>
    <p:extLst>
      <p:ext uri="{BB962C8B-B14F-4D97-AF65-F5344CB8AC3E}">
        <p14:creationId xmlns:p14="http://schemas.microsoft.com/office/powerpoint/2010/main" val="192539513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2_Green_Renewable diesel">
    <p:spTree>
      <p:nvGrpSpPr>
        <p:cNvPr id="1" name=""/>
        <p:cNvGrpSpPr/>
        <p:nvPr/>
      </p:nvGrpSpPr>
      <p:grpSpPr>
        <a:xfrm>
          <a:off x="0" y="0"/>
          <a:ext cx="0" cy="0"/>
          <a:chOff x="0" y="0"/>
          <a:chExt cx="0" cy="0"/>
        </a:xfrm>
      </p:grpSpPr>
      <p:sp>
        <p:nvSpPr>
          <p:cNvPr id="5" name="Espaço Reservado para Título 1">
            <a:extLst>
              <a:ext uri="{FF2B5EF4-FFF2-40B4-BE49-F238E27FC236}">
                <a16:creationId xmlns:a16="http://schemas.microsoft.com/office/drawing/2014/main" id="{200667EA-73C3-5C7F-05D6-D4EA19E15A00}"/>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6" name="Espaço Reservado para Texto 2">
            <a:extLst>
              <a:ext uri="{FF2B5EF4-FFF2-40B4-BE49-F238E27FC236}">
                <a16:creationId xmlns:a16="http://schemas.microsoft.com/office/drawing/2014/main" id="{26CA08C1-E9D4-CC95-9809-5EF47BC39692}"/>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rgbClr val="30A566"/>
                </a:solidFill>
                <a:latin typeface="Aptos" panose="020B0004020202020204" pitchFamily="34" charset="0"/>
              </a:defRPr>
            </a:lvl1pPr>
          </a:lstStyle>
          <a:p>
            <a:pPr lvl="0"/>
            <a:r>
              <a:rPr lang="pt-BR"/>
              <a:t>Clique para editar os estilos de texto Mestres</a:t>
            </a:r>
          </a:p>
        </p:txBody>
      </p:sp>
      <p:grpSp>
        <p:nvGrpSpPr>
          <p:cNvPr id="7" name="Group 11">
            <a:extLst>
              <a:ext uri="{FF2B5EF4-FFF2-40B4-BE49-F238E27FC236}">
                <a16:creationId xmlns:a16="http://schemas.microsoft.com/office/drawing/2014/main" id="{21302BE7-9B35-92B8-D526-EEAA6C8F2EF4}"/>
              </a:ext>
            </a:extLst>
          </p:cNvPr>
          <p:cNvGrpSpPr/>
          <p:nvPr/>
        </p:nvGrpSpPr>
        <p:grpSpPr>
          <a:xfrm>
            <a:off x="1139545" y="423418"/>
            <a:ext cx="216344" cy="216344"/>
            <a:chOff x="4794103" y="1588576"/>
            <a:chExt cx="1242488" cy="1242488"/>
          </a:xfrm>
        </p:grpSpPr>
        <p:sp>
          <p:nvSpPr>
            <p:cNvPr id="8" name="Freeform 13">
              <a:extLst>
                <a:ext uri="{FF2B5EF4-FFF2-40B4-BE49-F238E27FC236}">
                  <a16:creationId xmlns:a16="http://schemas.microsoft.com/office/drawing/2014/main" id="{6A8D0E23-6194-9B17-DBB4-254F12528880}"/>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9" name="Straight Connector 14">
              <a:extLst>
                <a:ext uri="{FF2B5EF4-FFF2-40B4-BE49-F238E27FC236}">
                  <a16:creationId xmlns:a16="http://schemas.microsoft.com/office/drawing/2014/main" id="{555C1BEB-59D2-2284-1A67-11B56F0E42DF}"/>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25" name="Rounded Rectangle 141">
            <a:extLst>
              <a:ext uri="{FF2B5EF4-FFF2-40B4-BE49-F238E27FC236}">
                <a16:creationId xmlns:a16="http://schemas.microsoft.com/office/drawing/2014/main" id="{4A410DA7-C4FF-C59C-010A-B3849C2655AC}"/>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26" name="Agrupar 25">
            <a:extLst>
              <a:ext uri="{FF2B5EF4-FFF2-40B4-BE49-F238E27FC236}">
                <a16:creationId xmlns:a16="http://schemas.microsoft.com/office/drawing/2014/main" id="{3B6EBADF-89A4-0EDA-F75C-B83D99CA0415}"/>
              </a:ext>
            </a:extLst>
          </p:cNvPr>
          <p:cNvGrpSpPr/>
          <p:nvPr/>
        </p:nvGrpSpPr>
        <p:grpSpPr>
          <a:xfrm>
            <a:off x="232893" y="6274809"/>
            <a:ext cx="274453" cy="274454"/>
            <a:chOff x="10758947" y="6120020"/>
            <a:chExt cx="219971" cy="219972"/>
          </a:xfrm>
        </p:grpSpPr>
        <p:sp>
          <p:nvSpPr>
            <p:cNvPr id="27" name="Rounded Rectangle 7">
              <a:extLst>
                <a:ext uri="{FF2B5EF4-FFF2-40B4-BE49-F238E27FC236}">
                  <a16:creationId xmlns:a16="http://schemas.microsoft.com/office/drawing/2014/main" id="{5407DD0B-1E54-3E9C-1157-B573039D1F96}"/>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28" name="Graphic 15" descr="Ícone do menu de hambúrguer com preenchimento sólido">
              <a:extLst>
                <a:ext uri="{FF2B5EF4-FFF2-40B4-BE49-F238E27FC236}">
                  <a16:creationId xmlns:a16="http://schemas.microsoft.com/office/drawing/2014/main" id="{6A623B30-6D49-DC25-EE4A-6A62C5441CB0}"/>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29" name="Retângulo 28">
            <a:hlinkClick r:id="rId10" action="ppaction://hlinksldjump"/>
            <a:extLst>
              <a:ext uri="{FF2B5EF4-FFF2-40B4-BE49-F238E27FC236}">
                <a16:creationId xmlns:a16="http://schemas.microsoft.com/office/drawing/2014/main" id="{1555B2AD-7DE1-DABC-29F8-4B8CC2DF601B}"/>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2" name="Conector Reto 1">
            <a:extLst>
              <a:ext uri="{FF2B5EF4-FFF2-40B4-BE49-F238E27FC236}">
                <a16:creationId xmlns:a16="http://schemas.microsoft.com/office/drawing/2014/main" id="{6747B179-16E4-459D-044F-6CD857C8BD4C}"/>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 name="Oval 2">
            <a:hlinkClick r:id="" action="ppaction://noaction"/>
            <a:extLst>
              <a:ext uri="{FF2B5EF4-FFF2-40B4-BE49-F238E27FC236}">
                <a16:creationId xmlns:a16="http://schemas.microsoft.com/office/drawing/2014/main" id="{B43BFA0B-C63A-6423-27F6-4A23E87812A8}"/>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4" name="Rounded Rectangle 141">
            <a:hlinkClick r:id="" action="ppaction://noaction"/>
            <a:extLst>
              <a:ext uri="{FF2B5EF4-FFF2-40B4-BE49-F238E27FC236}">
                <a16:creationId xmlns:a16="http://schemas.microsoft.com/office/drawing/2014/main" id="{C0E42ABC-2246-00D5-F8CC-97026AFEC822}"/>
              </a:ext>
            </a:extLst>
          </p:cNvPr>
          <p:cNvSpPr/>
          <p:nvPr/>
        </p:nvSpPr>
        <p:spPr>
          <a:xfrm>
            <a:off x="1500887" y="6274083"/>
            <a:ext cx="11868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Alternative Technologies</a:t>
            </a:r>
          </a:p>
          <a:p>
            <a:r>
              <a:rPr lang="en-US" sz="1100">
                <a:solidFill>
                  <a:srgbClr val="2A2A2A"/>
                </a:solidFill>
                <a:latin typeface="Aptos" panose="020B0004020202020204" pitchFamily="34" charset="0"/>
                <a:cs typeface="Plus Jakarta Sans" pitchFamily="2" charset="77"/>
              </a:rPr>
              <a:t>Index </a:t>
            </a:r>
          </a:p>
        </p:txBody>
      </p:sp>
      <p:pic>
        <p:nvPicPr>
          <p:cNvPr id="10" name="Gráfico 9" descr="Acento Circunflexo à Direita com preenchimento sólido">
            <a:extLst>
              <a:ext uri="{FF2B5EF4-FFF2-40B4-BE49-F238E27FC236}">
                <a16:creationId xmlns:a16="http://schemas.microsoft.com/office/drawing/2014/main" id="{F39C2619-DCA0-AD64-709A-0BAAE9A1CD5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cxnSp>
        <p:nvCxnSpPr>
          <p:cNvPr id="13" name="Conector Reto 12">
            <a:extLst>
              <a:ext uri="{FF2B5EF4-FFF2-40B4-BE49-F238E27FC236}">
                <a16:creationId xmlns:a16="http://schemas.microsoft.com/office/drawing/2014/main" id="{223BF401-519D-05DF-546E-94F6CD8EF474}"/>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cxnSp>
        <p:nvCxnSpPr>
          <p:cNvPr id="14" name="Conector Reto 13">
            <a:extLst>
              <a:ext uri="{FF2B5EF4-FFF2-40B4-BE49-F238E27FC236}">
                <a16:creationId xmlns:a16="http://schemas.microsoft.com/office/drawing/2014/main" id="{9B7BDCFF-5636-746D-BDE0-D950A3BF82AD}"/>
              </a:ext>
            </a:extLst>
          </p:cNvPr>
          <p:cNvCxnSpPr>
            <a:cxnSpLocks/>
          </p:cNvCxnSpPr>
          <p:nvPr/>
        </p:nvCxnSpPr>
        <p:spPr>
          <a:xfrm>
            <a:off x="2541472"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16" name="Rounded Rectangle 141">
            <a:hlinkClick r:id="" action="ppaction://noaction"/>
            <a:extLst>
              <a:ext uri="{FF2B5EF4-FFF2-40B4-BE49-F238E27FC236}">
                <a16:creationId xmlns:a16="http://schemas.microsoft.com/office/drawing/2014/main" id="{CBCB4363-CE39-3B6F-87D1-9FE3D9DF4B6D}"/>
              </a:ext>
            </a:extLst>
          </p:cNvPr>
          <p:cNvSpPr/>
          <p:nvPr/>
        </p:nvSpPr>
        <p:spPr>
          <a:xfrm>
            <a:off x="2570590" y="6251412"/>
            <a:ext cx="855515" cy="330288"/>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000">
                <a:solidFill>
                  <a:schemeClr val="tx1"/>
                </a:solidFill>
                <a:latin typeface="Aptos" panose="020B0004020202020204" pitchFamily="34" charset="0"/>
                <a:cs typeface="Plus Jakarta Sans" pitchFamily="2" charset="77"/>
              </a:rPr>
              <a:t>Renewable Diesel</a:t>
            </a:r>
          </a:p>
        </p:txBody>
      </p:sp>
    </p:spTree>
    <p:extLst>
      <p:ext uri="{BB962C8B-B14F-4D97-AF65-F5344CB8AC3E}">
        <p14:creationId xmlns:p14="http://schemas.microsoft.com/office/powerpoint/2010/main" val="26921368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2_Alternative_Technologies_Green_Index">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cxnSp>
        <p:nvCxnSpPr>
          <p:cNvPr id="5" name="Conector Reto 4">
            <a:extLst>
              <a:ext uri="{FF2B5EF4-FFF2-40B4-BE49-F238E27FC236}">
                <a16:creationId xmlns:a16="http://schemas.microsoft.com/office/drawing/2014/main" id="{7A7E61C3-EAFD-47E6-A70A-19B610220268}"/>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6" name="Rounded Rectangle 141">
            <a:extLst>
              <a:ext uri="{FF2B5EF4-FFF2-40B4-BE49-F238E27FC236}">
                <a16:creationId xmlns:a16="http://schemas.microsoft.com/office/drawing/2014/main" id="{6CEFC669-887A-BFD0-6151-232C1AE123C3}"/>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7" name="Agrupar 6">
            <a:extLst>
              <a:ext uri="{FF2B5EF4-FFF2-40B4-BE49-F238E27FC236}">
                <a16:creationId xmlns:a16="http://schemas.microsoft.com/office/drawing/2014/main" id="{BCC5E0DD-18FA-AA13-7771-942A7B61A6A0}"/>
              </a:ext>
            </a:extLst>
          </p:cNvPr>
          <p:cNvGrpSpPr/>
          <p:nvPr/>
        </p:nvGrpSpPr>
        <p:grpSpPr>
          <a:xfrm>
            <a:off x="232893" y="6274809"/>
            <a:ext cx="274453" cy="274454"/>
            <a:chOff x="10758947" y="6120020"/>
            <a:chExt cx="219971" cy="219972"/>
          </a:xfrm>
        </p:grpSpPr>
        <p:sp>
          <p:nvSpPr>
            <p:cNvPr id="8" name="Rounded Rectangle 7">
              <a:extLst>
                <a:ext uri="{FF2B5EF4-FFF2-40B4-BE49-F238E27FC236}">
                  <a16:creationId xmlns:a16="http://schemas.microsoft.com/office/drawing/2014/main" id="{48CEEEB3-6CC7-3B0D-2954-36236E7AA5F6}"/>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9" name="Graphic 15" descr="Ícone do menu de hambúrguer com preenchimento sólido">
              <a:extLst>
                <a:ext uri="{FF2B5EF4-FFF2-40B4-BE49-F238E27FC236}">
                  <a16:creationId xmlns:a16="http://schemas.microsoft.com/office/drawing/2014/main" id="{84632F75-A46C-AE88-9D91-356CFC2D44A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10" name="Retângulo 9">
            <a:hlinkClick r:id="rId10" action="ppaction://hlinksldjump"/>
            <a:extLst>
              <a:ext uri="{FF2B5EF4-FFF2-40B4-BE49-F238E27FC236}">
                <a16:creationId xmlns:a16="http://schemas.microsoft.com/office/drawing/2014/main" id="{1DAC8918-5B9D-79BA-B841-34BB4BF52A8F}"/>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Oval 3">
            <a:hlinkClick r:id="" action="ppaction://noaction"/>
            <a:extLst>
              <a:ext uri="{FF2B5EF4-FFF2-40B4-BE49-F238E27FC236}">
                <a16:creationId xmlns:a16="http://schemas.microsoft.com/office/drawing/2014/main" id="{FB35D42D-88B4-B7EE-241E-567B7DD18A5E}"/>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3" name="Rounded Rectangle 141">
            <a:hlinkClick r:id="" action="ppaction://noaction"/>
            <a:extLst>
              <a:ext uri="{FF2B5EF4-FFF2-40B4-BE49-F238E27FC236}">
                <a16:creationId xmlns:a16="http://schemas.microsoft.com/office/drawing/2014/main" id="{F42DB170-BB29-6BAD-F6B2-3B42E39173D9}"/>
              </a:ext>
            </a:extLst>
          </p:cNvPr>
          <p:cNvSpPr/>
          <p:nvPr/>
        </p:nvSpPr>
        <p:spPr>
          <a:xfrm>
            <a:off x="1500887" y="6264939"/>
            <a:ext cx="11868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Alternative Technologies</a:t>
            </a:r>
          </a:p>
          <a:p>
            <a:r>
              <a:rPr lang="en-US" sz="1100">
                <a:solidFill>
                  <a:srgbClr val="2A2A2A"/>
                </a:solidFill>
                <a:latin typeface="Aptos" panose="020B0004020202020204" pitchFamily="34" charset="0"/>
                <a:cs typeface="Plus Jakarta Sans" pitchFamily="2" charset="77"/>
              </a:rPr>
              <a:t>Index </a:t>
            </a:r>
          </a:p>
        </p:txBody>
      </p:sp>
      <p:pic>
        <p:nvPicPr>
          <p:cNvPr id="14" name="Gráfico 13" descr="Acento Circunflexo à Direita com preenchimento sólido">
            <a:extLst>
              <a:ext uri="{FF2B5EF4-FFF2-40B4-BE49-F238E27FC236}">
                <a16:creationId xmlns:a16="http://schemas.microsoft.com/office/drawing/2014/main" id="{2C986FBF-7C2F-6838-CE56-699CEE0B762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cxnSp>
        <p:nvCxnSpPr>
          <p:cNvPr id="15" name="Conector Reto 14">
            <a:extLst>
              <a:ext uri="{FF2B5EF4-FFF2-40B4-BE49-F238E27FC236}">
                <a16:creationId xmlns:a16="http://schemas.microsoft.com/office/drawing/2014/main" id="{DA797A40-8ADA-623B-8562-249F81B211BF}"/>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cxnSp>
        <p:nvCxnSpPr>
          <p:cNvPr id="16" name="Conector Reto 15">
            <a:extLst>
              <a:ext uri="{FF2B5EF4-FFF2-40B4-BE49-F238E27FC236}">
                <a16:creationId xmlns:a16="http://schemas.microsoft.com/office/drawing/2014/main" id="{972193CC-6EA3-BCE3-B546-5F38584979B3}"/>
              </a:ext>
            </a:extLst>
          </p:cNvPr>
          <p:cNvCxnSpPr>
            <a:cxnSpLocks/>
          </p:cNvCxnSpPr>
          <p:nvPr/>
        </p:nvCxnSpPr>
        <p:spPr>
          <a:xfrm>
            <a:off x="2559760"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17" name="Espaço Reservado para Título 1">
            <a:extLst>
              <a:ext uri="{FF2B5EF4-FFF2-40B4-BE49-F238E27FC236}">
                <a16:creationId xmlns:a16="http://schemas.microsoft.com/office/drawing/2014/main" id="{C2096937-50FF-70D0-B462-1AD37209272A}"/>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18" name="Espaço Reservado para Texto 2">
            <a:extLst>
              <a:ext uri="{FF2B5EF4-FFF2-40B4-BE49-F238E27FC236}">
                <a16:creationId xmlns:a16="http://schemas.microsoft.com/office/drawing/2014/main" id="{D00C73EA-1525-F024-9708-5F69349FB0F9}"/>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rgbClr val="30A566"/>
                </a:solidFill>
                <a:latin typeface="Aptos" panose="020B0004020202020204" pitchFamily="34" charset="0"/>
              </a:defRPr>
            </a:lvl1pPr>
          </a:lstStyle>
          <a:p>
            <a:pPr lvl="0"/>
            <a:r>
              <a:rPr lang="pt-BR"/>
              <a:t>Clique para editar os estilos de texto Mestres</a:t>
            </a:r>
          </a:p>
        </p:txBody>
      </p:sp>
      <p:grpSp>
        <p:nvGrpSpPr>
          <p:cNvPr id="19" name="Group 11">
            <a:extLst>
              <a:ext uri="{FF2B5EF4-FFF2-40B4-BE49-F238E27FC236}">
                <a16:creationId xmlns:a16="http://schemas.microsoft.com/office/drawing/2014/main" id="{16B4B973-384F-9262-166F-86991E1FAFB5}"/>
              </a:ext>
            </a:extLst>
          </p:cNvPr>
          <p:cNvGrpSpPr/>
          <p:nvPr/>
        </p:nvGrpSpPr>
        <p:grpSpPr>
          <a:xfrm>
            <a:off x="1139545" y="423418"/>
            <a:ext cx="216344" cy="216344"/>
            <a:chOff x="4794103" y="1588576"/>
            <a:chExt cx="1242488" cy="1242488"/>
          </a:xfrm>
        </p:grpSpPr>
        <p:sp>
          <p:nvSpPr>
            <p:cNvPr id="20" name="Freeform 13">
              <a:extLst>
                <a:ext uri="{FF2B5EF4-FFF2-40B4-BE49-F238E27FC236}">
                  <a16:creationId xmlns:a16="http://schemas.microsoft.com/office/drawing/2014/main" id="{8023814A-978B-AD40-1BB6-2191CDE534B2}"/>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21" name="Straight Connector 14">
              <a:extLst>
                <a:ext uri="{FF2B5EF4-FFF2-40B4-BE49-F238E27FC236}">
                  <a16:creationId xmlns:a16="http://schemas.microsoft.com/office/drawing/2014/main" id="{FB3DA217-A12D-E7F6-4B64-F35C7D7D045E}"/>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sp>
        <p:nvSpPr>
          <p:cNvPr id="3" name="Rounded Rectangle 141">
            <a:hlinkClick r:id="" action="ppaction://noaction"/>
            <a:extLst>
              <a:ext uri="{FF2B5EF4-FFF2-40B4-BE49-F238E27FC236}">
                <a16:creationId xmlns:a16="http://schemas.microsoft.com/office/drawing/2014/main" id="{8F790F7C-DCA4-C0E3-B653-4DB37E964D70}"/>
              </a:ext>
            </a:extLst>
          </p:cNvPr>
          <p:cNvSpPr/>
          <p:nvPr/>
        </p:nvSpPr>
        <p:spPr>
          <a:xfrm>
            <a:off x="2570591" y="6251412"/>
            <a:ext cx="742452" cy="330288"/>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000">
                <a:solidFill>
                  <a:schemeClr val="tx1"/>
                </a:solidFill>
                <a:latin typeface="Aptos" panose="020B0004020202020204" pitchFamily="34" charset="0"/>
                <a:cs typeface="Plus Jakarta Sans" pitchFamily="2" charset="77"/>
              </a:rPr>
              <a:t>BEV</a:t>
            </a:r>
          </a:p>
        </p:txBody>
      </p:sp>
    </p:spTree>
    <p:extLst>
      <p:ext uri="{BB962C8B-B14F-4D97-AF65-F5344CB8AC3E}">
        <p14:creationId xmlns:p14="http://schemas.microsoft.com/office/powerpoint/2010/main" val="354298790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_Green_Index">
    <p:spTree>
      <p:nvGrpSpPr>
        <p:cNvPr id="1" name=""/>
        <p:cNvGrpSpPr/>
        <p:nvPr/>
      </p:nvGrpSpPr>
      <p:grpSpPr>
        <a:xfrm>
          <a:off x="0" y="0"/>
          <a:ext cx="0" cy="0"/>
          <a:chOff x="0" y="0"/>
          <a:chExt cx="0" cy="0"/>
        </a:xfrm>
      </p:grpSpPr>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3" name="Espaço Reservado para Texto 2">
            <a:extLst>
              <a:ext uri="{FF2B5EF4-FFF2-40B4-BE49-F238E27FC236}">
                <a16:creationId xmlns:a16="http://schemas.microsoft.com/office/drawing/2014/main" id="{89F1512D-DFAD-AE41-E333-98FAEFD7E29B}"/>
              </a:ext>
            </a:extLst>
          </p:cNvPr>
          <p:cNvSpPr>
            <a:spLocks noGrp="1"/>
          </p:cNvSpPr>
          <p:nvPr>
            <p:ph idx="10" hasCustomPrompt="1"/>
          </p:nvPr>
        </p:nvSpPr>
        <p:spPr>
          <a:xfrm>
            <a:off x="1233328" y="6231479"/>
            <a:ext cx="675886" cy="393205"/>
          </a:xfrm>
          <a:prstGeom prst="rect">
            <a:avLst/>
          </a:prstGeom>
        </p:spPr>
        <p:txBody>
          <a:bodyPr vert="horz" lIns="91440" tIns="45720" rIns="91440" bIns="45720" rtlCol="0" anchor="ctr">
            <a:noAutofit/>
          </a:bodyPr>
          <a:lstStyle>
            <a:lvl1pPr marL="0" indent="0">
              <a:lnSpc>
                <a:spcPct val="70000"/>
              </a:lnSpc>
              <a:spcBef>
                <a:spcPts val="1200"/>
              </a:spcBef>
              <a:buNone/>
              <a:defRPr sz="1000" b="0">
                <a:solidFill>
                  <a:srgbClr val="2A2A2A"/>
                </a:solidFill>
                <a:latin typeface="Aptos" panose="020B0004020202020204" pitchFamily="34" charset="0"/>
              </a:defRPr>
            </a:lvl1pPr>
          </a:lstStyle>
          <a:p>
            <a:pPr lvl="0"/>
            <a:r>
              <a:rPr lang="pt-BR"/>
              <a:t>Nome da sessão</a:t>
            </a:r>
          </a:p>
        </p:txBody>
      </p:sp>
      <p:cxnSp>
        <p:nvCxnSpPr>
          <p:cNvPr id="5" name="Conector Reto 4">
            <a:extLst>
              <a:ext uri="{FF2B5EF4-FFF2-40B4-BE49-F238E27FC236}">
                <a16:creationId xmlns:a16="http://schemas.microsoft.com/office/drawing/2014/main" id="{7A7E61C3-EAFD-47E6-A70A-19B610220268}"/>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6" name="Rounded Rectangle 141">
            <a:extLst>
              <a:ext uri="{FF2B5EF4-FFF2-40B4-BE49-F238E27FC236}">
                <a16:creationId xmlns:a16="http://schemas.microsoft.com/office/drawing/2014/main" id="{6CEFC669-887A-BFD0-6151-232C1AE123C3}"/>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7" name="Agrupar 6">
            <a:extLst>
              <a:ext uri="{FF2B5EF4-FFF2-40B4-BE49-F238E27FC236}">
                <a16:creationId xmlns:a16="http://schemas.microsoft.com/office/drawing/2014/main" id="{BCC5E0DD-18FA-AA13-7771-942A7B61A6A0}"/>
              </a:ext>
            </a:extLst>
          </p:cNvPr>
          <p:cNvGrpSpPr/>
          <p:nvPr/>
        </p:nvGrpSpPr>
        <p:grpSpPr>
          <a:xfrm>
            <a:off x="232893" y="6274809"/>
            <a:ext cx="274453" cy="274454"/>
            <a:chOff x="10758947" y="6120020"/>
            <a:chExt cx="219971" cy="219972"/>
          </a:xfrm>
        </p:grpSpPr>
        <p:sp>
          <p:nvSpPr>
            <p:cNvPr id="8" name="Rounded Rectangle 7">
              <a:extLst>
                <a:ext uri="{FF2B5EF4-FFF2-40B4-BE49-F238E27FC236}">
                  <a16:creationId xmlns:a16="http://schemas.microsoft.com/office/drawing/2014/main" id="{48CEEEB3-6CC7-3B0D-2954-36236E7AA5F6}"/>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9" name="Graphic 15" descr="Ícone do menu de hambúrguer com preenchimento sólido">
              <a:extLst>
                <a:ext uri="{FF2B5EF4-FFF2-40B4-BE49-F238E27FC236}">
                  <a16:creationId xmlns:a16="http://schemas.microsoft.com/office/drawing/2014/main" id="{84632F75-A46C-AE88-9D91-356CFC2D44A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10" name="Retângulo 9">
            <a:hlinkClick r:id="rId10" action="ppaction://hlinksldjump"/>
            <a:extLst>
              <a:ext uri="{FF2B5EF4-FFF2-40B4-BE49-F238E27FC236}">
                <a16:creationId xmlns:a16="http://schemas.microsoft.com/office/drawing/2014/main" id="{1DAC8918-5B9D-79BA-B841-34BB4BF52A8F}"/>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8882860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image_3 column">
    <p:spTree>
      <p:nvGrpSpPr>
        <p:cNvPr id="1" name=""/>
        <p:cNvGrpSpPr/>
        <p:nvPr/>
      </p:nvGrpSpPr>
      <p:grpSpPr>
        <a:xfrm>
          <a:off x="0" y="0"/>
          <a:ext cx="0" cy="0"/>
          <a:chOff x="0" y="0"/>
          <a:chExt cx="0" cy="0"/>
        </a:xfrm>
      </p:grpSpPr>
      <p:sp>
        <p:nvSpPr>
          <p:cNvPr id="3" name="Content Placeholder 6"/>
          <p:cNvSpPr>
            <a:spLocks noGrp="1"/>
          </p:cNvSpPr>
          <p:nvPr>
            <p:ph sz="quarter" idx="11"/>
          </p:nvPr>
        </p:nvSpPr>
        <p:spPr>
          <a:xfrm>
            <a:off x="4305830" y="1901825"/>
            <a:ext cx="3351739" cy="44259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6"/>
          <p:cNvSpPr>
            <a:spLocks noGrp="1"/>
          </p:cNvSpPr>
          <p:nvPr>
            <p:ph sz="quarter" idx="12"/>
          </p:nvPr>
        </p:nvSpPr>
        <p:spPr>
          <a:xfrm>
            <a:off x="609600" y="1901825"/>
            <a:ext cx="3351739" cy="44259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6"/>
          <p:cNvSpPr>
            <a:spLocks noGrp="1"/>
          </p:cNvSpPr>
          <p:nvPr>
            <p:ph sz="quarter" idx="13"/>
          </p:nvPr>
        </p:nvSpPr>
        <p:spPr>
          <a:xfrm>
            <a:off x="8002061" y="1901825"/>
            <a:ext cx="3351739" cy="44259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8"/>
          <p:cNvSpPr>
            <a:spLocks noGrp="1"/>
          </p:cNvSpPr>
          <p:nvPr>
            <p:ph type="body" sz="quarter" idx="14"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7" name="Title 1">
            <a:extLst>
              <a:ext uri="{FF2B5EF4-FFF2-40B4-BE49-F238E27FC236}">
                <a16:creationId xmlns:a16="http://schemas.microsoft.com/office/drawing/2014/main" id="{1498B43B-D929-234E-A26E-DFCB326AFA35}"/>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385723770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lide com foto sangrada">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1B731EC0-70E9-65CF-6CBE-B843FD775664}"/>
              </a:ext>
            </a:extLst>
          </p:cNvPr>
          <p:cNvSpPr>
            <a:spLocks noGrp="1"/>
          </p:cNvSpPr>
          <p:nvPr>
            <p:ph type="pic" sz="quarter" idx="14"/>
          </p:nvPr>
        </p:nvSpPr>
        <p:spPr>
          <a:xfrm>
            <a:off x="6096000" y="-1"/>
            <a:ext cx="6100200" cy="6182557"/>
          </a:xfrm>
          <a:custGeom>
            <a:avLst/>
            <a:gdLst>
              <a:gd name="connsiteX0" fmla="*/ 2600409 w 6100200"/>
              <a:gd name="connsiteY0" fmla="*/ 0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0200" h="6182557">
                <a:moveTo>
                  <a:pt x="2600409" y="0"/>
                </a:moveTo>
                <a:lnTo>
                  <a:pt x="6100200" y="0"/>
                </a:lnTo>
                <a:lnTo>
                  <a:pt x="6100200" y="4998901"/>
                </a:lnTo>
                <a:lnTo>
                  <a:pt x="4413173" y="6182557"/>
                </a:lnTo>
                <a:lnTo>
                  <a:pt x="232259" y="6182557"/>
                </a:lnTo>
                <a:cubicBezTo>
                  <a:pt x="103976" y="6182557"/>
                  <a:pt x="0" y="6078651"/>
                  <a:pt x="0" y="5950455"/>
                </a:cubicBezTo>
                <a:lnTo>
                  <a:pt x="0" y="1945458"/>
                </a:lnTo>
                <a:cubicBezTo>
                  <a:pt x="0" y="1869787"/>
                  <a:pt x="36907" y="1798948"/>
                  <a:pt x="98758" y="1755453"/>
                </a:cubicBezTo>
                <a:close/>
              </a:path>
            </a:pathLst>
          </a:custGeom>
          <a:solidFill>
            <a:schemeClr val="bg1">
              <a:lumMod val="95000"/>
            </a:schemeClr>
          </a:solidFill>
        </p:spPr>
        <p:txBody>
          <a:bodyPr wrap="square" anchor="ctr">
            <a:noAutofit/>
          </a:bodyPr>
          <a:lstStyle>
            <a:lvl1pPr marL="0" indent="0" algn="ctr">
              <a:buNone/>
              <a:defRPr sz="1100" baseline="0">
                <a:solidFill>
                  <a:schemeClr val="tx1"/>
                </a:solidFill>
              </a:defRPr>
            </a:lvl1pPr>
          </a:lstStyle>
          <a:p>
            <a:pPr marL="0" marR="0" lvl="0" indent="0" algn="ctr" defTabSz="914400" rtl="0" eaLnBrk="1" fontAlgn="auto" latinLnBrk="0" hangingPunct="1">
              <a:lnSpc>
                <a:spcPct val="90000"/>
              </a:lnSpc>
              <a:spcBef>
                <a:spcPts val="1000"/>
              </a:spcBef>
              <a:spcAft>
                <a:spcPts val="0"/>
              </a:spcAft>
              <a:buClrTx/>
              <a:buSzTx/>
              <a:buFont typeface="Wingdings" charset="2"/>
              <a:buNone/>
              <a:tabLst/>
              <a:defRPr/>
            </a:pPr>
            <a:r>
              <a:rPr lang="en-US"/>
              <a:t>Click icon to add picture</a:t>
            </a:r>
          </a:p>
        </p:txBody>
      </p:sp>
      <p:pic>
        <p:nvPicPr>
          <p:cNvPr id="4" name="Graphic 15" descr="Seta de linha: retorno na horizontal com preenchimento sólido">
            <a:hlinkClick r:id="" action="ppaction://hlinkshowjump?jump=lastslideviewed"/>
            <a:extLst>
              <a:ext uri="{FF2B5EF4-FFF2-40B4-BE49-F238E27FC236}">
                <a16:creationId xmlns:a16="http://schemas.microsoft.com/office/drawing/2014/main" id="{EB09E059-1CB5-23D7-4D29-3F983F7B6AB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5" name="Graphic 7" descr="Fechar com preenchimento sólido">
            <a:hlinkClick r:id="" action="ppaction://hlinkshowjump?jump=lastslide"/>
            <a:extLst>
              <a:ext uri="{FF2B5EF4-FFF2-40B4-BE49-F238E27FC236}">
                <a16:creationId xmlns:a16="http://schemas.microsoft.com/office/drawing/2014/main" id="{A7D7F85E-CB74-29FB-CE51-A5BF27771B0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11" name="layer1" descr="preencoded.png">
            <a:hlinkClick r:id="" action="ppaction://hlinkshowjump?jump=firstslide"/>
            <a:extLst>
              <a:ext uri="{FF2B5EF4-FFF2-40B4-BE49-F238E27FC236}">
                <a16:creationId xmlns:a16="http://schemas.microsoft.com/office/drawing/2014/main" id="{3C4145B2-7277-28D7-1CF0-6B5749378EC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12" name="Espaço Reservado para Título 1">
            <a:extLst>
              <a:ext uri="{FF2B5EF4-FFF2-40B4-BE49-F238E27FC236}">
                <a16:creationId xmlns:a16="http://schemas.microsoft.com/office/drawing/2014/main" id="{C1DB8D78-C802-4D7B-3B61-E4569DA40008}"/>
              </a:ext>
            </a:extLst>
          </p:cNvPr>
          <p:cNvSpPr>
            <a:spLocks noGrp="1"/>
          </p:cNvSpPr>
          <p:nvPr>
            <p:ph type="title"/>
          </p:nvPr>
        </p:nvSpPr>
        <p:spPr>
          <a:xfrm>
            <a:off x="1053117" y="815589"/>
            <a:ext cx="3969608" cy="384164"/>
          </a:xfrm>
          <a:prstGeom prst="rect">
            <a:avLst/>
          </a:prstGeom>
        </p:spPr>
        <p:txBody>
          <a:bodyPr vert="horz" lIns="91440" tIns="45720" rIns="91440" bIns="45720" rtlCol="0" anchor="t">
            <a:normAutofit/>
          </a:bodyPr>
          <a:lstStyle>
            <a:lvl1pPr>
              <a:defRPr sz="2000" b="1">
                <a:solidFill>
                  <a:schemeClr val="accent1"/>
                </a:solidFill>
                <a:latin typeface="Aptos" panose="020B0004020202020204" pitchFamily="34" charset="0"/>
              </a:defRPr>
            </a:lvl1pPr>
          </a:lstStyle>
          <a:p>
            <a:r>
              <a:rPr lang="pt-BR"/>
              <a:t>Clique para editar</a:t>
            </a:r>
          </a:p>
        </p:txBody>
      </p:sp>
      <p:sp>
        <p:nvSpPr>
          <p:cNvPr id="13" name="Espaço Reservado para Texto 2">
            <a:extLst>
              <a:ext uri="{FF2B5EF4-FFF2-40B4-BE49-F238E27FC236}">
                <a16:creationId xmlns:a16="http://schemas.microsoft.com/office/drawing/2014/main" id="{1B13E585-8C93-C7B3-62F7-A327F832219F}"/>
              </a:ext>
            </a:extLst>
          </p:cNvPr>
          <p:cNvSpPr>
            <a:spLocks noGrp="1"/>
          </p:cNvSpPr>
          <p:nvPr>
            <p:ph idx="1" hasCustomPrompt="1"/>
          </p:nvPr>
        </p:nvSpPr>
        <p:spPr>
          <a:xfrm>
            <a:off x="1040404" y="1211081"/>
            <a:ext cx="4192800" cy="1427778"/>
          </a:xfrm>
          <a:prstGeom prst="rect">
            <a:avLst/>
          </a:prstGeom>
        </p:spPr>
        <p:txBody>
          <a:bodyPr vert="horz" lIns="91440" tIns="45720" rIns="91440" bIns="45720" rtlCol="0">
            <a:noAutofit/>
          </a:bodyPr>
          <a:lstStyle>
            <a:lvl1pPr marL="0" indent="0">
              <a:buNone/>
              <a:defRPr sz="3600" b="1">
                <a:solidFill>
                  <a:srgbClr val="2A2A2A"/>
                </a:solidFill>
                <a:latin typeface="Aptos" panose="020B0004020202020204" pitchFamily="34" charset="0"/>
              </a:defRPr>
            </a:lvl1pPr>
          </a:lstStyle>
          <a:p>
            <a:pPr lvl="0"/>
            <a:r>
              <a:rPr lang="pt-BR"/>
              <a:t>Clique para editar o texto principal</a:t>
            </a:r>
          </a:p>
        </p:txBody>
      </p:sp>
      <p:grpSp>
        <p:nvGrpSpPr>
          <p:cNvPr id="14" name="Group 11">
            <a:extLst>
              <a:ext uri="{FF2B5EF4-FFF2-40B4-BE49-F238E27FC236}">
                <a16:creationId xmlns:a16="http://schemas.microsoft.com/office/drawing/2014/main" id="{63C45A3D-8EF7-9229-7AEC-2559AD6F2EF8}"/>
              </a:ext>
            </a:extLst>
          </p:cNvPr>
          <p:cNvGrpSpPr/>
          <p:nvPr/>
        </p:nvGrpSpPr>
        <p:grpSpPr>
          <a:xfrm>
            <a:off x="822553" y="874522"/>
            <a:ext cx="216344" cy="216344"/>
            <a:chOff x="4794103" y="1588576"/>
            <a:chExt cx="1242488" cy="1242488"/>
          </a:xfrm>
        </p:grpSpPr>
        <p:sp>
          <p:nvSpPr>
            <p:cNvPr id="15" name="Freeform 13">
              <a:extLst>
                <a:ext uri="{FF2B5EF4-FFF2-40B4-BE49-F238E27FC236}">
                  <a16:creationId xmlns:a16="http://schemas.microsoft.com/office/drawing/2014/main" id="{F50C98D6-DC13-CD18-9986-DEBADED87E06}"/>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16" name="Straight Connector 14">
              <a:extLst>
                <a:ext uri="{FF2B5EF4-FFF2-40B4-BE49-F238E27FC236}">
                  <a16:creationId xmlns:a16="http://schemas.microsoft.com/office/drawing/2014/main" id="{12C6EEB8-7712-0F9D-7BAC-0748297C7742}"/>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sp>
        <p:nvSpPr>
          <p:cNvPr id="2" name="Espaço Reservado para Texto 2">
            <a:extLst>
              <a:ext uri="{FF2B5EF4-FFF2-40B4-BE49-F238E27FC236}">
                <a16:creationId xmlns:a16="http://schemas.microsoft.com/office/drawing/2014/main" id="{56AA8E60-84B5-E517-3A74-426C98D05C6F}"/>
              </a:ext>
            </a:extLst>
          </p:cNvPr>
          <p:cNvSpPr>
            <a:spLocks noGrp="1"/>
          </p:cNvSpPr>
          <p:nvPr>
            <p:ph idx="10" hasCustomPrompt="1"/>
          </p:nvPr>
        </p:nvSpPr>
        <p:spPr>
          <a:xfrm>
            <a:off x="1257712" y="6243671"/>
            <a:ext cx="675886" cy="393205"/>
          </a:xfrm>
          <a:prstGeom prst="rect">
            <a:avLst/>
          </a:prstGeom>
        </p:spPr>
        <p:txBody>
          <a:bodyPr vert="horz" lIns="91440" tIns="45720" rIns="91440" bIns="45720" rtlCol="0">
            <a:noAutofit/>
          </a:bodyPr>
          <a:lstStyle>
            <a:lvl1pPr marL="0" indent="0">
              <a:lnSpc>
                <a:spcPct val="70000"/>
              </a:lnSpc>
              <a:spcBef>
                <a:spcPts val="1200"/>
              </a:spcBef>
              <a:buNone/>
              <a:defRPr sz="1000" b="0">
                <a:solidFill>
                  <a:srgbClr val="2A2A2A"/>
                </a:solidFill>
                <a:latin typeface="Aptos" panose="020B0004020202020204" pitchFamily="34" charset="0"/>
              </a:defRPr>
            </a:lvl1pPr>
          </a:lstStyle>
          <a:p>
            <a:pPr lvl="0"/>
            <a:r>
              <a:rPr lang="pt-BR"/>
              <a:t>Nome da sessão</a:t>
            </a:r>
          </a:p>
        </p:txBody>
      </p:sp>
      <p:cxnSp>
        <p:nvCxnSpPr>
          <p:cNvPr id="6" name="Conector Reto 5">
            <a:extLst>
              <a:ext uri="{FF2B5EF4-FFF2-40B4-BE49-F238E27FC236}">
                <a16:creationId xmlns:a16="http://schemas.microsoft.com/office/drawing/2014/main" id="{6E601E46-6DD4-51D4-947C-76059B9902BD}"/>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7" name="Rounded Rectangle 141">
            <a:extLst>
              <a:ext uri="{FF2B5EF4-FFF2-40B4-BE49-F238E27FC236}">
                <a16:creationId xmlns:a16="http://schemas.microsoft.com/office/drawing/2014/main" id="{D8C16DBB-E00B-A1B1-FD2A-55B127E2EB47}"/>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8" name="Agrupar 7">
            <a:extLst>
              <a:ext uri="{FF2B5EF4-FFF2-40B4-BE49-F238E27FC236}">
                <a16:creationId xmlns:a16="http://schemas.microsoft.com/office/drawing/2014/main" id="{24B39DA9-119B-1BF3-D211-04A27E09C6F3}"/>
              </a:ext>
            </a:extLst>
          </p:cNvPr>
          <p:cNvGrpSpPr/>
          <p:nvPr/>
        </p:nvGrpSpPr>
        <p:grpSpPr>
          <a:xfrm>
            <a:off x="232893" y="6274809"/>
            <a:ext cx="274453" cy="274454"/>
            <a:chOff x="10758947" y="6120020"/>
            <a:chExt cx="219971" cy="219972"/>
          </a:xfrm>
        </p:grpSpPr>
        <p:sp>
          <p:nvSpPr>
            <p:cNvPr id="9" name="Rounded Rectangle 7">
              <a:extLst>
                <a:ext uri="{FF2B5EF4-FFF2-40B4-BE49-F238E27FC236}">
                  <a16:creationId xmlns:a16="http://schemas.microsoft.com/office/drawing/2014/main" id="{8579FC2C-EDF6-9D0D-DA7B-007321B3AF26}"/>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10" name="Graphic 15" descr="Ícone do menu de hambúrguer com preenchimento sólido">
              <a:extLst>
                <a:ext uri="{FF2B5EF4-FFF2-40B4-BE49-F238E27FC236}">
                  <a16:creationId xmlns:a16="http://schemas.microsoft.com/office/drawing/2014/main" id="{816E1FD5-2F59-9CD4-CCE0-F0F70C92871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17" name="Retângulo 16">
            <a:hlinkClick r:id="rId10" action="ppaction://hlinksldjump"/>
            <a:extLst>
              <a:ext uri="{FF2B5EF4-FFF2-40B4-BE49-F238E27FC236}">
                <a16:creationId xmlns:a16="http://schemas.microsoft.com/office/drawing/2014/main" id="{E74903BA-34BE-ADF0-453A-11BECE7629B7}"/>
              </a:ext>
            </a:extLst>
          </p:cNvPr>
          <p:cNvSpPr/>
          <p:nvPr/>
        </p:nvSpPr>
        <p:spPr>
          <a:xfrm>
            <a:off x="158495" y="6169152"/>
            <a:ext cx="1043771"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21865184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lide Final 1">
    <p:spTree>
      <p:nvGrpSpPr>
        <p:cNvPr id="1" name=""/>
        <p:cNvGrpSpPr/>
        <p:nvPr/>
      </p:nvGrpSpPr>
      <p:grpSpPr>
        <a:xfrm>
          <a:off x="0" y="0"/>
          <a:ext cx="0" cy="0"/>
          <a:chOff x="0" y="0"/>
          <a:chExt cx="0" cy="0"/>
        </a:xfrm>
      </p:grpSpPr>
      <p:pic>
        <p:nvPicPr>
          <p:cNvPr id="3" name="Picture Placeholder 5">
            <a:extLst>
              <a:ext uri="{FF2B5EF4-FFF2-40B4-BE49-F238E27FC236}">
                <a16:creationId xmlns:a16="http://schemas.microsoft.com/office/drawing/2014/main" id="{B8AA8AB1-97ED-854B-6D18-699259B1BBA3}"/>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4" name="Picture 2">
            <a:extLst>
              <a:ext uri="{FF2B5EF4-FFF2-40B4-BE49-F238E27FC236}">
                <a16:creationId xmlns:a16="http://schemas.microsoft.com/office/drawing/2014/main" id="{3CEEAB83-6098-19C8-DD6C-D417636A950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75666"/>
          <a:stretch/>
        </p:blipFill>
        <p:spPr>
          <a:xfrm>
            <a:off x="5128683" y="2628900"/>
            <a:ext cx="1780117" cy="1600200"/>
          </a:xfrm>
          <a:prstGeom prst="rect">
            <a:avLst/>
          </a:prstGeom>
        </p:spPr>
      </p:pic>
    </p:spTree>
    <p:extLst>
      <p:ext uri="{BB962C8B-B14F-4D97-AF65-F5344CB8AC3E}">
        <p14:creationId xmlns:p14="http://schemas.microsoft.com/office/powerpoint/2010/main" val="49349226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lide final 2">
    <p:spTree>
      <p:nvGrpSpPr>
        <p:cNvPr id="1" name=""/>
        <p:cNvGrpSpPr/>
        <p:nvPr/>
      </p:nvGrpSpPr>
      <p:grpSpPr>
        <a:xfrm>
          <a:off x="0" y="0"/>
          <a:ext cx="0" cy="0"/>
          <a:chOff x="0" y="0"/>
          <a:chExt cx="0" cy="0"/>
        </a:xfrm>
      </p:grpSpPr>
      <p:pic>
        <p:nvPicPr>
          <p:cNvPr id="3" name="Picture 4" descr="A black and grey background&#10;&#10;Description automatically generated">
            <a:extLst>
              <a:ext uri="{FF2B5EF4-FFF2-40B4-BE49-F238E27FC236}">
                <a16:creationId xmlns:a16="http://schemas.microsoft.com/office/drawing/2014/main" id="{E51BFF65-F0DF-A237-4F7D-E54AF1275EC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192000" cy="6865151"/>
          </a:xfrm>
          <a:prstGeom prst="rect">
            <a:avLst/>
          </a:prstGeom>
        </p:spPr>
      </p:pic>
      <p:pic>
        <p:nvPicPr>
          <p:cNvPr id="5" name="Picture 2">
            <a:extLst>
              <a:ext uri="{FF2B5EF4-FFF2-40B4-BE49-F238E27FC236}">
                <a16:creationId xmlns:a16="http://schemas.microsoft.com/office/drawing/2014/main" id="{71F45462-34F1-9BC8-F96F-EE2FE697E43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75666"/>
          <a:stretch/>
        </p:blipFill>
        <p:spPr>
          <a:xfrm>
            <a:off x="5128683" y="2628900"/>
            <a:ext cx="1780117" cy="1600200"/>
          </a:xfrm>
          <a:prstGeom prst="rect">
            <a:avLst/>
          </a:prstGeom>
        </p:spPr>
      </p:pic>
    </p:spTree>
    <p:extLst>
      <p:ext uri="{BB962C8B-B14F-4D97-AF65-F5344CB8AC3E}">
        <p14:creationId xmlns:p14="http://schemas.microsoft.com/office/powerpoint/2010/main" val="419345938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lide fechamento 3">
    <p:spTree>
      <p:nvGrpSpPr>
        <p:cNvPr id="1" name=""/>
        <p:cNvGrpSpPr/>
        <p:nvPr/>
      </p:nvGrpSpPr>
      <p:grpSpPr>
        <a:xfrm>
          <a:off x="0" y="0"/>
          <a:ext cx="0" cy="0"/>
          <a:chOff x="0" y="0"/>
          <a:chExt cx="0" cy="0"/>
        </a:xfrm>
      </p:grpSpPr>
      <p:pic>
        <p:nvPicPr>
          <p:cNvPr id="3" name="Picture 7" descr="A red background with lines&#10;&#10;Description automatically generated">
            <a:extLst>
              <a:ext uri="{FF2B5EF4-FFF2-40B4-BE49-F238E27FC236}">
                <a16:creationId xmlns:a16="http://schemas.microsoft.com/office/drawing/2014/main" id="{A348F23E-C442-841C-BD48-2FE4BC5259A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t="-1" r="834" b="418"/>
          <a:stretch/>
        </p:blipFill>
        <p:spPr>
          <a:xfrm>
            <a:off x="0" y="0"/>
            <a:ext cx="12192000" cy="6858000"/>
          </a:xfrm>
          <a:prstGeom prst="rect">
            <a:avLst/>
          </a:prstGeom>
        </p:spPr>
      </p:pic>
      <p:pic>
        <p:nvPicPr>
          <p:cNvPr id="4" name="Picture 2">
            <a:extLst>
              <a:ext uri="{FF2B5EF4-FFF2-40B4-BE49-F238E27FC236}">
                <a16:creationId xmlns:a16="http://schemas.microsoft.com/office/drawing/2014/main" id="{26FE3E30-34F3-F248-5E19-3AE92D1C24E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75666"/>
          <a:stretch/>
        </p:blipFill>
        <p:spPr>
          <a:xfrm>
            <a:off x="5128683" y="2628900"/>
            <a:ext cx="1780117" cy="1600200"/>
          </a:xfrm>
          <a:prstGeom prst="rect">
            <a:avLst/>
          </a:prstGeom>
        </p:spPr>
      </p:pic>
    </p:spTree>
    <p:extLst>
      <p:ext uri="{BB962C8B-B14F-4D97-AF65-F5344CB8AC3E}">
        <p14:creationId xmlns:p14="http://schemas.microsoft.com/office/powerpoint/2010/main" val="28892672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1_Titulo + Index">
    <p:spTree>
      <p:nvGrpSpPr>
        <p:cNvPr id="1" name=""/>
        <p:cNvGrpSpPr/>
        <p:nvPr/>
      </p:nvGrpSpPr>
      <p:grpSpPr>
        <a:xfrm>
          <a:off x="0" y="0"/>
          <a:ext cx="0" cy="0"/>
          <a:chOff x="0" y="0"/>
          <a:chExt cx="0" cy="0"/>
        </a:xfrm>
      </p:grpSpPr>
      <p:sp>
        <p:nvSpPr>
          <p:cNvPr id="5" name="Espaço Reservado para Título 1">
            <a:extLst>
              <a:ext uri="{FF2B5EF4-FFF2-40B4-BE49-F238E27FC236}">
                <a16:creationId xmlns:a16="http://schemas.microsoft.com/office/drawing/2014/main" id="{200667EA-73C3-5C7F-05D6-D4EA19E15A00}"/>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6" name="Espaço Reservado para Texto 2">
            <a:extLst>
              <a:ext uri="{FF2B5EF4-FFF2-40B4-BE49-F238E27FC236}">
                <a16:creationId xmlns:a16="http://schemas.microsoft.com/office/drawing/2014/main" id="{26CA08C1-E9D4-CC95-9809-5EF47BC39692}"/>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grpSp>
        <p:nvGrpSpPr>
          <p:cNvPr id="7" name="Group 11">
            <a:extLst>
              <a:ext uri="{FF2B5EF4-FFF2-40B4-BE49-F238E27FC236}">
                <a16:creationId xmlns:a16="http://schemas.microsoft.com/office/drawing/2014/main" id="{21302BE7-9B35-92B8-D526-EEAA6C8F2EF4}"/>
              </a:ext>
            </a:extLst>
          </p:cNvPr>
          <p:cNvGrpSpPr/>
          <p:nvPr/>
        </p:nvGrpSpPr>
        <p:grpSpPr>
          <a:xfrm>
            <a:off x="1139545" y="423418"/>
            <a:ext cx="216344" cy="216344"/>
            <a:chOff x="4794103" y="1588576"/>
            <a:chExt cx="1242488" cy="1242488"/>
          </a:xfrm>
        </p:grpSpPr>
        <p:sp>
          <p:nvSpPr>
            <p:cNvPr id="8" name="Freeform 13">
              <a:extLst>
                <a:ext uri="{FF2B5EF4-FFF2-40B4-BE49-F238E27FC236}">
                  <a16:creationId xmlns:a16="http://schemas.microsoft.com/office/drawing/2014/main" id="{6A8D0E23-6194-9B17-DBB4-254F12528880}"/>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9" name="Straight Connector 14">
              <a:extLst>
                <a:ext uri="{FF2B5EF4-FFF2-40B4-BE49-F238E27FC236}">
                  <a16:creationId xmlns:a16="http://schemas.microsoft.com/office/drawing/2014/main" id="{555C1BEB-59D2-2284-1A67-11B56F0E42DF}"/>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2" name="Espaço Reservado para Texto 2">
            <a:extLst>
              <a:ext uri="{FF2B5EF4-FFF2-40B4-BE49-F238E27FC236}">
                <a16:creationId xmlns:a16="http://schemas.microsoft.com/office/drawing/2014/main" id="{9C94E855-7257-60C0-05C7-A30BBFC4E20A}"/>
              </a:ext>
            </a:extLst>
          </p:cNvPr>
          <p:cNvSpPr>
            <a:spLocks noGrp="1"/>
          </p:cNvSpPr>
          <p:nvPr>
            <p:ph idx="10" hasCustomPrompt="1"/>
          </p:nvPr>
        </p:nvSpPr>
        <p:spPr>
          <a:xfrm>
            <a:off x="1233328" y="6231479"/>
            <a:ext cx="675886" cy="393205"/>
          </a:xfrm>
          <a:prstGeom prst="rect">
            <a:avLst/>
          </a:prstGeom>
        </p:spPr>
        <p:txBody>
          <a:bodyPr vert="horz" lIns="91440" tIns="45720" rIns="91440" bIns="45720" rtlCol="0" anchor="ctr">
            <a:noAutofit/>
          </a:bodyPr>
          <a:lstStyle>
            <a:lvl1pPr marL="0" indent="0">
              <a:lnSpc>
                <a:spcPct val="70000"/>
              </a:lnSpc>
              <a:spcBef>
                <a:spcPts val="1200"/>
              </a:spcBef>
              <a:buNone/>
              <a:defRPr sz="1000" b="0">
                <a:solidFill>
                  <a:srgbClr val="2A2A2A"/>
                </a:solidFill>
                <a:latin typeface="Aptos" panose="020B0004020202020204" pitchFamily="34" charset="0"/>
              </a:defRPr>
            </a:lvl1pPr>
          </a:lstStyle>
          <a:p>
            <a:pPr lvl="0"/>
            <a:r>
              <a:rPr lang="pt-BR"/>
              <a:t>Nome da sessão</a:t>
            </a:r>
          </a:p>
        </p:txBody>
      </p:sp>
      <p:cxnSp>
        <p:nvCxnSpPr>
          <p:cNvPr id="4" name="Conector Reto 3">
            <a:extLst>
              <a:ext uri="{FF2B5EF4-FFF2-40B4-BE49-F238E27FC236}">
                <a16:creationId xmlns:a16="http://schemas.microsoft.com/office/drawing/2014/main" id="{BFCBEBE3-7F34-CBB7-C41D-D14385F02AED}"/>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 name="Rounded Rectangle 141">
            <a:extLst>
              <a:ext uri="{FF2B5EF4-FFF2-40B4-BE49-F238E27FC236}">
                <a16:creationId xmlns:a16="http://schemas.microsoft.com/office/drawing/2014/main" id="{6936E704-73BC-1223-DE6E-63E7E1377CBB}"/>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10" name="Agrupar 9">
            <a:extLst>
              <a:ext uri="{FF2B5EF4-FFF2-40B4-BE49-F238E27FC236}">
                <a16:creationId xmlns:a16="http://schemas.microsoft.com/office/drawing/2014/main" id="{095000BB-65C4-E1D4-16D8-E4F0ABFAA5BB}"/>
              </a:ext>
            </a:extLst>
          </p:cNvPr>
          <p:cNvGrpSpPr/>
          <p:nvPr/>
        </p:nvGrpSpPr>
        <p:grpSpPr>
          <a:xfrm>
            <a:off x="232893" y="6274809"/>
            <a:ext cx="274453" cy="274454"/>
            <a:chOff x="10758947" y="6120020"/>
            <a:chExt cx="219971" cy="219972"/>
          </a:xfrm>
        </p:grpSpPr>
        <p:sp>
          <p:nvSpPr>
            <p:cNvPr id="13" name="Rounded Rectangle 7">
              <a:extLst>
                <a:ext uri="{FF2B5EF4-FFF2-40B4-BE49-F238E27FC236}">
                  <a16:creationId xmlns:a16="http://schemas.microsoft.com/office/drawing/2014/main" id="{2B0E160A-3B81-617B-E514-A08E71A1AFBB}"/>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19" name="Graphic 15" descr="Ícone do menu de hambúrguer com preenchimento sólido">
              <a:extLst>
                <a:ext uri="{FF2B5EF4-FFF2-40B4-BE49-F238E27FC236}">
                  <a16:creationId xmlns:a16="http://schemas.microsoft.com/office/drawing/2014/main" id="{E78A489B-BD82-21D8-2592-1F0643ED571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20" name="Retângulo 19">
            <a:hlinkClick r:id="rId10" action="ppaction://hlinksldjump"/>
            <a:extLst>
              <a:ext uri="{FF2B5EF4-FFF2-40B4-BE49-F238E27FC236}">
                <a16:creationId xmlns:a16="http://schemas.microsoft.com/office/drawing/2014/main" id="{959ACB70-35AF-E26E-0CBB-C851B569C32C}"/>
              </a:ext>
            </a:extLst>
          </p:cNvPr>
          <p:cNvSpPr/>
          <p:nvPr/>
        </p:nvSpPr>
        <p:spPr>
          <a:xfrm>
            <a:off x="158496" y="6169152"/>
            <a:ext cx="101193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80161561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Bus_Index">
    <p:spTree>
      <p:nvGrpSpPr>
        <p:cNvPr id="1" name=""/>
        <p:cNvGrpSpPr/>
        <p:nvPr/>
      </p:nvGrpSpPr>
      <p:grpSpPr>
        <a:xfrm>
          <a:off x="0" y="0"/>
          <a:ext cx="0" cy="0"/>
          <a:chOff x="0" y="0"/>
          <a:chExt cx="0" cy="0"/>
        </a:xfrm>
      </p:grpSpPr>
      <p:sp>
        <p:nvSpPr>
          <p:cNvPr id="5" name="Espaço Reservado para Título 1">
            <a:extLst>
              <a:ext uri="{FF2B5EF4-FFF2-40B4-BE49-F238E27FC236}">
                <a16:creationId xmlns:a16="http://schemas.microsoft.com/office/drawing/2014/main" id="{200667EA-73C3-5C7F-05D6-D4EA19E15A00}"/>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6" name="Espaço Reservado para Texto 2">
            <a:extLst>
              <a:ext uri="{FF2B5EF4-FFF2-40B4-BE49-F238E27FC236}">
                <a16:creationId xmlns:a16="http://schemas.microsoft.com/office/drawing/2014/main" id="{26CA08C1-E9D4-CC95-9809-5EF47BC39692}"/>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grpSp>
        <p:nvGrpSpPr>
          <p:cNvPr id="7" name="Group 11">
            <a:extLst>
              <a:ext uri="{FF2B5EF4-FFF2-40B4-BE49-F238E27FC236}">
                <a16:creationId xmlns:a16="http://schemas.microsoft.com/office/drawing/2014/main" id="{21302BE7-9B35-92B8-D526-EEAA6C8F2EF4}"/>
              </a:ext>
            </a:extLst>
          </p:cNvPr>
          <p:cNvGrpSpPr/>
          <p:nvPr/>
        </p:nvGrpSpPr>
        <p:grpSpPr>
          <a:xfrm>
            <a:off x="1139545" y="423418"/>
            <a:ext cx="216344" cy="216344"/>
            <a:chOff x="4794103" y="1588576"/>
            <a:chExt cx="1242488" cy="1242488"/>
          </a:xfrm>
        </p:grpSpPr>
        <p:sp>
          <p:nvSpPr>
            <p:cNvPr id="8" name="Freeform 13">
              <a:extLst>
                <a:ext uri="{FF2B5EF4-FFF2-40B4-BE49-F238E27FC236}">
                  <a16:creationId xmlns:a16="http://schemas.microsoft.com/office/drawing/2014/main" id="{6A8D0E23-6194-9B17-DBB4-254F12528880}"/>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9" name="Straight Connector 14">
              <a:extLst>
                <a:ext uri="{FF2B5EF4-FFF2-40B4-BE49-F238E27FC236}">
                  <a16:creationId xmlns:a16="http://schemas.microsoft.com/office/drawing/2014/main" id="{555C1BEB-59D2-2284-1A67-11B56F0E42DF}"/>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2" name="Espaço Reservado para Texto 2">
            <a:extLst>
              <a:ext uri="{FF2B5EF4-FFF2-40B4-BE49-F238E27FC236}">
                <a16:creationId xmlns:a16="http://schemas.microsoft.com/office/drawing/2014/main" id="{9C94E855-7257-60C0-05C7-A30BBFC4E20A}"/>
              </a:ext>
            </a:extLst>
          </p:cNvPr>
          <p:cNvSpPr>
            <a:spLocks noGrp="1"/>
          </p:cNvSpPr>
          <p:nvPr>
            <p:ph idx="10" hasCustomPrompt="1"/>
          </p:nvPr>
        </p:nvSpPr>
        <p:spPr>
          <a:xfrm>
            <a:off x="2105344" y="6208330"/>
            <a:ext cx="675886" cy="393205"/>
          </a:xfrm>
          <a:prstGeom prst="rect">
            <a:avLst/>
          </a:prstGeom>
        </p:spPr>
        <p:txBody>
          <a:bodyPr vert="horz" lIns="91440" tIns="45720" rIns="91440" bIns="45720" rtlCol="0" anchor="ctr">
            <a:noAutofit/>
          </a:bodyPr>
          <a:lstStyle>
            <a:lvl1pPr marL="0" indent="0">
              <a:lnSpc>
                <a:spcPct val="70000"/>
              </a:lnSpc>
              <a:spcBef>
                <a:spcPts val="1200"/>
              </a:spcBef>
              <a:buNone/>
              <a:defRPr sz="1000" b="0">
                <a:solidFill>
                  <a:srgbClr val="2A2A2A"/>
                </a:solidFill>
                <a:latin typeface="Aptos" panose="020B0004020202020204" pitchFamily="34" charset="0"/>
              </a:defRPr>
            </a:lvl1pPr>
          </a:lstStyle>
          <a:p>
            <a:pPr lvl="0"/>
            <a:r>
              <a:rPr lang="pt-BR"/>
              <a:t>Nome da sessão</a:t>
            </a:r>
          </a:p>
        </p:txBody>
      </p:sp>
      <p:cxnSp>
        <p:nvCxnSpPr>
          <p:cNvPr id="4" name="Conector Reto 3">
            <a:extLst>
              <a:ext uri="{FF2B5EF4-FFF2-40B4-BE49-F238E27FC236}">
                <a16:creationId xmlns:a16="http://schemas.microsoft.com/office/drawing/2014/main" id="{BFCBEBE3-7F34-CBB7-C41D-D14385F02AED}"/>
              </a:ext>
            </a:extLst>
          </p:cNvPr>
          <p:cNvCxnSpPr>
            <a:cxnSpLocks/>
          </p:cNvCxnSpPr>
          <p:nvPr/>
        </p:nvCxnSpPr>
        <p:spPr>
          <a:xfrm>
            <a:off x="117325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 name="Rounded Rectangle 141">
            <a:extLst>
              <a:ext uri="{FF2B5EF4-FFF2-40B4-BE49-F238E27FC236}">
                <a16:creationId xmlns:a16="http://schemas.microsoft.com/office/drawing/2014/main" id="{6936E704-73BC-1223-DE6E-63E7E1377CBB}"/>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10" name="Agrupar 9">
            <a:extLst>
              <a:ext uri="{FF2B5EF4-FFF2-40B4-BE49-F238E27FC236}">
                <a16:creationId xmlns:a16="http://schemas.microsoft.com/office/drawing/2014/main" id="{095000BB-65C4-E1D4-16D8-E4F0ABFAA5BB}"/>
              </a:ext>
            </a:extLst>
          </p:cNvPr>
          <p:cNvGrpSpPr/>
          <p:nvPr/>
        </p:nvGrpSpPr>
        <p:grpSpPr>
          <a:xfrm>
            <a:off x="232893" y="6274809"/>
            <a:ext cx="274453" cy="274454"/>
            <a:chOff x="10758947" y="6120020"/>
            <a:chExt cx="219971" cy="219972"/>
          </a:xfrm>
        </p:grpSpPr>
        <p:sp>
          <p:nvSpPr>
            <p:cNvPr id="13" name="Rounded Rectangle 7">
              <a:extLst>
                <a:ext uri="{FF2B5EF4-FFF2-40B4-BE49-F238E27FC236}">
                  <a16:creationId xmlns:a16="http://schemas.microsoft.com/office/drawing/2014/main" id="{2B0E160A-3B81-617B-E514-A08E71A1AFBB}"/>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19" name="Graphic 15" descr="Ícone do menu de hambúrguer com preenchimento sólido">
              <a:extLst>
                <a:ext uri="{FF2B5EF4-FFF2-40B4-BE49-F238E27FC236}">
                  <a16:creationId xmlns:a16="http://schemas.microsoft.com/office/drawing/2014/main" id="{E78A489B-BD82-21D8-2592-1F0643ED571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20" name="Retângulo 19">
            <a:hlinkClick r:id="rId10" action="ppaction://hlinksldjump"/>
            <a:extLst>
              <a:ext uri="{FF2B5EF4-FFF2-40B4-BE49-F238E27FC236}">
                <a16:creationId xmlns:a16="http://schemas.microsoft.com/office/drawing/2014/main" id="{959ACB70-35AF-E26E-0CBB-C851B569C32C}"/>
              </a:ext>
            </a:extLst>
          </p:cNvPr>
          <p:cNvSpPr/>
          <p:nvPr/>
        </p:nvSpPr>
        <p:spPr>
          <a:xfrm>
            <a:off x="158496" y="6169152"/>
            <a:ext cx="983389"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Oval 13">
            <a:hlinkClick r:id="" action="ppaction://noaction"/>
            <a:extLst>
              <a:ext uri="{FF2B5EF4-FFF2-40B4-BE49-F238E27FC236}">
                <a16:creationId xmlns:a16="http://schemas.microsoft.com/office/drawing/2014/main" id="{A23675C1-6A8E-1832-92A4-FFF1C66B63A6}"/>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5" name="Rounded Rectangle 141">
            <a:hlinkClick r:id="" action="ppaction://noaction"/>
            <a:extLst>
              <a:ext uri="{FF2B5EF4-FFF2-40B4-BE49-F238E27FC236}">
                <a16:creationId xmlns:a16="http://schemas.microsoft.com/office/drawing/2014/main" id="{93CFD4EE-3073-7AC8-9727-00AF6E02CB8F}"/>
              </a:ext>
            </a:extLst>
          </p:cNvPr>
          <p:cNvSpPr/>
          <p:nvPr/>
        </p:nvSpPr>
        <p:spPr>
          <a:xfrm>
            <a:off x="1500888" y="6264939"/>
            <a:ext cx="650641" cy="29722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Bus</a:t>
            </a:r>
          </a:p>
          <a:p>
            <a:r>
              <a:rPr lang="en-US" sz="1100">
                <a:solidFill>
                  <a:srgbClr val="2A2A2A"/>
                </a:solidFill>
                <a:latin typeface="Aptos" panose="020B0004020202020204" pitchFamily="34" charset="0"/>
                <a:cs typeface="Plus Jakarta Sans" pitchFamily="2" charset="77"/>
              </a:rPr>
              <a:t>Index </a:t>
            </a:r>
          </a:p>
        </p:txBody>
      </p:sp>
      <p:pic>
        <p:nvPicPr>
          <p:cNvPr id="16" name="Gráfico 15" descr="Acento Circunflexo à Direita com preenchimento sólido">
            <a:hlinkClick r:id="" action="ppaction://noaction"/>
            <a:extLst>
              <a:ext uri="{FF2B5EF4-FFF2-40B4-BE49-F238E27FC236}">
                <a16:creationId xmlns:a16="http://schemas.microsoft.com/office/drawing/2014/main" id="{0138DDC4-5C55-AF7D-4276-0972EAF19D9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sp>
        <p:nvSpPr>
          <p:cNvPr id="18" name="Retângulo 17">
            <a:hlinkClick r:id="" action="ppaction://noaction"/>
            <a:extLst>
              <a:ext uri="{FF2B5EF4-FFF2-40B4-BE49-F238E27FC236}">
                <a16:creationId xmlns:a16="http://schemas.microsoft.com/office/drawing/2014/main" id="{2CC373F7-B3A4-A2D9-BD87-20031A7DACE2}"/>
              </a:ext>
            </a:extLst>
          </p:cNvPr>
          <p:cNvSpPr/>
          <p:nvPr/>
        </p:nvSpPr>
        <p:spPr>
          <a:xfrm>
            <a:off x="1199456" y="6217920"/>
            <a:ext cx="830066" cy="4059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22" name="Conector Reto 21">
            <a:extLst>
              <a:ext uri="{FF2B5EF4-FFF2-40B4-BE49-F238E27FC236}">
                <a16:creationId xmlns:a16="http://schemas.microsoft.com/office/drawing/2014/main" id="{4E283E30-6CA2-F604-0B95-08345DDC16C6}"/>
              </a:ext>
            </a:extLst>
          </p:cNvPr>
          <p:cNvCxnSpPr>
            <a:cxnSpLocks/>
          </p:cNvCxnSpPr>
          <p:nvPr/>
        </p:nvCxnSpPr>
        <p:spPr>
          <a:xfrm>
            <a:off x="2072060"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804610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Alternative_tech_green_Slide com foto sangrada">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1B731EC0-70E9-65CF-6CBE-B843FD775664}"/>
              </a:ext>
            </a:extLst>
          </p:cNvPr>
          <p:cNvSpPr>
            <a:spLocks noGrp="1"/>
          </p:cNvSpPr>
          <p:nvPr>
            <p:ph type="pic" sz="quarter" idx="14"/>
          </p:nvPr>
        </p:nvSpPr>
        <p:spPr>
          <a:xfrm>
            <a:off x="6096000" y="-1"/>
            <a:ext cx="6100200" cy="6182557"/>
          </a:xfrm>
          <a:custGeom>
            <a:avLst/>
            <a:gdLst>
              <a:gd name="connsiteX0" fmla="*/ 2600409 w 6100200"/>
              <a:gd name="connsiteY0" fmla="*/ 0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0200" h="6182557">
                <a:moveTo>
                  <a:pt x="2600409" y="0"/>
                </a:moveTo>
                <a:lnTo>
                  <a:pt x="6100200" y="0"/>
                </a:lnTo>
                <a:lnTo>
                  <a:pt x="6100200" y="4998901"/>
                </a:lnTo>
                <a:lnTo>
                  <a:pt x="4413173" y="6182557"/>
                </a:lnTo>
                <a:lnTo>
                  <a:pt x="232259" y="6182557"/>
                </a:lnTo>
                <a:cubicBezTo>
                  <a:pt x="103976" y="6182557"/>
                  <a:pt x="0" y="6078651"/>
                  <a:pt x="0" y="5950455"/>
                </a:cubicBezTo>
                <a:lnTo>
                  <a:pt x="0" y="1945458"/>
                </a:lnTo>
                <a:cubicBezTo>
                  <a:pt x="0" y="1869787"/>
                  <a:pt x="36907" y="1798948"/>
                  <a:pt x="98758" y="1755453"/>
                </a:cubicBezTo>
                <a:close/>
              </a:path>
            </a:pathLst>
          </a:custGeom>
          <a:solidFill>
            <a:schemeClr val="bg1">
              <a:lumMod val="95000"/>
            </a:schemeClr>
          </a:solidFill>
        </p:spPr>
        <p:txBody>
          <a:bodyPr wrap="square" anchor="ctr">
            <a:noAutofit/>
          </a:bodyPr>
          <a:lstStyle>
            <a:lvl1pPr marL="0" indent="0" algn="ctr">
              <a:buNone/>
              <a:defRPr sz="1100" baseline="0">
                <a:solidFill>
                  <a:schemeClr val="tx1"/>
                </a:solidFill>
              </a:defRPr>
            </a:lvl1pPr>
          </a:lstStyle>
          <a:p>
            <a:pPr marL="0" marR="0" lvl="0" indent="0" algn="ctr" defTabSz="914400" rtl="0" eaLnBrk="1" fontAlgn="auto" latinLnBrk="0" hangingPunct="1">
              <a:lnSpc>
                <a:spcPct val="90000"/>
              </a:lnSpc>
              <a:spcBef>
                <a:spcPts val="1000"/>
              </a:spcBef>
              <a:spcAft>
                <a:spcPts val="0"/>
              </a:spcAft>
              <a:buClrTx/>
              <a:buSzTx/>
              <a:buFont typeface="Wingdings" charset="2"/>
              <a:buNone/>
              <a:tabLst/>
              <a:defRPr/>
            </a:pPr>
            <a:r>
              <a:rPr lang="en-US"/>
              <a:t>Click icon to add picture</a:t>
            </a:r>
          </a:p>
        </p:txBody>
      </p:sp>
      <p:pic>
        <p:nvPicPr>
          <p:cNvPr id="4" name="Graphic 15" descr="Seta de linha: retorno na horizontal com preenchimento sólido">
            <a:hlinkClick r:id="" action="ppaction://hlinkshowjump?jump=lastslideviewed"/>
            <a:extLst>
              <a:ext uri="{FF2B5EF4-FFF2-40B4-BE49-F238E27FC236}">
                <a16:creationId xmlns:a16="http://schemas.microsoft.com/office/drawing/2014/main" id="{EB09E059-1CB5-23D7-4D29-3F983F7B6AB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5" name="Graphic 7" descr="Fechar com preenchimento sólido">
            <a:hlinkClick r:id="" action="ppaction://hlinkshowjump?jump=lastslide"/>
            <a:extLst>
              <a:ext uri="{FF2B5EF4-FFF2-40B4-BE49-F238E27FC236}">
                <a16:creationId xmlns:a16="http://schemas.microsoft.com/office/drawing/2014/main" id="{A7D7F85E-CB74-29FB-CE51-A5BF27771B0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11" name="layer1" descr="preencoded.png">
            <a:hlinkClick r:id="" action="ppaction://hlinkshowjump?jump=firstslide"/>
            <a:extLst>
              <a:ext uri="{FF2B5EF4-FFF2-40B4-BE49-F238E27FC236}">
                <a16:creationId xmlns:a16="http://schemas.microsoft.com/office/drawing/2014/main" id="{3C4145B2-7277-28D7-1CF0-6B5749378EC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12" name="Espaço Reservado para Título 1">
            <a:extLst>
              <a:ext uri="{FF2B5EF4-FFF2-40B4-BE49-F238E27FC236}">
                <a16:creationId xmlns:a16="http://schemas.microsoft.com/office/drawing/2014/main" id="{C1DB8D78-C802-4D7B-3B61-E4569DA40008}"/>
              </a:ext>
            </a:extLst>
          </p:cNvPr>
          <p:cNvSpPr>
            <a:spLocks noGrp="1"/>
          </p:cNvSpPr>
          <p:nvPr>
            <p:ph type="title"/>
          </p:nvPr>
        </p:nvSpPr>
        <p:spPr>
          <a:xfrm>
            <a:off x="1053117" y="815589"/>
            <a:ext cx="3969608" cy="384164"/>
          </a:xfrm>
          <a:prstGeom prst="rect">
            <a:avLst/>
          </a:prstGeom>
        </p:spPr>
        <p:txBody>
          <a:bodyPr vert="horz" lIns="91440" tIns="45720" rIns="91440" bIns="45720" rtlCol="0" anchor="t">
            <a:normAutofit/>
          </a:bodyPr>
          <a:lstStyle>
            <a:lvl1pPr>
              <a:defRPr sz="2000" b="1">
                <a:solidFill>
                  <a:srgbClr val="30A566"/>
                </a:solidFill>
                <a:latin typeface="Aptos" panose="020B0004020202020204" pitchFamily="34" charset="0"/>
              </a:defRPr>
            </a:lvl1pPr>
          </a:lstStyle>
          <a:p>
            <a:r>
              <a:rPr lang="pt-BR"/>
              <a:t>Clique para editar</a:t>
            </a:r>
          </a:p>
        </p:txBody>
      </p:sp>
      <p:sp>
        <p:nvSpPr>
          <p:cNvPr id="13" name="Espaço Reservado para Texto 2">
            <a:extLst>
              <a:ext uri="{FF2B5EF4-FFF2-40B4-BE49-F238E27FC236}">
                <a16:creationId xmlns:a16="http://schemas.microsoft.com/office/drawing/2014/main" id="{1B13E585-8C93-C7B3-62F7-A327F832219F}"/>
              </a:ext>
            </a:extLst>
          </p:cNvPr>
          <p:cNvSpPr>
            <a:spLocks noGrp="1"/>
          </p:cNvSpPr>
          <p:nvPr>
            <p:ph idx="1" hasCustomPrompt="1"/>
          </p:nvPr>
        </p:nvSpPr>
        <p:spPr>
          <a:xfrm>
            <a:off x="1040404" y="1211081"/>
            <a:ext cx="4192800" cy="1427778"/>
          </a:xfrm>
          <a:prstGeom prst="rect">
            <a:avLst/>
          </a:prstGeom>
        </p:spPr>
        <p:txBody>
          <a:bodyPr vert="horz" lIns="91440" tIns="45720" rIns="91440" bIns="45720" rtlCol="0">
            <a:noAutofit/>
          </a:bodyPr>
          <a:lstStyle>
            <a:lvl1pPr marL="0" indent="0">
              <a:buNone/>
              <a:defRPr sz="3600" b="1">
                <a:solidFill>
                  <a:srgbClr val="2A2A2A"/>
                </a:solidFill>
                <a:latin typeface="Aptos" panose="020B0004020202020204" pitchFamily="34" charset="0"/>
              </a:defRPr>
            </a:lvl1pPr>
          </a:lstStyle>
          <a:p>
            <a:pPr lvl="0"/>
            <a:r>
              <a:rPr lang="pt-BR"/>
              <a:t>Clique para editar o texto principal</a:t>
            </a:r>
          </a:p>
        </p:txBody>
      </p:sp>
      <p:grpSp>
        <p:nvGrpSpPr>
          <p:cNvPr id="14" name="Group 11">
            <a:extLst>
              <a:ext uri="{FF2B5EF4-FFF2-40B4-BE49-F238E27FC236}">
                <a16:creationId xmlns:a16="http://schemas.microsoft.com/office/drawing/2014/main" id="{63C45A3D-8EF7-9229-7AEC-2559AD6F2EF8}"/>
              </a:ext>
            </a:extLst>
          </p:cNvPr>
          <p:cNvGrpSpPr/>
          <p:nvPr/>
        </p:nvGrpSpPr>
        <p:grpSpPr>
          <a:xfrm>
            <a:off x="822553" y="874522"/>
            <a:ext cx="216344" cy="216344"/>
            <a:chOff x="4794103" y="1588576"/>
            <a:chExt cx="1242488" cy="1242488"/>
          </a:xfrm>
        </p:grpSpPr>
        <p:sp>
          <p:nvSpPr>
            <p:cNvPr id="15" name="Freeform 13">
              <a:extLst>
                <a:ext uri="{FF2B5EF4-FFF2-40B4-BE49-F238E27FC236}">
                  <a16:creationId xmlns:a16="http://schemas.microsoft.com/office/drawing/2014/main" id="{F50C98D6-DC13-CD18-9986-DEBADED87E06}"/>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16" name="Straight Connector 14">
              <a:extLst>
                <a:ext uri="{FF2B5EF4-FFF2-40B4-BE49-F238E27FC236}">
                  <a16:creationId xmlns:a16="http://schemas.microsoft.com/office/drawing/2014/main" id="{12C6EEB8-7712-0F9D-7BAC-0748297C7742}"/>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cxnSp>
        <p:nvCxnSpPr>
          <p:cNvPr id="18" name="Conector Reto 17">
            <a:extLst>
              <a:ext uri="{FF2B5EF4-FFF2-40B4-BE49-F238E27FC236}">
                <a16:creationId xmlns:a16="http://schemas.microsoft.com/office/drawing/2014/main" id="{A6FC80EB-15A6-C03A-B59E-AEA6D1666A2E}"/>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19" name="Rounded Rectangle 141">
            <a:extLst>
              <a:ext uri="{FF2B5EF4-FFF2-40B4-BE49-F238E27FC236}">
                <a16:creationId xmlns:a16="http://schemas.microsoft.com/office/drawing/2014/main" id="{A9F4D3BF-300C-46D7-EEAA-9F03F9C9E900}"/>
              </a:ext>
            </a:extLst>
          </p:cNvPr>
          <p:cNvSpPr/>
          <p:nvPr/>
        </p:nvSpPr>
        <p:spPr>
          <a:xfrm>
            <a:off x="499871" y="6251731"/>
            <a:ext cx="682753"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20" name="Agrupar 19">
            <a:extLst>
              <a:ext uri="{FF2B5EF4-FFF2-40B4-BE49-F238E27FC236}">
                <a16:creationId xmlns:a16="http://schemas.microsoft.com/office/drawing/2014/main" id="{EE92D9C7-B4C3-F3F4-7F5B-BFA8ABA61A73}"/>
              </a:ext>
            </a:extLst>
          </p:cNvPr>
          <p:cNvGrpSpPr/>
          <p:nvPr/>
        </p:nvGrpSpPr>
        <p:grpSpPr>
          <a:xfrm>
            <a:off x="232893" y="6274809"/>
            <a:ext cx="274453" cy="274454"/>
            <a:chOff x="10758947" y="6120020"/>
            <a:chExt cx="219971" cy="219972"/>
          </a:xfrm>
        </p:grpSpPr>
        <p:sp>
          <p:nvSpPr>
            <p:cNvPr id="21" name="Rounded Rectangle 7">
              <a:extLst>
                <a:ext uri="{FF2B5EF4-FFF2-40B4-BE49-F238E27FC236}">
                  <a16:creationId xmlns:a16="http://schemas.microsoft.com/office/drawing/2014/main" id="{0C0CED5A-B755-3919-315E-3810B6D996F9}"/>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22" name="Graphic 15" descr="Ícone do menu de hambúrguer com preenchimento sólido">
              <a:extLst>
                <a:ext uri="{FF2B5EF4-FFF2-40B4-BE49-F238E27FC236}">
                  <a16:creationId xmlns:a16="http://schemas.microsoft.com/office/drawing/2014/main" id="{31577784-EBD4-8041-3166-2520851F183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802327" y="6163409"/>
              <a:ext cx="133186" cy="133186"/>
            </a:xfrm>
            <a:prstGeom prst="rect">
              <a:avLst/>
            </a:prstGeom>
          </p:spPr>
        </p:pic>
      </p:grpSp>
      <p:sp>
        <p:nvSpPr>
          <p:cNvPr id="23" name="Retângulo 22">
            <a:hlinkClick r:id="rId10" action="ppaction://hlinksldjump"/>
            <a:extLst>
              <a:ext uri="{FF2B5EF4-FFF2-40B4-BE49-F238E27FC236}">
                <a16:creationId xmlns:a16="http://schemas.microsoft.com/office/drawing/2014/main" id="{19F3146F-D8D0-200D-A40A-D16DF510313B}"/>
              </a:ext>
            </a:extLst>
          </p:cNvPr>
          <p:cNvSpPr/>
          <p:nvPr/>
        </p:nvSpPr>
        <p:spPr>
          <a:xfrm>
            <a:off x="97536" y="6169152"/>
            <a:ext cx="1072896"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Espaço Reservado para Texto 2">
            <a:extLst>
              <a:ext uri="{FF2B5EF4-FFF2-40B4-BE49-F238E27FC236}">
                <a16:creationId xmlns:a16="http://schemas.microsoft.com/office/drawing/2014/main" id="{9B02302C-F7A5-73FF-8C68-F7FB715874F7}"/>
              </a:ext>
            </a:extLst>
          </p:cNvPr>
          <p:cNvSpPr>
            <a:spLocks noGrp="1"/>
          </p:cNvSpPr>
          <p:nvPr>
            <p:ph idx="11" hasCustomPrompt="1"/>
          </p:nvPr>
        </p:nvSpPr>
        <p:spPr>
          <a:xfrm>
            <a:off x="2695328" y="6215427"/>
            <a:ext cx="675886" cy="393205"/>
          </a:xfrm>
          <a:prstGeom prst="rect">
            <a:avLst/>
          </a:prstGeom>
        </p:spPr>
        <p:txBody>
          <a:bodyPr vert="horz" lIns="91440" tIns="45720" rIns="91440" bIns="45720" rtlCol="0" anchor="ctr">
            <a:noAutofit/>
          </a:bodyPr>
          <a:lstStyle>
            <a:lvl1pPr marL="0" indent="0">
              <a:lnSpc>
                <a:spcPct val="70000"/>
              </a:lnSpc>
              <a:spcBef>
                <a:spcPts val="1200"/>
              </a:spcBef>
              <a:buNone/>
              <a:defRPr sz="1000" b="0">
                <a:solidFill>
                  <a:srgbClr val="2A2A2A"/>
                </a:solidFill>
                <a:latin typeface="Aptos" panose="020B0004020202020204" pitchFamily="34" charset="0"/>
              </a:defRPr>
            </a:lvl1pPr>
          </a:lstStyle>
          <a:p>
            <a:pPr lvl="0"/>
            <a:r>
              <a:rPr lang="pt-BR"/>
              <a:t>Nome da sessão</a:t>
            </a:r>
          </a:p>
        </p:txBody>
      </p:sp>
      <p:sp>
        <p:nvSpPr>
          <p:cNvPr id="25" name="Oval 24">
            <a:hlinkClick r:id="" action="ppaction://noaction"/>
            <a:extLst>
              <a:ext uri="{FF2B5EF4-FFF2-40B4-BE49-F238E27FC236}">
                <a16:creationId xmlns:a16="http://schemas.microsoft.com/office/drawing/2014/main" id="{6E042C42-3260-7F1C-5D26-0C75C434E97C}"/>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26" name="Rounded Rectangle 141">
            <a:hlinkClick r:id="" action="ppaction://noaction"/>
            <a:extLst>
              <a:ext uri="{FF2B5EF4-FFF2-40B4-BE49-F238E27FC236}">
                <a16:creationId xmlns:a16="http://schemas.microsoft.com/office/drawing/2014/main" id="{E0CA967F-F554-BC8F-9C69-C3206DB75FDD}"/>
              </a:ext>
            </a:extLst>
          </p:cNvPr>
          <p:cNvSpPr/>
          <p:nvPr/>
        </p:nvSpPr>
        <p:spPr>
          <a:xfrm>
            <a:off x="1500887" y="6264939"/>
            <a:ext cx="11868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Alternative Technologies</a:t>
            </a:r>
          </a:p>
          <a:p>
            <a:r>
              <a:rPr lang="en-US" sz="1100">
                <a:solidFill>
                  <a:srgbClr val="2A2A2A"/>
                </a:solidFill>
                <a:latin typeface="Aptos" panose="020B0004020202020204" pitchFamily="34" charset="0"/>
                <a:cs typeface="Plus Jakarta Sans" pitchFamily="2" charset="77"/>
              </a:rPr>
              <a:t>Index </a:t>
            </a:r>
          </a:p>
        </p:txBody>
      </p:sp>
      <p:pic>
        <p:nvPicPr>
          <p:cNvPr id="27" name="Gráfico 26" descr="Acento Circunflexo à Direita com preenchimento sólido">
            <a:extLst>
              <a:ext uri="{FF2B5EF4-FFF2-40B4-BE49-F238E27FC236}">
                <a16:creationId xmlns:a16="http://schemas.microsoft.com/office/drawing/2014/main" id="{453EF313-0F7C-5F06-5A6B-C3EB707AD68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7141" y="6291508"/>
            <a:ext cx="274320" cy="274320"/>
          </a:xfrm>
          <a:prstGeom prst="rect">
            <a:avLst/>
          </a:prstGeom>
        </p:spPr>
      </p:pic>
      <p:cxnSp>
        <p:nvCxnSpPr>
          <p:cNvPr id="28" name="Conector Reto 27">
            <a:extLst>
              <a:ext uri="{FF2B5EF4-FFF2-40B4-BE49-F238E27FC236}">
                <a16:creationId xmlns:a16="http://schemas.microsoft.com/office/drawing/2014/main" id="{ED52CA99-E57A-2B13-7B7F-8E6FE4D1CF5B}"/>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cxnSp>
        <p:nvCxnSpPr>
          <p:cNvPr id="29" name="Conector Reto 28">
            <a:extLst>
              <a:ext uri="{FF2B5EF4-FFF2-40B4-BE49-F238E27FC236}">
                <a16:creationId xmlns:a16="http://schemas.microsoft.com/office/drawing/2014/main" id="{9EDEA2B6-E7F3-6466-B5A0-3D1868793E70}"/>
              </a:ext>
            </a:extLst>
          </p:cNvPr>
          <p:cNvCxnSpPr>
            <a:cxnSpLocks/>
          </p:cNvCxnSpPr>
          <p:nvPr/>
        </p:nvCxnSpPr>
        <p:spPr>
          <a:xfrm>
            <a:off x="2559760"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708488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1_OurStrategy_Green_Titulo + Index">
    <p:spTree>
      <p:nvGrpSpPr>
        <p:cNvPr id="1" name=""/>
        <p:cNvGrpSpPr/>
        <p:nvPr/>
      </p:nvGrpSpPr>
      <p:grpSpPr>
        <a:xfrm>
          <a:off x="0" y="0"/>
          <a:ext cx="0" cy="0"/>
          <a:chOff x="0" y="0"/>
          <a:chExt cx="0" cy="0"/>
        </a:xfrm>
      </p:grpSpPr>
      <p:sp>
        <p:nvSpPr>
          <p:cNvPr id="5" name="Espaço Reservado para Título 1">
            <a:extLst>
              <a:ext uri="{FF2B5EF4-FFF2-40B4-BE49-F238E27FC236}">
                <a16:creationId xmlns:a16="http://schemas.microsoft.com/office/drawing/2014/main" id="{200667EA-73C3-5C7F-05D6-D4EA19E15A00}"/>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6" name="Espaço Reservado para Texto 2">
            <a:extLst>
              <a:ext uri="{FF2B5EF4-FFF2-40B4-BE49-F238E27FC236}">
                <a16:creationId xmlns:a16="http://schemas.microsoft.com/office/drawing/2014/main" id="{26CA08C1-E9D4-CC95-9809-5EF47BC39692}"/>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rgbClr val="30A566"/>
                </a:solidFill>
                <a:latin typeface="Aptos" panose="020B0004020202020204" pitchFamily="34" charset="0"/>
              </a:defRPr>
            </a:lvl1pPr>
          </a:lstStyle>
          <a:p>
            <a:pPr lvl="0"/>
            <a:r>
              <a:rPr lang="pt-BR"/>
              <a:t>Clique para editar os estilos de texto Mestres</a:t>
            </a:r>
          </a:p>
        </p:txBody>
      </p:sp>
      <p:grpSp>
        <p:nvGrpSpPr>
          <p:cNvPr id="7" name="Group 11">
            <a:extLst>
              <a:ext uri="{FF2B5EF4-FFF2-40B4-BE49-F238E27FC236}">
                <a16:creationId xmlns:a16="http://schemas.microsoft.com/office/drawing/2014/main" id="{21302BE7-9B35-92B8-D526-EEAA6C8F2EF4}"/>
              </a:ext>
            </a:extLst>
          </p:cNvPr>
          <p:cNvGrpSpPr/>
          <p:nvPr/>
        </p:nvGrpSpPr>
        <p:grpSpPr>
          <a:xfrm>
            <a:off x="1139545" y="423418"/>
            <a:ext cx="216344" cy="216344"/>
            <a:chOff x="4794103" y="1588576"/>
            <a:chExt cx="1242488" cy="1242488"/>
          </a:xfrm>
        </p:grpSpPr>
        <p:sp>
          <p:nvSpPr>
            <p:cNvPr id="8" name="Freeform 13">
              <a:extLst>
                <a:ext uri="{FF2B5EF4-FFF2-40B4-BE49-F238E27FC236}">
                  <a16:creationId xmlns:a16="http://schemas.microsoft.com/office/drawing/2014/main" id="{6A8D0E23-6194-9B17-DBB4-254F12528880}"/>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9" name="Straight Connector 14">
              <a:extLst>
                <a:ext uri="{FF2B5EF4-FFF2-40B4-BE49-F238E27FC236}">
                  <a16:creationId xmlns:a16="http://schemas.microsoft.com/office/drawing/2014/main" id="{555C1BEB-59D2-2284-1A67-11B56F0E42DF}"/>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10" name="Oval 9">
            <a:hlinkClick r:id="" action="ppaction://noaction"/>
            <a:extLst>
              <a:ext uri="{FF2B5EF4-FFF2-40B4-BE49-F238E27FC236}">
                <a16:creationId xmlns:a16="http://schemas.microsoft.com/office/drawing/2014/main" id="{DF531E26-7416-AAC6-4125-ABAC9319CD9D}"/>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3" name="Rounded Rectangle 141">
            <a:hlinkClick r:id="" action="ppaction://noaction"/>
            <a:extLst>
              <a:ext uri="{FF2B5EF4-FFF2-40B4-BE49-F238E27FC236}">
                <a16:creationId xmlns:a16="http://schemas.microsoft.com/office/drawing/2014/main" id="{8D714D55-E69D-27DD-9033-98012CF0097E}"/>
              </a:ext>
            </a:extLst>
          </p:cNvPr>
          <p:cNvSpPr/>
          <p:nvPr/>
        </p:nvSpPr>
        <p:spPr>
          <a:xfrm>
            <a:off x="1500887" y="6264939"/>
            <a:ext cx="10429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dirty="0">
                <a:solidFill>
                  <a:srgbClr val="2A2A2A"/>
                </a:solidFill>
                <a:latin typeface="Aptos" panose="020B0004020202020204" pitchFamily="34" charset="0"/>
                <a:cs typeface="Plus Jakarta Sans" pitchFamily="2" charset="77"/>
              </a:rPr>
              <a:t>Our Strategy</a:t>
            </a:r>
          </a:p>
          <a:p>
            <a:r>
              <a:rPr lang="en-US" sz="1100" dirty="0">
                <a:solidFill>
                  <a:srgbClr val="2A2A2A"/>
                </a:solidFill>
                <a:latin typeface="Aptos" panose="020B0004020202020204" pitchFamily="34" charset="0"/>
                <a:cs typeface="Plus Jakarta Sans" pitchFamily="2" charset="77"/>
              </a:rPr>
              <a:t>Index </a:t>
            </a:r>
          </a:p>
        </p:txBody>
      </p:sp>
      <p:pic>
        <p:nvPicPr>
          <p:cNvPr id="19" name="Gráfico 18" descr="Acento Circunflexo à Direita com preenchimento sólido">
            <a:extLst>
              <a:ext uri="{FF2B5EF4-FFF2-40B4-BE49-F238E27FC236}">
                <a16:creationId xmlns:a16="http://schemas.microsoft.com/office/drawing/2014/main" id="{4AEF8F9C-1955-2BE8-2013-EE9949F8DB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97141" y="6291508"/>
            <a:ext cx="274320" cy="274320"/>
          </a:xfrm>
          <a:prstGeom prst="rect">
            <a:avLst/>
          </a:prstGeom>
        </p:spPr>
      </p:pic>
      <p:cxnSp>
        <p:nvCxnSpPr>
          <p:cNvPr id="25" name="Conector Reto 24">
            <a:extLst>
              <a:ext uri="{FF2B5EF4-FFF2-40B4-BE49-F238E27FC236}">
                <a16:creationId xmlns:a16="http://schemas.microsoft.com/office/drawing/2014/main" id="{EB18F9A5-74B0-F1DB-8CFD-F915AD1F9F0D}"/>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6" name="Rounded Rectangle 141">
            <a:extLst>
              <a:ext uri="{FF2B5EF4-FFF2-40B4-BE49-F238E27FC236}">
                <a16:creationId xmlns:a16="http://schemas.microsoft.com/office/drawing/2014/main" id="{4B9B7148-11C3-4449-1BCF-F9D86E020128}"/>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27" name="Agrupar 26">
            <a:extLst>
              <a:ext uri="{FF2B5EF4-FFF2-40B4-BE49-F238E27FC236}">
                <a16:creationId xmlns:a16="http://schemas.microsoft.com/office/drawing/2014/main" id="{2C99F15B-5829-E89A-1EEC-7CDDEB09E87D}"/>
              </a:ext>
            </a:extLst>
          </p:cNvPr>
          <p:cNvGrpSpPr/>
          <p:nvPr/>
        </p:nvGrpSpPr>
        <p:grpSpPr>
          <a:xfrm>
            <a:off x="232893" y="6274809"/>
            <a:ext cx="274453" cy="274454"/>
            <a:chOff x="10758947" y="6120020"/>
            <a:chExt cx="219971" cy="219972"/>
          </a:xfrm>
        </p:grpSpPr>
        <p:sp>
          <p:nvSpPr>
            <p:cNvPr id="28" name="Rounded Rectangle 7">
              <a:extLst>
                <a:ext uri="{FF2B5EF4-FFF2-40B4-BE49-F238E27FC236}">
                  <a16:creationId xmlns:a16="http://schemas.microsoft.com/office/drawing/2014/main" id="{118C136C-3BB9-991B-02C0-7213C62E3B09}"/>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29" name="Graphic 15" descr="Ícone do menu de hambúrguer com preenchimento sólido">
              <a:extLst>
                <a:ext uri="{FF2B5EF4-FFF2-40B4-BE49-F238E27FC236}">
                  <a16:creationId xmlns:a16="http://schemas.microsoft.com/office/drawing/2014/main" id="{C8F878AC-5707-CAE3-3472-9C08FA0A6E7E}"/>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0802327" y="6163409"/>
              <a:ext cx="133186" cy="133186"/>
            </a:xfrm>
            <a:prstGeom prst="rect">
              <a:avLst/>
            </a:prstGeom>
          </p:spPr>
        </p:pic>
      </p:grpSp>
      <p:sp>
        <p:nvSpPr>
          <p:cNvPr id="30" name="Retângulo 29">
            <a:hlinkClick r:id="rId12" action="ppaction://hlinksldjump"/>
            <a:extLst>
              <a:ext uri="{FF2B5EF4-FFF2-40B4-BE49-F238E27FC236}">
                <a16:creationId xmlns:a16="http://schemas.microsoft.com/office/drawing/2014/main" id="{060E7C1C-E1EF-1408-34DC-2FBDF1170472}"/>
              </a:ext>
            </a:extLst>
          </p:cNvPr>
          <p:cNvSpPr/>
          <p:nvPr/>
        </p:nvSpPr>
        <p:spPr>
          <a:xfrm>
            <a:off x="378962" y="6169152"/>
            <a:ext cx="754610"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53454381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2_OurStrategy_Green_Titulo + Index">
    <p:spTree>
      <p:nvGrpSpPr>
        <p:cNvPr id="1" name=""/>
        <p:cNvGrpSpPr/>
        <p:nvPr/>
      </p:nvGrpSpPr>
      <p:grpSpPr>
        <a:xfrm>
          <a:off x="0" y="0"/>
          <a:ext cx="0" cy="0"/>
          <a:chOff x="0" y="0"/>
          <a:chExt cx="0" cy="0"/>
        </a:xfrm>
      </p:grpSpPr>
      <p:sp>
        <p:nvSpPr>
          <p:cNvPr id="5" name="Espaço Reservado para Título 1">
            <a:extLst>
              <a:ext uri="{FF2B5EF4-FFF2-40B4-BE49-F238E27FC236}">
                <a16:creationId xmlns:a16="http://schemas.microsoft.com/office/drawing/2014/main" id="{200667EA-73C3-5C7F-05D6-D4EA19E15A00}"/>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6" name="Espaço Reservado para Texto 2">
            <a:extLst>
              <a:ext uri="{FF2B5EF4-FFF2-40B4-BE49-F238E27FC236}">
                <a16:creationId xmlns:a16="http://schemas.microsoft.com/office/drawing/2014/main" id="{26CA08C1-E9D4-CC95-9809-5EF47BC39692}"/>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rgbClr val="30A566"/>
                </a:solidFill>
                <a:latin typeface="Aptos" panose="020B0004020202020204" pitchFamily="34" charset="0"/>
              </a:defRPr>
            </a:lvl1pPr>
          </a:lstStyle>
          <a:p>
            <a:pPr lvl="0"/>
            <a:r>
              <a:rPr lang="pt-BR"/>
              <a:t>Clique para editar os estilos de texto Mestres</a:t>
            </a:r>
          </a:p>
        </p:txBody>
      </p:sp>
      <p:grpSp>
        <p:nvGrpSpPr>
          <p:cNvPr id="7" name="Group 11">
            <a:extLst>
              <a:ext uri="{FF2B5EF4-FFF2-40B4-BE49-F238E27FC236}">
                <a16:creationId xmlns:a16="http://schemas.microsoft.com/office/drawing/2014/main" id="{21302BE7-9B35-92B8-D526-EEAA6C8F2EF4}"/>
              </a:ext>
            </a:extLst>
          </p:cNvPr>
          <p:cNvGrpSpPr/>
          <p:nvPr/>
        </p:nvGrpSpPr>
        <p:grpSpPr>
          <a:xfrm>
            <a:off x="1139545" y="423418"/>
            <a:ext cx="216344" cy="216344"/>
            <a:chOff x="4794103" y="1588576"/>
            <a:chExt cx="1242488" cy="1242488"/>
          </a:xfrm>
        </p:grpSpPr>
        <p:sp>
          <p:nvSpPr>
            <p:cNvPr id="8" name="Freeform 13">
              <a:extLst>
                <a:ext uri="{FF2B5EF4-FFF2-40B4-BE49-F238E27FC236}">
                  <a16:creationId xmlns:a16="http://schemas.microsoft.com/office/drawing/2014/main" id="{6A8D0E23-6194-9B17-DBB4-254F12528880}"/>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9" name="Straight Connector 14">
              <a:extLst>
                <a:ext uri="{FF2B5EF4-FFF2-40B4-BE49-F238E27FC236}">
                  <a16:creationId xmlns:a16="http://schemas.microsoft.com/office/drawing/2014/main" id="{555C1BEB-59D2-2284-1A67-11B56F0E42DF}"/>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10" name="Oval 9">
            <a:hlinkClick r:id="" action="ppaction://noaction"/>
            <a:extLst>
              <a:ext uri="{FF2B5EF4-FFF2-40B4-BE49-F238E27FC236}">
                <a16:creationId xmlns:a16="http://schemas.microsoft.com/office/drawing/2014/main" id="{DF531E26-7416-AAC6-4125-ABAC9319CD9D}"/>
              </a:ext>
            </a:extLst>
          </p:cNvPr>
          <p:cNvSpPr/>
          <p:nvPr/>
        </p:nvSpPr>
        <p:spPr>
          <a:xfrm>
            <a:off x="1280443" y="6285235"/>
            <a:ext cx="279400" cy="279400"/>
          </a:xfrm>
          <a:prstGeom prst="ellipse">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3" name="Rounded Rectangle 141">
            <a:hlinkClick r:id="" action="ppaction://noaction"/>
            <a:extLst>
              <a:ext uri="{FF2B5EF4-FFF2-40B4-BE49-F238E27FC236}">
                <a16:creationId xmlns:a16="http://schemas.microsoft.com/office/drawing/2014/main" id="{8D714D55-E69D-27DD-9033-98012CF0097E}"/>
              </a:ext>
            </a:extLst>
          </p:cNvPr>
          <p:cNvSpPr/>
          <p:nvPr/>
        </p:nvSpPr>
        <p:spPr>
          <a:xfrm>
            <a:off x="1500887" y="6264939"/>
            <a:ext cx="1042987" cy="30716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Our Strategy</a:t>
            </a:r>
          </a:p>
          <a:p>
            <a:r>
              <a:rPr lang="en-US" sz="1100">
                <a:solidFill>
                  <a:srgbClr val="2A2A2A"/>
                </a:solidFill>
                <a:latin typeface="Aptos" panose="020B0004020202020204" pitchFamily="34" charset="0"/>
                <a:cs typeface="Plus Jakarta Sans" pitchFamily="2" charset="77"/>
              </a:rPr>
              <a:t>Index </a:t>
            </a:r>
          </a:p>
        </p:txBody>
      </p:sp>
      <p:pic>
        <p:nvPicPr>
          <p:cNvPr id="19" name="Gráfico 18" descr="Acento Circunflexo à Direita com preenchimento sólido">
            <a:extLst>
              <a:ext uri="{FF2B5EF4-FFF2-40B4-BE49-F238E27FC236}">
                <a16:creationId xmlns:a16="http://schemas.microsoft.com/office/drawing/2014/main" id="{4AEF8F9C-1955-2BE8-2013-EE9949F8DB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97141" y="6291508"/>
            <a:ext cx="274320" cy="274320"/>
          </a:xfrm>
          <a:prstGeom prst="rect">
            <a:avLst/>
          </a:prstGeom>
        </p:spPr>
      </p:pic>
      <p:cxnSp>
        <p:nvCxnSpPr>
          <p:cNvPr id="25" name="Conector Reto 24">
            <a:extLst>
              <a:ext uri="{FF2B5EF4-FFF2-40B4-BE49-F238E27FC236}">
                <a16:creationId xmlns:a16="http://schemas.microsoft.com/office/drawing/2014/main" id="{EB18F9A5-74B0-F1DB-8CFD-F915AD1F9F0D}"/>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6" name="Rounded Rectangle 141">
            <a:extLst>
              <a:ext uri="{FF2B5EF4-FFF2-40B4-BE49-F238E27FC236}">
                <a16:creationId xmlns:a16="http://schemas.microsoft.com/office/drawing/2014/main" id="{4B9B7148-11C3-4449-1BCF-F9D86E020128}"/>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27" name="Agrupar 26">
            <a:extLst>
              <a:ext uri="{FF2B5EF4-FFF2-40B4-BE49-F238E27FC236}">
                <a16:creationId xmlns:a16="http://schemas.microsoft.com/office/drawing/2014/main" id="{2C99F15B-5829-E89A-1EEC-7CDDEB09E87D}"/>
              </a:ext>
            </a:extLst>
          </p:cNvPr>
          <p:cNvGrpSpPr/>
          <p:nvPr/>
        </p:nvGrpSpPr>
        <p:grpSpPr>
          <a:xfrm>
            <a:off x="232893" y="6274809"/>
            <a:ext cx="274453" cy="274454"/>
            <a:chOff x="10758947" y="6120020"/>
            <a:chExt cx="219971" cy="219972"/>
          </a:xfrm>
        </p:grpSpPr>
        <p:sp>
          <p:nvSpPr>
            <p:cNvPr id="28" name="Rounded Rectangle 7">
              <a:extLst>
                <a:ext uri="{FF2B5EF4-FFF2-40B4-BE49-F238E27FC236}">
                  <a16:creationId xmlns:a16="http://schemas.microsoft.com/office/drawing/2014/main" id="{118C136C-3BB9-991B-02C0-7213C62E3B09}"/>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29" name="Graphic 15" descr="Ícone do menu de hambúrguer com preenchimento sólido">
              <a:extLst>
                <a:ext uri="{FF2B5EF4-FFF2-40B4-BE49-F238E27FC236}">
                  <a16:creationId xmlns:a16="http://schemas.microsoft.com/office/drawing/2014/main" id="{C8F878AC-5707-CAE3-3472-9C08FA0A6E7E}"/>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0802327" y="6163409"/>
              <a:ext cx="133186" cy="133186"/>
            </a:xfrm>
            <a:prstGeom prst="rect">
              <a:avLst/>
            </a:prstGeom>
          </p:spPr>
        </p:pic>
      </p:grpSp>
      <p:sp>
        <p:nvSpPr>
          <p:cNvPr id="30" name="Retângulo 29">
            <a:hlinkClick r:id="rId12" action="ppaction://hlinksldjump"/>
            <a:extLst>
              <a:ext uri="{FF2B5EF4-FFF2-40B4-BE49-F238E27FC236}">
                <a16:creationId xmlns:a16="http://schemas.microsoft.com/office/drawing/2014/main" id="{060E7C1C-E1EF-1408-34DC-2FBDF1170472}"/>
              </a:ext>
            </a:extLst>
          </p:cNvPr>
          <p:cNvSpPr/>
          <p:nvPr/>
        </p:nvSpPr>
        <p:spPr>
          <a:xfrm>
            <a:off x="378962" y="6169152"/>
            <a:ext cx="754610"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2" name="Conector Reto 1">
            <a:extLst>
              <a:ext uri="{FF2B5EF4-FFF2-40B4-BE49-F238E27FC236}">
                <a16:creationId xmlns:a16="http://schemas.microsoft.com/office/drawing/2014/main" id="{94BBFC95-4AE0-9648-627A-85233587550B}"/>
              </a:ext>
            </a:extLst>
          </p:cNvPr>
          <p:cNvCxnSpPr>
            <a:cxnSpLocks/>
          </p:cNvCxnSpPr>
          <p:nvPr/>
        </p:nvCxnSpPr>
        <p:spPr>
          <a:xfrm>
            <a:off x="2495600"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654621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OEM Title+index">
    <p:spTree>
      <p:nvGrpSpPr>
        <p:cNvPr id="1" name=""/>
        <p:cNvGrpSpPr/>
        <p:nvPr/>
      </p:nvGrpSpPr>
      <p:grpSpPr>
        <a:xfrm>
          <a:off x="0" y="0"/>
          <a:ext cx="0" cy="0"/>
          <a:chOff x="0" y="0"/>
          <a:chExt cx="0" cy="0"/>
        </a:xfrm>
      </p:grpSpPr>
      <p:sp>
        <p:nvSpPr>
          <p:cNvPr id="5" name="Espaço Reservado para Título 1">
            <a:extLst>
              <a:ext uri="{FF2B5EF4-FFF2-40B4-BE49-F238E27FC236}">
                <a16:creationId xmlns:a16="http://schemas.microsoft.com/office/drawing/2014/main" id="{200667EA-73C3-5C7F-05D6-D4EA19E15A00}"/>
              </a:ext>
            </a:extLst>
          </p:cNvPr>
          <p:cNvSpPr>
            <a:spLocks noGrp="1"/>
          </p:cNvSpPr>
          <p:nvPr>
            <p:ph type="title"/>
          </p:nvPr>
        </p:nvSpPr>
        <p:spPr>
          <a:xfrm>
            <a:off x="1345914" y="410967"/>
            <a:ext cx="10007885" cy="384164"/>
          </a:xfrm>
          <a:prstGeom prst="rect">
            <a:avLst/>
          </a:prstGeom>
        </p:spPr>
        <p:txBody>
          <a:bodyPr vert="horz" lIns="91440" tIns="45720" rIns="91440" bIns="45720" rtlCol="0" anchor="t">
            <a:normAutofit/>
          </a:bodyPr>
          <a:lstStyle>
            <a:lvl1pPr>
              <a:defRPr sz="1600" b="1">
                <a:solidFill>
                  <a:schemeClr val="tx2"/>
                </a:solidFill>
                <a:latin typeface="Aptos" panose="020B0004020202020204" pitchFamily="34" charset="0"/>
              </a:defRPr>
            </a:lvl1pPr>
          </a:lstStyle>
          <a:p>
            <a:r>
              <a:rPr lang="pt-BR"/>
              <a:t>Clique para editar o título Mestre</a:t>
            </a:r>
          </a:p>
        </p:txBody>
      </p:sp>
      <p:sp>
        <p:nvSpPr>
          <p:cNvPr id="6" name="Espaço Reservado para Texto 2">
            <a:extLst>
              <a:ext uri="{FF2B5EF4-FFF2-40B4-BE49-F238E27FC236}">
                <a16:creationId xmlns:a16="http://schemas.microsoft.com/office/drawing/2014/main" id="{26CA08C1-E9D4-CC95-9809-5EF47BC39692}"/>
              </a:ext>
            </a:extLst>
          </p:cNvPr>
          <p:cNvSpPr>
            <a:spLocks noGrp="1"/>
          </p:cNvSpPr>
          <p:nvPr>
            <p:ph idx="1" hasCustomPrompt="1"/>
          </p:nvPr>
        </p:nvSpPr>
        <p:spPr>
          <a:xfrm>
            <a:off x="1307888" y="669494"/>
            <a:ext cx="10095735" cy="631768"/>
          </a:xfrm>
          <a:prstGeom prst="rect">
            <a:avLst/>
          </a:prstGeom>
        </p:spPr>
        <p:txBody>
          <a:bodyPr vert="horz" lIns="91440" tIns="45720" rIns="91440" bIns="45720" rtlCol="0">
            <a:normAutofit/>
          </a:bodyPr>
          <a:lstStyle>
            <a:lvl1pPr marL="0" indent="0">
              <a:buNone/>
              <a:defRPr sz="2400" b="1">
                <a:solidFill>
                  <a:schemeClr val="accent1"/>
                </a:solidFill>
                <a:latin typeface="Aptos" panose="020B0004020202020204" pitchFamily="34" charset="0"/>
              </a:defRPr>
            </a:lvl1pPr>
          </a:lstStyle>
          <a:p>
            <a:pPr lvl="0"/>
            <a:r>
              <a:rPr lang="pt-BR"/>
              <a:t>Clique para editar os estilos de texto Mestres</a:t>
            </a:r>
          </a:p>
        </p:txBody>
      </p:sp>
      <p:grpSp>
        <p:nvGrpSpPr>
          <p:cNvPr id="7" name="Group 11">
            <a:extLst>
              <a:ext uri="{FF2B5EF4-FFF2-40B4-BE49-F238E27FC236}">
                <a16:creationId xmlns:a16="http://schemas.microsoft.com/office/drawing/2014/main" id="{21302BE7-9B35-92B8-D526-EEAA6C8F2EF4}"/>
              </a:ext>
            </a:extLst>
          </p:cNvPr>
          <p:cNvGrpSpPr/>
          <p:nvPr/>
        </p:nvGrpSpPr>
        <p:grpSpPr>
          <a:xfrm>
            <a:off x="1139545" y="423418"/>
            <a:ext cx="216344" cy="216344"/>
            <a:chOff x="4794103" y="1588576"/>
            <a:chExt cx="1242488" cy="1242488"/>
          </a:xfrm>
        </p:grpSpPr>
        <p:sp>
          <p:nvSpPr>
            <p:cNvPr id="8" name="Freeform 13">
              <a:extLst>
                <a:ext uri="{FF2B5EF4-FFF2-40B4-BE49-F238E27FC236}">
                  <a16:creationId xmlns:a16="http://schemas.microsoft.com/office/drawing/2014/main" id="{6A8D0E23-6194-9B17-DBB4-254F12528880}"/>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cxnSp>
          <p:nvCxnSpPr>
            <p:cNvPr id="9" name="Straight Connector 14">
              <a:extLst>
                <a:ext uri="{FF2B5EF4-FFF2-40B4-BE49-F238E27FC236}">
                  <a16:creationId xmlns:a16="http://schemas.microsoft.com/office/drawing/2014/main" id="{555C1BEB-59D2-2284-1A67-11B56F0E42DF}"/>
                </a:ext>
              </a:extLst>
            </p:cNvPr>
            <p:cNvCxnSpPr>
              <a:cxnSpLocks/>
            </p:cNvCxnSpPr>
            <p:nvPr/>
          </p:nvCxnSpPr>
          <p:spPr>
            <a:xfrm flipV="1">
              <a:off x="4794103" y="1588577"/>
              <a:ext cx="1242488" cy="1242487"/>
            </a:xfrm>
            <a:prstGeom prst="line">
              <a:avLst/>
            </a:prstGeom>
            <a:ln w="12700">
              <a:solidFill>
                <a:srgbClr val="2A2A2A"/>
              </a:solidFill>
            </a:ln>
          </p:spPr>
          <p:style>
            <a:lnRef idx="1">
              <a:schemeClr val="accent1"/>
            </a:lnRef>
            <a:fillRef idx="0">
              <a:schemeClr val="accent1"/>
            </a:fillRef>
            <a:effectRef idx="0">
              <a:schemeClr val="accent1"/>
            </a:effectRef>
            <a:fontRef idx="minor">
              <a:schemeClr val="tx1"/>
            </a:fontRef>
          </p:style>
        </p:cxnSp>
      </p:grpSp>
      <p:pic>
        <p:nvPicPr>
          <p:cNvPr id="11" name="Graphic 15" descr="Seta de linha: retorno na horizontal com preenchimento sólido">
            <a:hlinkClick r:id="" action="ppaction://hlinkshowjump?jump=lastslideviewed"/>
            <a:extLst>
              <a:ext uri="{FF2B5EF4-FFF2-40B4-BE49-F238E27FC236}">
                <a16:creationId xmlns:a16="http://schemas.microsoft.com/office/drawing/2014/main" id="{F13D18DB-0DE9-54A9-ABC9-BB41895F06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514665" y="108672"/>
            <a:ext cx="243030" cy="243030"/>
          </a:xfrm>
          <a:prstGeom prst="rect">
            <a:avLst/>
          </a:prstGeom>
        </p:spPr>
      </p:pic>
      <p:pic>
        <p:nvPicPr>
          <p:cNvPr id="12" name="Graphic 7" descr="Fechar com preenchimento sólido">
            <a:hlinkClick r:id="" action="ppaction://hlinkshowjump?jump=lastslide"/>
            <a:extLst>
              <a:ext uri="{FF2B5EF4-FFF2-40B4-BE49-F238E27FC236}">
                <a16:creationId xmlns:a16="http://schemas.microsoft.com/office/drawing/2014/main" id="{BA7E8587-04F8-45D8-04AD-6875FF55AF8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862076" y="172409"/>
            <a:ext cx="152712" cy="152712"/>
          </a:xfrm>
          <a:prstGeom prst="rect">
            <a:avLst/>
          </a:prstGeom>
        </p:spPr>
      </p:pic>
      <p:pic>
        <p:nvPicPr>
          <p:cNvPr id="24" name="layer1" descr="preencoded.png">
            <a:hlinkClick r:id="" action="ppaction://hlinkshowjump?jump=firstslide"/>
            <a:extLst>
              <a:ext uri="{FF2B5EF4-FFF2-40B4-BE49-F238E27FC236}">
                <a16:creationId xmlns:a16="http://schemas.microsoft.com/office/drawing/2014/main" id="{B815D5B1-9DD0-4214-36D3-9663A943752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73202" y="128379"/>
            <a:ext cx="429946" cy="393483"/>
          </a:xfrm>
          <a:prstGeom prst="rect">
            <a:avLst/>
          </a:prstGeom>
        </p:spPr>
      </p:pic>
      <p:sp>
        <p:nvSpPr>
          <p:cNvPr id="2" name="Espaço Reservado para Texto 2">
            <a:extLst>
              <a:ext uri="{FF2B5EF4-FFF2-40B4-BE49-F238E27FC236}">
                <a16:creationId xmlns:a16="http://schemas.microsoft.com/office/drawing/2014/main" id="{9C94E855-7257-60C0-05C7-A30BBFC4E20A}"/>
              </a:ext>
            </a:extLst>
          </p:cNvPr>
          <p:cNvSpPr>
            <a:spLocks noGrp="1"/>
          </p:cNvSpPr>
          <p:nvPr>
            <p:ph idx="10" hasCustomPrompt="1"/>
          </p:nvPr>
        </p:nvSpPr>
        <p:spPr>
          <a:xfrm>
            <a:off x="2308749" y="6215427"/>
            <a:ext cx="675886" cy="393205"/>
          </a:xfrm>
          <a:prstGeom prst="rect">
            <a:avLst/>
          </a:prstGeom>
        </p:spPr>
        <p:txBody>
          <a:bodyPr vert="horz" lIns="91440" tIns="45720" rIns="91440" bIns="45720" rtlCol="0" anchor="ctr">
            <a:noAutofit/>
          </a:bodyPr>
          <a:lstStyle>
            <a:lvl1pPr marL="0" indent="0">
              <a:lnSpc>
                <a:spcPct val="70000"/>
              </a:lnSpc>
              <a:spcBef>
                <a:spcPts val="1200"/>
              </a:spcBef>
              <a:buNone/>
              <a:defRPr sz="1000" b="0">
                <a:solidFill>
                  <a:srgbClr val="2A2A2A"/>
                </a:solidFill>
                <a:latin typeface="Aptos" panose="020B0004020202020204" pitchFamily="34" charset="0"/>
              </a:defRPr>
            </a:lvl1pPr>
          </a:lstStyle>
          <a:p>
            <a:pPr lvl="0"/>
            <a:r>
              <a:rPr lang="pt-BR"/>
              <a:t>Nome da sessão</a:t>
            </a:r>
          </a:p>
        </p:txBody>
      </p:sp>
      <p:sp>
        <p:nvSpPr>
          <p:cNvPr id="3" name="Oval 2">
            <a:hlinkClick r:id="" action="ppaction://noaction"/>
            <a:extLst>
              <a:ext uri="{FF2B5EF4-FFF2-40B4-BE49-F238E27FC236}">
                <a16:creationId xmlns:a16="http://schemas.microsoft.com/office/drawing/2014/main" id="{9BCB8588-9141-18F3-7518-7607DB23716A}"/>
              </a:ext>
            </a:extLst>
          </p:cNvPr>
          <p:cNvSpPr/>
          <p:nvPr/>
        </p:nvSpPr>
        <p:spPr>
          <a:xfrm>
            <a:off x="1280443" y="6285235"/>
            <a:ext cx="279400" cy="279400"/>
          </a:xfrm>
          <a:prstGeom prst="ellipse">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19" name="Rounded Rectangle 141">
            <a:hlinkClick r:id="" action="ppaction://noaction"/>
            <a:extLst>
              <a:ext uri="{FF2B5EF4-FFF2-40B4-BE49-F238E27FC236}">
                <a16:creationId xmlns:a16="http://schemas.microsoft.com/office/drawing/2014/main" id="{D8E590C9-4D0F-8112-5930-95A137E941F8}"/>
              </a:ext>
            </a:extLst>
          </p:cNvPr>
          <p:cNvSpPr/>
          <p:nvPr/>
        </p:nvSpPr>
        <p:spPr>
          <a:xfrm>
            <a:off x="1500888" y="6264940"/>
            <a:ext cx="986138" cy="279400"/>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2A2A2A"/>
                </a:solidFill>
                <a:latin typeface="Aptos" panose="020B0004020202020204" pitchFamily="34" charset="0"/>
                <a:cs typeface="Plus Jakarta Sans" pitchFamily="2" charset="77"/>
              </a:rPr>
              <a:t>OEM</a:t>
            </a:r>
          </a:p>
          <a:p>
            <a:r>
              <a:rPr lang="en-US" sz="1100">
                <a:solidFill>
                  <a:srgbClr val="2A2A2A"/>
                </a:solidFill>
                <a:latin typeface="Aptos" panose="020B0004020202020204" pitchFamily="34" charset="0"/>
                <a:cs typeface="Plus Jakarta Sans" pitchFamily="2" charset="77"/>
              </a:rPr>
              <a:t>Index </a:t>
            </a:r>
          </a:p>
        </p:txBody>
      </p:sp>
      <p:pic>
        <p:nvPicPr>
          <p:cNvPr id="22" name="Gráfico 21" descr="Acento Circunflexo à Direita com preenchimento sólido">
            <a:extLst>
              <a:ext uri="{FF2B5EF4-FFF2-40B4-BE49-F238E27FC236}">
                <a16:creationId xmlns:a16="http://schemas.microsoft.com/office/drawing/2014/main" id="{126985F7-2C4C-79E1-81E3-D55C7F2F43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97141" y="6291508"/>
            <a:ext cx="274320" cy="274320"/>
          </a:xfrm>
          <a:prstGeom prst="rect">
            <a:avLst/>
          </a:prstGeom>
        </p:spPr>
      </p:pic>
      <p:cxnSp>
        <p:nvCxnSpPr>
          <p:cNvPr id="23" name="Conector Reto 22">
            <a:extLst>
              <a:ext uri="{FF2B5EF4-FFF2-40B4-BE49-F238E27FC236}">
                <a16:creationId xmlns:a16="http://schemas.microsoft.com/office/drawing/2014/main" id="{8A6BB23B-F7E3-5DC0-4EEF-226AF7F07B11}"/>
              </a:ext>
            </a:extLst>
          </p:cNvPr>
          <p:cNvCxnSpPr>
            <a:cxnSpLocks/>
          </p:cNvCxnSpPr>
          <p:nvPr/>
        </p:nvCxnSpPr>
        <p:spPr>
          <a:xfrm>
            <a:off x="1164336"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5" name="Rounded Rectangle 141">
            <a:extLst>
              <a:ext uri="{FF2B5EF4-FFF2-40B4-BE49-F238E27FC236}">
                <a16:creationId xmlns:a16="http://schemas.microsoft.com/office/drawing/2014/main" id="{E65E62C3-E065-9AE5-469A-0D45751A3C01}"/>
              </a:ext>
            </a:extLst>
          </p:cNvPr>
          <p:cNvSpPr/>
          <p:nvPr/>
        </p:nvSpPr>
        <p:spPr>
          <a:xfrm>
            <a:off x="499871" y="6251731"/>
            <a:ext cx="693929" cy="318221"/>
          </a:xfrm>
          <a:prstGeom prst="roundRect">
            <a:avLst>
              <a:gd name="adj" fmla="val 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chemeClr val="tx1"/>
                </a:solidFill>
                <a:latin typeface="Aptos" panose="020B0004020202020204" pitchFamily="34" charset="0"/>
                <a:cs typeface="Plus Jakarta Sans" pitchFamily="2" charset="77"/>
              </a:rPr>
              <a:t>General</a:t>
            </a:r>
          </a:p>
          <a:p>
            <a:r>
              <a:rPr lang="en-US" sz="1100">
                <a:solidFill>
                  <a:schemeClr val="tx1"/>
                </a:solidFill>
                <a:latin typeface="Aptos" panose="020B0004020202020204" pitchFamily="34" charset="0"/>
                <a:cs typeface="Plus Jakarta Sans" pitchFamily="2" charset="77"/>
              </a:rPr>
              <a:t>Index </a:t>
            </a:r>
          </a:p>
        </p:txBody>
      </p:sp>
      <p:grpSp>
        <p:nvGrpSpPr>
          <p:cNvPr id="26" name="Agrupar 25">
            <a:extLst>
              <a:ext uri="{FF2B5EF4-FFF2-40B4-BE49-F238E27FC236}">
                <a16:creationId xmlns:a16="http://schemas.microsoft.com/office/drawing/2014/main" id="{0F064D1B-5E9D-8182-C8C6-35FF57FFC378}"/>
              </a:ext>
            </a:extLst>
          </p:cNvPr>
          <p:cNvGrpSpPr/>
          <p:nvPr/>
        </p:nvGrpSpPr>
        <p:grpSpPr>
          <a:xfrm>
            <a:off x="232893" y="6274809"/>
            <a:ext cx="274453" cy="274454"/>
            <a:chOff x="10758947" y="6120020"/>
            <a:chExt cx="219971" cy="219972"/>
          </a:xfrm>
        </p:grpSpPr>
        <p:sp>
          <p:nvSpPr>
            <p:cNvPr id="27" name="Rounded Rectangle 7">
              <a:extLst>
                <a:ext uri="{FF2B5EF4-FFF2-40B4-BE49-F238E27FC236}">
                  <a16:creationId xmlns:a16="http://schemas.microsoft.com/office/drawing/2014/main" id="{5A1843BE-5FF4-91A1-762B-2E000604D0BA}"/>
                </a:ext>
              </a:extLst>
            </p:cNvPr>
            <p:cNvSpPr/>
            <p:nvPr/>
          </p:nvSpPr>
          <p:spPr>
            <a:xfrm>
              <a:off x="10758947" y="6120020"/>
              <a:ext cx="219971" cy="219972"/>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28" name="Graphic 15" descr="Ícone do menu de hambúrguer com preenchimento sólido">
              <a:extLst>
                <a:ext uri="{FF2B5EF4-FFF2-40B4-BE49-F238E27FC236}">
                  <a16:creationId xmlns:a16="http://schemas.microsoft.com/office/drawing/2014/main" id="{C5EE6B23-40B8-AEDC-60CE-697FE55410B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0802327" y="6163409"/>
              <a:ext cx="133186" cy="133186"/>
            </a:xfrm>
            <a:prstGeom prst="rect">
              <a:avLst/>
            </a:prstGeom>
          </p:spPr>
        </p:pic>
      </p:grpSp>
      <p:sp>
        <p:nvSpPr>
          <p:cNvPr id="29" name="Retângulo 28">
            <a:hlinkClick r:id="rId12" action="ppaction://hlinksldjump"/>
            <a:extLst>
              <a:ext uri="{FF2B5EF4-FFF2-40B4-BE49-F238E27FC236}">
                <a16:creationId xmlns:a16="http://schemas.microsoft.com/office/drawing/2014/main" id="{420D7FC2-943B-E075-F5DC-B0E1EF2CC2AA}"/>
              </a:ext>
            </a:extLst>
          </p:cNvPr>
          <p:cNvSpPr/>
          <p:nvPr/>
        </p:nvSpPr>
        <p:spPr>
          <a:xfrm>
            <a:off x="158496" y="6169152"/>
            <a:ext cx="753740" cy="5120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30" name="Conector Reto 29">
            <a:extLst>
              <a:ext uri="{FF2B5EF4-FFF2-40B4-BE49-F238E27FC236}">
                <a16:creationId xmlns:a16="http://schemas.microsoft.com/office/drawing/2014/main" id="{DFDB4267-9F96-9980-849A-C014FF841E37}"/>
              </a:ext>
            </a:extLst>
          </p:cNvPr>
          <p:cNvCxnSpPr>
            <a:cxnSpLocks/>
          </p:cNvCxnSpPr>
          <p:nvPr/>
        </p:nvCxnSpPr>
        <p:spPr>
          <a:xfrm>
            <a:off x="2173181"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412394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C3EF02-BD96-4684-9419-A03F8BE853C1}"/>
              </a:ext>
            </a:extLst>
          </p:cNvPr>
          <p:cNvGraphicFramePr>
            <a:graphicFrameLocks noChangeAspect="1"/>
          </p:cNvGraphicFramePr>
          <p:nvPr userDrawn="1">
            <p:custDataLst>
              <p:tags r:id="rId1"/>
            </p:custDataLst>
            <p:extLst>
              <p:ext uri="{D42A27DB-BD31-4B8C-83A1-F6EECF244321}">
                <p14:modId xmlns:p14="http://schemas.microsoft.com/office/powerpoint/2010/main" val="19342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4C3EF02-BD96-4684-9419-A03F8BE853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57D3B3C-40DD-4AD9-8433-9CFA1BB940F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365125"/>
            <a:ext cx="10888134" cy="1325563"/>
          </a:xfrm>
        </p:spPr>
        <p:txBody>
          <a:bodyPr/>
          <a:lstStyle>
            <a:lvl1pPr>
              <a:lnSpc>
                <a:spcPct val="1000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4266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opener right">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6115057" y="0"/>
            <a:ext cx="6076945"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8"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7"/>
            <a:ext cx="765552" cy="206703"/>
          </a:xfrm>
          <a:prstGeom prst="rect">
            <a:avLst/>
          </a:prstGeom>
        </p:spPr>
      </p:pic>
      <p:cxnSp>
        <p:nvCxnSpPr>
          <p:cNvPr id="14" name="Straight Connector 13"/>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73363908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Accelera">
    <p:bg>
      <p:bgPr>
        <a:solidFill>
          <a:srgbClr val="143C3E"/>
        </a:solidFill>
        <a:effectLst/>
      </p:bgPr>
    </p:bg>
    <p:spTree>
      <p:nvGrpSpPr>
        <p:cNvPr id="1" name=""/>
        <p:cNvGrpSpPr/>
        <p:nvPr/>
      </p:nvGrpSpPr>
      <p:grpSpPr>
        <a:xfrm>
          <a:off x="0" y="0"/>
          <a:ext cx="0" cy="0"/>
          <a:chOff x="0" y="0"/>
          <a:chExt cx="0" cy="0"/>
        </a:xfrm>
      </p:grpSpPr>
      <p:grpSp>
        <p:nvGrpSpPr>
          <p:cNvPr id="14" name="Agrupar 194">
            <a:extLst>
              <a:ext uri="{FF2B5EF4-FFF2-40B4-BE49-F238E27FC236}">
                <a16:creationId xmlns:a16="http://schemas.microsoft.com/office/drawing/2014/main" id="{88927BD7-DE20-6D9F-00D9-0CDC23D50CBE}"/>
              </a:ext>
            </a:extLst>
          </p:cNvPr>
          <p:cNvGrpSpPr/>
          <p:nvPr/>
        </p:nvGrpSpPr>
        <p:grpSpPr>
          <a:xfrm>
            <a:off x="232893" y="6251731"/>
            <a:ext cx="1216590" cy="318221"/>
            <a:chOff x="10877421" y="6251648"/>
            <a:chExt cx="975085" cy="255051"/>
          </a:xfrm>
        </p:grpSpPr>
        <p:sp>
          <p:nvSpPr>
            <p:cNvPr id="15" name="Rounded Rectangle 141">
              <a:hlinkClick r:id="rId2" action="ppaction://hlinksldjump"/>
              <a:extLst>
                <a:ext uri="{FF2B5EF4-FFF2-40B4-BE49-F238E27FC236}">
                  <a16:creationId xmlns:a16="http://schemas.microsoft.com/office/drawing/2014/main" id="{0B73CD4B-FDE1-A3DF-D7DF-D1DFBDFEF96E}"/>
                </a:ext>
              </a:extLst>
            </p:cNvPr>
            <p:cNvSpPr/>
            <p:nvPr/>
          </p:nvSpPr>
          <p:spPr>
            <a:xfrm>
              <a:off x="11041985" y="6251648"/>
              <a:ext cx="810521" cy="255051"/>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sz="1100">
                  <a:solidFill>
                    <a:srgbClr val="3CBD7A"/>
                  </a:solidFill>
                  <a:latin typeface="Aptos" panose="020B0004020202020204" pitchFamily="34" charset="0"/>
                  <a:cs typeface="Plus Jakarta Sans" pitchFamily="2" charset="77"/>
                </a:rPr>
                <a:t>General</a:t>
              </a:r>
            </a:p>
            <a:p>
              <a:r>
                <a:rPr lang="en-US" sz="1100">
                  <a:solidFill>
                    <a:srgbClr val="3CBD7A"/>
                  </a:solidFill>
                  <a:latin typeface="Aptos" panose="020B0004020202020204" pitchFamily="34" charset="0"/>
                  <a:cs typeface="Plus Jakarta Sans" pitchFamily="2" charset="77"/>
                </a:rPr>
                <a:t>Index </a:t>
              </a:r>
            </a:p>
          </p:txBody>
        </p:sp>
        <p:grpSp>
          <p:nvGrpSpPr>
            <p:cNvPr id="16" name="Agrupar 196">
              <a:extLst>
                <a:ext uri="{FF2B5EF4-FFF2-40B4-BE49-F238E27FC236}">
                  <a16:creationId xmlns:a16="http://schemas.microsoft.com/office/drawing/2014/main" id="{06D6D383-DA1E-D361-0FA0-BCAC57C42A13}"/>
                </a:ext>
              </a:extLst>
            </p:cNvPr>
            <p:cNvGrpSpPr/>
            <p:nvPr/>
          </p:nvGrpSpPr>
          <p:grpSpPr>
            <a:xfrm>
              <a:off x="10877421" y="6270145"/>
              <a:ext cx="219971" cy="219972"/>
              <a:chOff x="10758947" y="6120020"/>
              <a:chExt cx="219971" cy="219972"/>
            </a:xfrm>
          </p:grpSpPr>
          <p:sp>
            <p:nvSpPr>
              <p:cNvPr id="17" name="Rounded Rectangle 7">
                <a:hlinkClick r:id="rId2" action="ppaction://hlinksldjump"/>
                <a:extLst>
                  <a:ext uri="{FF2B5EF4-FFF2-40B4-BE49-F238E27FC236}">
                    <a16:creationId xmlns:a16="http://schemas.microsoft.com/office/drawing/2014/main" id="{A15CF084-FAA3-E448-43C6-DED2E8405718}"/>
                  </a:ext>
                </a:extLst>
              </p:cNvPr>
              <p:cNvSpPr/>
              <p:nvPr/>
            </p:nvSpPr>
            <p:spPr>
              <a:xfrm>
                <a:off x="10758947" y="6120020"/>
                <a:ext cx="219971" cy="219972"/>
              </a:xfrm>
              <a:prstGeom prst="roundRect">
                <a:avLst>
                  <a:gd name="adj" fmla="val 50000"/>
                </a:avLst>
              </a:prstGeom>
              <a:solidFill>
                <a:srgbClr val="30A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pic>
            <p:nvPicPr>
              <p:cNvPr id="18" name="Graphic 15" descr="Ícone do menu de hambúrguer com preenchimento sólido">
                <a:hlinkClick r:id="rId2" action="ppaction://hlinksldjump"/>
                <a:extLst>
                  <a:ext uri="{FF2B5EF4-FFF2-40B4-BE49-F238E27FC236}">
                    <a16:creationId xmlns:a16="http://schemas.microsoft.com/office/drawing/2014/main" id="{8477E881-CC7D-2D69-12D8-E5F023C6A9D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0802327" y="6163409"/>
                <a:ext cx="133186" cy="133186"/>
              </a:xfrm>
              <a:prstGeom prst="rect">
                <a:avLst/>
              </a:prstGeom>
            </p:spPr>
          </p:pic>
        </p:grpSp>
      </p:grpSp>
    </p:spTree>
    <p:extLst>
      <p:ext uri="{BB962C8B-B14F-4D97-AF65-F5344CB8AC3E}">
        <p14:creationId xmlns:p14="http://schemas.microsoft.com/office/powerpoint/2010/main" val="20162118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4368637" cy="1325563"/>
          </a:xfrm>
        </p:spPr>
        <p:txBody>
          <a:bodyPr/>
          <a:lstStyle>
            <a:lvl1pPr>
              <a:lnSpc>
                <a:spcPts val="4800"/>
              </a:lnSpc>
              <a:defRPr/>
            </a:lvl1pPr>
          </a:lstStyle>
          <a:p>
            <a:r>
              <a:rPr lang="en-US"/>
              <a:t>Click to edit Master title style</a:t>
            </a:r>
          </a:p>
        </p:txBody>
      </p:sp>
      <p:sp>
        <p:nvSpPr>
          <p:cNvPr id="38" name="Picture Placeholder 37"/>
          <p:cNvSpPr>
            <a:spLocks noGrp="1"/>
          </p:cNvSpPr>
          <p:nvPr>
            <p:ph type="pic" sz="quarter" idx="27"/>
          </p:nvPr>
        </p:nvSpPr>
        <p:spPr>
          <a:xfrm>
            <a:off x="5609959" y="565873"/>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39" name="Picture Placeholder 37"/>
          <p:cNvSpPr>
            <a:spLocks noGrp="1"/>
          </p:cNvSpPr>
          <p:nvPr>
            <p:ph type="pic" sz="quarter" idx="28"/>
          </p:nvPr>
        </p:nvSpPr>
        <p:spPr>
          <a:xfrm>
            <a:off x="1635797" y="2832488"/>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40" name="Picture Placeholder 37"/>
          <p:cNvSpPr>
            <a:spLocks noGrp="1"/>
          </p:cNvSpPr>
          <p:nvPr>
            <p:ph type="pic" sz="quarter" idx="29"/>
          </p:nvPr>
        </p:nvSpPr>
        <p:spPr>
          <a:xfrm>
            <a:off x="3607936" y="2813436"/>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41" name="Picture Placeholder 37"/>
          <p:cNvSpPr>
            <a:spLocks noGrp="1"/>
          </p:cNvSpPr>
          <p:nvPr>
            <p:ph type="pic" sz="quarter" idx="30"/>
          </p:nvPr>
        </p:nvSpPr>
        <p:spPr>
          <a:xfrm>
            <a:off x="5580075" y="2808451"/>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42" name="Picture Placeholder 37"/>
          <p:cNvSpPr>
            <a:spLocks noGrp="1"/>
          </p:cNvSpPr>
          <p:nvPr>
            <p:ph type="pic" sz="quarter" idx="31"/>
          </p:nvPr>
        </p:nvSpPr>
        <p:spPr>
          <a:xfrm>
            <a:off x="7552215" y="2803466"/>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43" name="Picture Placeholder 37"/>
          <p:cNvSpPr>
            <a:spLocks noGrp="1"/>
          </p:cNvSpPr>
          <p:nvPr>
            <p:ph type="pic" sz="quarter" idx="32"/>
          </p:nvPr>
        </p:nvSpPr>
        <p:spPr>
          <a:xfrm>
            <a:off x="9524355" y="2777460"/>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4" name="Picture Placeholder 37"/>
          <p:cNvSpPr>
            <a:spLocks noGrp="1"/>
          </p:cNvSpPr>
          <p:nvPr>
            <p:ph type="pic" sz="quarter" idx="33"/>
          </p:nvPr>
        </p:nvSpPr>
        <p:spPr>
          <a:xfrm>
            <a:off x="1635797" y="4698822"/>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5" name="Picture Placeholder 37"/>
          <p:cNvSpPr>
            <a:spLocks noGrp="1"/>
          </p:cNvSpPr>
          <p:nvPr>
            <p:ph type="pic" sz="quarter" idx="34"/>
          </p:nvPr>
        </p:nvSpPr>
        <p:spPr>
          <a:xfrm>
            <a:off x="3607936" y="4679770"/>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6" name="Picture Placeholder 37"/>
          <p:cNvSpPr>
            <a:spLocks noGrp="1"/>
          </p:cNvSpPr>
          <p:nvPr>
            <p:ph type="pic" sz="quarter" idx="35"/>
          </p:nvPr>
        </p:nvSpPr>
        <p:spPr>
          <a:xfrm>
            <a:off x="5580075" y="4674785"/>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7" name="Picture Placeholder 37"/>
          <p:cNvSpPr>
            <a:spLocks noGrp="1"/>
          </p:cNvSpPr>
          <p:nvPr>
            <p:ph type="pic" sz="quarter" idx="36"/>
          </p:nvPr>
        </p:nvSpPr>
        <p:spPr>
          <a:xfrm>
            <a:off x="7552215" y="4669800"/>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8" name="Picture Placeholder 37"/>
          <p:cNvSpPr>
            <a:spLocks noGrp="1"/>
          </p:cNvSpPr>
          <p:nvPr>
            <p:ph type="pic" sz="quarter" idx="37"/>
          </p:nvPr>
        </p:nvSpPr>
        <p:spPr>
          <a:xfrm>
            <a:off x="9524355" y="4643794"/>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4" name="Text Placeholder 3"/>
          <p:cNvSpPr>
            <a:spLocks noGrp="1"/>
          </p:cNvSpPr>
          <p:nvPr>
            <p:ph type="body" sz="quarter" idx="38" hasCustomPrompt="1"/>
          </p:nvPr>
        </p:nvSpPr>
        <p:spPr>
          <a:xfrm>
            <a:off x="1808302" y="3876301"/>
            <a:ext cx="569387"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22" name="Text Placeholder 3"/>
          <p:cNvSpPr>
            <a:spLocks noGrp="1"/>
          </p:cNvSpPr>
          <p:nvPr>
            <p:ph type="body" sz="quarter" idx="39" hasCustomPrompt="1"/>
          </p:nvPr>
        </p:nvSpPr>
        <p:spPr>
          <a:xfrm>
            <a:off x="1866812" y="4138546"/>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23" name="Text Placeholder 3"/>
          <p:cNvSpPr>
            <a:spLocks noGrp="1"/>
          </p:cNvSpPr>
          <p:nvPr>
            <p:ph type="body" sz="quarter" idx="40" hasCustomPrompt="1"/>
          </p:nvPr>
        </p:nvSpPr>
        <p:spPr>
          <a:xfrm>
            <a:off x="3764450" y="3876301"/>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24" name="Text Placeholder 3"/>
          <p:cNvSpPr>
            <a:spLocks noGrp="1"/>
          </p:cNvSpPr>
          <p:nvPr>
            <p:ph type="body" sz="quarter" idx="41" hasCustomPrompt="1"/>
          </p:nvPr>
        </p:nvSpPr>
        <p:spPr>
          <a:xfrm>
            <a:off x="3822961" y="4138546"/>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25" name="Text Placeholder 3"/>
          <p:cNvSpPr>
            <a:spLocks noGrp="1"/>
          </p:cNvSpPr>
          <p:nvPr>
            <p:ph type="body" sz="quarter" idx="42" hasCustomPrompt="1"/>
          </p:nvPr>
        </p:nvSpPr>
        <p:spPr>
          <a:xfrm>
            <a:off x="5773096" y="3876301"/>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26" name="Text Placeholder 3"/>
          <p:cNvSpPr>
            <a:spLocks noGrp="1"/>
          </p:cNvSpPr>
          <p:nvPr>
            <p:ph type="body" sz="quarter" idx="43" hasCustomPrompt="1"/>
          </p:nvPr>
        </p:nvSpPr>
        <p:spPr>
          <a:xfrm>
            <a:off x="5831608" y="4138546"/>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27" name="Text Placeholder 3"/>
          <p:cNvSpPr>
            <a:spLocks noGrp="1"/>
          </p:cNvSpPr>
          <p:nvPr>
            <p:ph type="body" sz="quarter" idx="44" hasCustomPrompt="1"/>
          </p:nvPr>
        </p:nvSpPr>
        <p:spPr>
          <a:xfrm>
            <a:off x="7781743" y="3876301"/>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28" name="Text Placeholder 3"/>
          <p:cNvSpPr>
            <a:spLocks noGrp="1"/>
          </p:cNvSpPr>
          <p:nvPr>
            <p:ph type="body" sz="quarter" idx="45" hasCustomPrompt="1"/>
          </p:nvPr>
        </p:nvSpPr>
        <p:spPr>
          <a:xfrm>
            <a:off x="7840254" y="4138546"/>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29" name="Text Placeholder 3"/>
          <p:cNvSpPr>
            <a:spLocks noGrp="1"/>
          </p:cNvSpPr>
          <p:nvPr>
            <p:ph type="body" sz="quarter" idx="46" hasCustomPrompt="1"/>
          </p:nvPr>
        </p:nvSpPr>
        <p:spPr>
          <a:xfrm>
            <a:off x="9737891" y="3858738"/>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30" name="Text Placeholder 3"/>
          <p:cNvSpPr>
            <a:spLocks noGrp="1"/>
          </p:cNvSpPr>
          <p:nvPr>
            <p:ph type="body" sz="quarter" idx="47" hasCustomPrompt="1"/>
          </p:nvPr>
        </p:nvSpPr>
        <p:spPr>
          <a:xfrm>
            <a:off x="9796402" y="4120983"/>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31" name="Text Placeholder 3"/>
          <p:cNvSpPr>
            <a:spLocks noGrp="1"/>
          </p:cNvSpPr>
          <p:nvPr>
            <p:ph type="body" sz="quarter" idx="48" hasCustomPrompt="1"/>
          </p:nvPr>
        </p:nvSpPr>
        <p:spPr>
          <a:xfrm>
            <a:off x="1808302" y="5758330"/>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32" name="Text Placeholder 3"/>
          <p:cNvSpPr>
            <a:spLocks noGrp="1"/>
          </p:cNvSpPr>
          <p:nvPr>
            <p:ph type="body" sz="quarter" idx="49" hasCustomPrompt="1"/>
          </p:nvPr>
        </p:nvSpPr>
        <p:spPr>
          <a:xfrm>
            <a:off x="1866813" y="6020575"/>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33" name="Text Placeholder 3"/>
          <p:cNvSpPr>
            <a:spLocks noGrp="1"/>
          </p:cNvSpPr>
          <p:nvPr>
            <p:ph type="body" sz="quarter" idx="50" hasCustomPrompt="1"/>
          </p:nvPr>
        </p:nvSpPr>
        <p:spPr>
          <a:xfrm>
            <a:off x="3764450" y="5758330"/>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34" name="Text Placeholder 3"/>
          <p:cNvSpPr>
            <a:spLocks noGrp="1"/>
          </p:cNvSpPr>
          <p:nvPr>
            <p:ph type="body" sz="quarter" idx="51" hasCustomPrompt="1"/>
          </p:nvPr>
        </p:nvSpPr>
        <p:spPr>
          <a:xfrm>
            <a:off x="3822961" y="6020575"/>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35" name="Text Placeholder 3"/>
          <p:cNvSpPr>
            <a:spLocks noGrp="1"/>
          </p:cNvSpPr>
          <p:nvPr>
            <p:ph type="body" sz="quarter" idx="52" hasCustomPrompt="1"/>
          </p:nvPr>
        </p:nvSpPr>
        <p:spPr>
          <a:xfrm>
            <a:off x="5773096" y="5758330"/>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36" name="Text Placeholder 3"/>
          <p:cNvSpPr>
            <a:spLocks noGrp="1"/>
          </p:cNvSpPr>
          <p:nvPr>
            <p:ph type="body" sz="quarter" idx="53" hasCustomPrompt="1"/>
          </p:nvPr>
        </p:nvSpPr>
        <p:spPr>
          <a:xfrm>
            <a:off x="5828401" y="6020575"/>
            <a:ext cx="458780"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err="1"/>
              <a:t>TItle</a:t>
            </a:r>
            <a:endParaRPr lang="en-US"/>
          </a:p>
        </p:txBody>
      </p:sp>
      <p:sp>
        <p:nvSpPr>
          <p:cNvPr id="37" name="Text Placeholder 3"/>
          <p:cNvSpPr>
            <a:spLocks noGrp="1"/>
          </p:cNvSpPr>
          <p:nvPr>
            <p:ph type="body" sz="quarter" idx="54" hasCustomPrompt="1"/>
          </p:nvPr>
        </p:nvSpPr>
        <p:spPr>
          <a:xfrm>
            <a:off x="7781743" y="5758330"/>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44" name="Text Placeholder 3"/>
          <p:cNvSpPr>
            <a:spLocks noGrp="1"/>
          </p:cNvSpPr>
          <p:nvPr>
            <p:ph type="body" sz="quarter" idx="55" hasCustomPrompt="1"/>
          </p:nvPr>
        </p:nvSpPr>
        <p:spPr>
          <a:xfrm>
            <a:off x="7840254" y="6020575"/>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45" name="Text Placeholder 3"/>
          <p:cNvSpPr>
            <a:spLocks noGrp="1"/>
          </p:cNvSpPr>
          <p:nvPr>
            <p:ph type="body" sz="quarter" idx="56" hasCustomPrompt="1"/>
          </p:nvPr>
        </p:nvSpPr>
        <p:spPr>
          <a:xfrm>
            <a:off x="9737891" y="5740767"/>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46" name="Text Placeholder 3"/>
          <p:cNvSpPr>
            <a:spLocks noGrp="1"/>
          </p:cNvSpPr>
          <p:nvPr>
            <p:ph type="body" sz="quarter" idx="57" hasCustomPrompt="1"/>
          </p:nvPr>
        </p:nvSpPr>
        <p:spPr>
          <a:xfrm>
            <a:off x="9796402" y="6003012"/>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47" name="Text Placeholder 3"/>
          <p:cNvSpPr>
            <a:spLocks noGrp="1"/>
          </p:cNvSpPr>
          <p:nvPr>
            <p:ph type="body" sz="quarter" idx="58" hasCustomPrompt="1"/>
          </p:nvPr>
        </p:nvSpPr>
        <p:spPr>
          <a:xfrm>
            <a:off x="5773096" y="1628653"/>
            <a:ext cx="569388" cy="244682"/>
          </a:xfrm>
          <a:prstGeom prst="rect">
            <a:avLst/>
          </a:prstGeom>
        </p:spPr>
        <p:txBody>
          <a:bodyPr wrap="none">
            <a:spAutoFit/>
          </a:bodyPr>
          <a:lstStyle>
            <a:lvl1pPr marL="0" indent="0" algn="ctr">
              <a:buNone/>
              <a:defRPr sz="11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a:t>
            </a:r>
          </a:p>
        </p:txBody>
      </p:sp>
      <p:sp>
        <p:nvSpPr>
          <p:cNvPr id="48" name="Text Placeholder 3"/>
          <p:cNvSpPr>
            <a:spLocks noGrp="1"/>
          </p:cNvSpPr>
          <p:nvPr>
            <p:ph type="body" sz="quarter" idx="59" hasCustomPrompt="1"/>
          </p:nvPr>
        </p:nvSpPr>
        <p:spPr>
          <a:xfrm>
            <a:off x="5831607" y="1890898"/>
            <a:ext cx="452368" cy="244682"/>
          </a:xfrm>
          <a:prstGeom prst="rect">
            <a:avLst/>
          </a:prstGeom>
        </p:spPr>
        <p:txBody>
          <a:bodyPr wrap="none">
            <a:spAutoFit/>
          </a:bodyPr>
          <a:lstStyle>
            <a:lvl1pPr marL="0" indent="0" algn="ctr">
              <a:buNone/>
              <a:defRPr sz="1100" b="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Title</a:t>
            </a:r>
          </a:p>
        </p:txBody>
      </p:sp>
      <p:sp>
        <p:nvSpPr>
          <p:cNvPr id="49"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113402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Leader message">
    <p:spTree>
      <p:nvGrpSpPr>
        <p:cNvPr id="1" name=""/>
        <p:cNvGrpSpPr/>
        <p:nvPr/>
      </p:nvGrpSpPr>
      <p:grpSpPr>
        <a:xfrm>
          <a:off x="0" y="0"/>
          <a:ext cx="0" cy="0"/>
          <a:chOff x="0" y="0"/>
          <a:chExt cx="0" cy="0"/>
        </a:xfrm>
      </p:grpSpPr>
      <p:sp>
        <p:nvSpPr>
          <p:cNvPr id="6" name="Picture Placeholder 2"/>
          <p:cNvSpPr>
            <a:spLocks noGrp="1"/>
          </p:cNvSpPr>
          <p:nvPr>
            <p:ph type="pic" sz="quarter" idx="26"/>
          </p:nvPr>
        </p:nvSpPr>
        <p:spPr>
          <a:xfrm>
            <a:off x="1951989" y="2424794"/>
            <a:ext cx="2008937" cy="2008415"/>
          </a:xfrm>
          <a:prstGeom prst="ellipse">
            <a:avLst/>
          </a:prstGeom>
          <a:solidFill>
            <a:schemeClr val="bg1">
              <a:lumMod val="95000"/>
            </a:schemeClr>
          </a:solidFill>
        </p:spPr>
        <p:txBody>
          <a:bodyPr>
            <a:normAutofit/>
          </a:bodyPr>
          <a:lstStyle>
            <a:lvl1pPr>
              <a:defRPr sz="1400"/>
            </a:lvl1pPr>
          </a:lstStyle>
          <a:p>
            <a:r>
              <a:rPr lang="en-US"/>
              <a:t>Click icon to add picture</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5" name="Title 1">
            <a:extLst>
              <a:ext uri="{FF2B5EF4-FFF2-40B4-BE49-F238E27FC236}">
                <a16:creationId xmlns:a16="http://schemas.microsoft.com/office/drawing/2014/main" id="{DED85CDE-DF7F-C849-A2AF-20D8397B7920}"/>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12376900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Placeholder Slide">
    <p:spTree>
      <p:nvGrpSpPr>
        <p:cNvPr id="1" name=""/>
        <p:cNvGrpSpPr/>
        <p:nvPr/>
      </p:nvGrpSpPr>
      <p:grpSpPr>
        <a:xfrm>
          <a:off x="0" y="0"/>
          <a:ext cx="0" cy="0"/>
          <a:chOff x="0" y="0"/>
          <a:chExt cx="0" cy="0"/>
        </a:xfrm>
      </p:grpSpPr>
      <p:sp>
        <p:nvSpPr>
          <p:cNvPr id="3" name="Title Placeholder 18"/>
          <p:cNvSpPr>
            <a:spLocks noGrp="1"/>
          </p:cNvSpPr>
          <p:nvPr>
            <p:ph type="title"/>
          </p:nvPr>
        </p:nvSpPr>
        <p:spPr>
          <a:xfrm>
            <a:off x="4554834" y="1905509"/>
            <a:ext cx="5648711" cy="1600439"/>
          </a:xfrm>
          <a:prstGeom prst="rect">
            <a:avLst/>
          </a:prstGeom>
        </p:spPr>
        <p:txBody>
          <a:bodyPr vert="horz" lIns="91440" tIns="45720" rIns="91440" bIns="45720" rtlCol="0" anchor="t">
            <a:normAutofit/>
          </a:bodyPr>
          <a:lstStyle>
            <a:lvl1pPr algn="l">
              <a:lnSpc>
                <a:spcPts val="4800"/>
              </a:lnSpc>
              <a:defRPr/>
            </a:lvl1pPr>
          </a:lstStyle>
          <a:p>
            <a:r>
              <a:rPr lang="en-US"/>
              <a:t>Click to edit Master title style</a:t>
            </a:r>
          </a:p>
        </p:txBody>
      </p:sp>
      <p:sp>
        <p:nvSpPr>
          <p:cNvPr id="6" name="Picture Placeholder 8"/>
          <p:cNvSpPr>
            <a:spLocks noGrp="1"/>
          </p:cNvSpPr>
          <p:nvPr>
            <p:ph type="pic" sz="quarter" idx="10"/>
          </p:nvPr>
        </p:nvSpPr>
        <p:spPr>
          <a:xfrm>
            <a:off x="1045555" y="1780069"/>
            <a:ext cx="3298724" cy="3297865"/>
          </a:xfrm>
          <a:prstGeom prst="ellipse">
            <a:avLst/>
          </a:prstGeom>
          <a:solidFill>
            <a:schemeClr val="bg1">
              <a:lumMod val="95000"/>
            </a:schemeClr>
          </a:solidFill>
        </p:spPr>
        <p:txBody>
          <a:bodyPr>
            <a:normAutofit/>
          </a:bodyPr>
          <a:lstStyle>
            <a:lvl1pPr>
              <a:defRPr sz="1400"/>
            </a:lvl1pPr>
          </a:lstStyle>
          <a:p>
            <a:r>
              <a:rPr lang="en-US"/>
              <a:t>Click icon to add picture</a:t>
            </a:r>
          </a:p>
        </p:txBody>
      </p:sp>
      <p:sp>
        <p:nvSpPr>
          <p:cNvPr id="7" name="Text Placeholder 6"/>
          <p:cNvSpPr>
            <a:spLocks noGrp="1"/>
          </p:cNvSpPr>
          <p:nvPr>
            <p:ph type="body" sz="quarter" idx="11" hasCustomPrompt="1"/>
          </p:nvPr>
        </p:nvSpPr>
        <p:spPr>
          <a:xfrm>
            <a:off x="4554157" y="3655061"/>
            <a:ext cx="5649384" cy="2076451"/>
          </a:xfrm>
          <a:prstGeom prst="rect">
            <a:avLst/>
          </a:prstGeom>
        </p:spPr>
        <p:txBody>
          <a:bodyPr/>
          <a:lstStyle>
            <a:lvl4pPr marL="924938" indent="-211656">
              <a:buFont typeface="LucidaGrande" charset="0"/>
              <a:buChar char="–"/>
              <a:defRPr/>
            </a:lvl4pPr>
            <a:lvl5pPr marL="1147177" indent="-215889">
              <a:buFont typeface="Courier New" charset="0"/>
              <a:buChar char="o"/>
              <a:tabLst/>
              <a:defRPr/>
            </a:lvl5pPr>
          </a:lstStyle>
          <a:p>
            <a:pPr lvl="0"/>
            <a:r>
              <a:rPr lang="en-US"/>
              <a:t>Click to edit paragraph text</a:t>
            </a:r>
          </a:p>
        </p:txBody>
      </p:sp>
      <p:sp>
        <p:nvSpPr>
          <p:cNvPr id="5"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40457951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Image right">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6076946" y="2783853"/>
            <a:ext cx="6115055" cy="2754972"/>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5" name="Title 1">
            <a:extLst>
              <a:ext uri="{FF2B5EF4-FFF2-40B4-BE49-F238E27FC236}">
                <a16:creationId xmlns:a16="http://schemas.microsoft.com/office/drawing/2014/main" id="{3CA0368B-8432-4242-A6CC-2E33A77916B0}"/>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36581139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0" y="2783853"/>
            <a:ext cx="6115055" cy="2754972"/>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5" name="Title 1">
            <a:extLst>
              <a:ext uri="{FF2B5EF4-FFF2-40B4-BE49-F238E27FC236}">
                <a16:creationId xmlns:a16="http://schemas.microsoft.com/office/drawing/2014/main" id="{68A2A32E-D1B9-334C-A209-7E3762E2011B}"/>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2152173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Image at left, thin">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3868240"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8437350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Image at right">
    <p:spTree>
      <p:nvGrpSpPr>
        <p:cNvPr id="1" name=""/>
        <p:cNvGrpSpPr/>
        <p:nvPr/>
      </p:nvGrpSpPr>
      <p:grpSpPr>
        <a:xfrm>
          <a:off x="0" y="0"/>
          <a:ext cx="0" cy="0"/>
          <a:chOff x="0" y="0"/>
          <a:chExt cx="0" cy="0"/>
        </a:xfrm>
      </p:grpSpPr>
      <p:sp>
        <p:nvSpPr>
          <p:cNvPr id="6" name="Picture Placeholder 2"/>
          <p:cNvSpPr>
            <a:spLocks noGrp="1"/>
          </p:cNvSpPr>
          <p:nvPr>
            <p:ph type="pic" sz="quarter" idx="28"/>
          </p:nvPr>
        </p:nvSpPr>
        <p:spPr>
          <a:xfrm>
            <a:off x="7336989" y="0"/>
            <a:ext cx="4855011"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2"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7"/>
            <a:ext cx="765552" cy="206703"/>
          </a:xfrm>
          <a:prstGeom prst="rect">
            <a:avLst/>
          </a:prstGeom>
        </p:spPr>
      </p:pic>
      <p:cxnSp>
        <p:nvCxnSpPr>
          <p:cNvPr id="14" name="Straight Connector 13"/>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4726802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Image at left">
    <p:spTree>
      <p:nvGrpSpPr>
        <p:cNvPr id="1" name=""/>
        <p:cNvGrpSpPr/>
        <p:nvPr/>
      </p:nvGrpSpPr>
      <p:grpSpPr>
        <a:xfrm>
          <a:off x="0" y="0"/>
          <a:ext cx="0" cy="0"/>
          <a:chOff x="0" y="0"/>
          <a:chExt cx="0" cy="0"/>
        </a:xfrm>
      </p:grpSpPr>
      <p:sp>
        <p:nvSpPr>
          <p:cNvPr id="6" name="Picture Placeholder 2"/>
          <p:cNvSpPr>
            <a:spLocks noGrp="1"/>
          </p:cNvSpPr>
          <p:nvPr>
            <p:ph type="pic" sz="quarter" idx="28"/>
          </p:nvPr>
        </p:nvSpPr>
        <p:spPr>
          <a:xfrm>
            <a:off x="0" y="0"/>
            <a:ext cx="4855011"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82125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thirds image right">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3960256" y="0"/>
            <a:ext cx="8231744"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2"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4" name="Straight Connector 13"/>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3706535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ull screen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r>
              <a:rPr lang="en-US"/>
              <a:t>Click icon to add picture</a:t>
            </a:r>
          </a:p>
        </p:txBody>
      </p:sp>
      <p:sp>
        <p:nvSpPr>
          <p:cNvPr id="12"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485217" y="6583362"/>
            <a:ext cx="1572866" cy="244682"/>
          </a:xfrm>
          <a:prstGeom prst="rect">
            <a:avLst/>
          </a:prstGeom>
        </p:spPr>
        <p:txBody>
          <a:bodyPr vert="horz" wrap="none">
            <a:spAutoFit/>
          </a:bodyPr>
          <a:lstStyle>
            <a:lvl1pPr marL="0" indent="0" algn="r">
              <a:buNone/>
              <a:defRPr sz="1100">
                <a:solidFill>
                  <a:schemeClr val="accent5"/>
                </a:solidFill>
              </a:defRPr>
            </a:lvl1pPr>
          </a:lstStyle>
          <a:p>
            <a:pPr lvl="0"/>
            <a:r>
              <a:rPr lang="en-US"/>
              <a:t>Restricted confidential</a:t>
            </a:r>
          </a:p>
        </p:txBody>
      </p:sp>
    </p:spTree>
    <p:extLst>
      <p:ext uri="{BB962C8B-B14F-4D97-AF65-F5344CB8AC3E}">
        <p14:creationId xmlns:p14="http://schemas.microsoft.com/office/powerpoint/2010/main" val="12268754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wo thirds image left">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0" y="0"/>
            <a:ext cx="8231744"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4134116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Image, panel at right">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7126221" y="0"/>
            <a:ext cx="2847187"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438998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Image, panel at left">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2218088" y="0"/>
            <a:ext cx="2847187"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2276474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wo images at top">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7"/>
          </p:nvPr>
        </p:nvSpPr>
        <p:spPr>
          <a:xfrm>
            <a:off x="6096000" y="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0631181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images at bottom">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342900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9"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0"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6" name="Straight Connector 15"/>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13" name="Title 1">
            <a:extLst>
              <a:ext uri="{FF2B5EF4-FFF2-40B4-BE49-F238E27FC236}">
                <a16:creationId xmlns:a16="http://schemas.microsoft.com/office/drawing/2014/main" id="{CA8AEF83-5472-2041-BBF2-8FA5A7746650}"/>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1799165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hree images set wide">
    <p:spTree>
      <p:nvGrpSpPr>
        <p:cNvPr id="1" name=""/>
        <p:cNvGrpSpPr/>
        <p:nvPr/>
      </p:nvGrpSpPr>
      <p:grpSpPr>
        <a:xfrm>
          <a:off x="0" y="0"/>
          <a:ext cx="0" cy="0"/>
          <a:chOff x="0" y="0"/>
          <a:chExt cx="0" cy="0"/>
        </a:xfrm>
      </p:grpSpPr>
      <p:sp>
        <p:nvSpPr>
          <p:cNvPr id="10" name="Picture Placeholder 2"/>
          <p:cNvSpPr>
            <a:spLocks noGrp="1"/>
          </p:cNvSpPr>
          <p:nvPr>
            <p:ph type="pic" sz="quarter" idx="15"/>
          </p:nvPr>
        </p:nvSpPr>
        <p:spPr>
          <a:xfrm>
            <a:off x="1568481" y="2909407"/>
            <a:ext cx="1658787" cy="2170700"/>
          </a:xfrm>
          <a:prstGeom prst="rect">
            <a:avLst/>
          </a:prstGeom>
          <a:solidFill>
            <a:schemeClr val="bg1">
              <a:lumMod val="95000"/>
            </a:schemeClr>
          </a:solidFill>
        </p:spPr>
        <p:txBody>
          <a:bodyPr>
            <a:normAutofit/>
          </a:bodyPr>
          <a:lstStyle>
            <a:lvl1pPr>
              <a:defRPr sz="900"/>
            </a:lvl1pPr>
          </a:lstStyle>
          <a:p>
            <a:r>
              <a:rPr lang="en-US"/>
              <a:t>Click icon to add picture</a:t>
            </a:r>
          </a:p>
        </p:txBody>
      </p:sp>
      <p:sp>
        <p:nvSpPr>
          <p:cNvPr id="11" name="Picture Placeholder 2"/>
          <p:cNvSpPr>
            <a:spLocks noGrp="1"/>
          </p:cNvSpPr>
          <p:nvPr>
            <p:ph type="pic" sz="quarter" idx="16"/>
          </p:nvPr>
        </p:nvSpPr>
        <p:spPr>
          <a:xfrm>
            <a:off x="5222027" y="2867990"/>
            <a:ext cx="1658787" cy="2170700"/>
          </a:xfrm>
          <a:prstGeom prst="rect">
            <a:avLst/>
          </a:prstGeom>
          <a:solidFill>
            <a:schemeClr val="bg1">
              <a:lumMod val="95000"/>
            </a:schemeClr>
          </a:solidFill>
        </p:spPr>
        <p:txBody>
          <a:bodyPr>
            <a:normAutofit/>
          </a:bodyPr>
          <a:lstStyle>
            <a:lvl1pPr>
              <a:defRPr sz="900"/>
            </a:lvl1pPr>
          </a:lstStyle>
          <a:p>
            <a:r>
              <a:rPr lang="en-US"/>
              <a:t>Click icon to add picture</a:t>
            </a:r>
          </a:p>
        </p:txBody>
      </p:sp>
      <p:sp>
        <p:nvSpPr>
          <p:cNvPr id="12" name="Picture Placeholder 2"/>
          <p:cNvSpPr>
            <a:spLocks noGrp="1"/>
          </p:cNvSpPr>
          <p:nvPr>
            <p:ph type="pic" sz="quarter" idx="17"/>
          </p:nvPr>
        </p:nvSpPr>
        <p:spPr>
          <a:xfrm>
            <a:off x="8875573" y="2854185"/>
            <a:ext cx="1658787" cy="2170700"/>
          </a:xfrm>
          <a:prstGeom prst="rect">
            <a:avLst/>
          </a:prstGeom>
          <a:solidFill>
            <a:schemeClr val="bg1">
              <a:lumMod val="95000"/>
            </a:schemeClr>
          </a:solidFill>
        </p:spPr>
        <p:txBody>
          <a:bodyPr>
            <a:normAutofit/>
          </a:bodyPr>
          <a:lstStyle>
            <a:lvl1pPr>
              <a:defRPr sz="900"/>
            </a:lvl1pPr>
          </a:lstStyle>
          <a:p>
            <a:r>
              <a:rPr lang="en-US"/>
              <a:t>Click icon to add picture</a:t>
            </a:r>
          </a:p>
        </p:txBody>
      </p:sp>
      <p:sp>
        <p:nvSpPr>
          <p:cNvPr id="6"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7" name="Title 1">
            <a:extLst>
              <a:ext uri="{FF2B5EF4-FFF2-40B4-BE49-F238E27FC236}">
                <a16:creationId xmlns:a16="http://schemas.microsoft.com/office/drawing/2014/main" id="{6C25B62E-C52C-3340-A24C-C99FB4E8FF32}"/>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30461205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hree rectangular images">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1247873" y="2659224"/>
            <a:ext cx="3005240" cy="193143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Picture Placeholder 2"/>
          <p:cNvSpPr>
            <a:spLocks noGrp="1"/>
          </p:cNvSpPr>
          <p:nvPr>
            <p:ph type="pic" sz="quarter" idx="27"/>
          </p:nvPr>
        </p:nvSpPr>
        <p:spPr>
          <a:xfrm>
            <a:off x="4574324" y="2659224"/>
            <a:ext cx="3005240" cy="193143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1" name="Picture Placeholder 2"/>
          <p:cNvSpPr>
            <a:spLocks noGrp="1"/>
          </p:cNvSpPr>
          <p:nvPr>
            <p:ph type="pic" sz="quarter" idx="28"/>
          </p:nvPr>
        </p:nvSpPr>
        <p:spPr>
          <a:xfrm>
            <a:off x="7900777" y="2659224"/>
            <a:ext cx="3005240" cy="193143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6"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7" name="Title 1">
            <a:extLst>
              <a:ext uri="{FF2B5EF4-FFF2-40B4-BE49-F238E27FC236}">
                <a16:creationId xmlns:a16="http://schemas.microsoft.com/office/drawing/2014/main" id="{A260B42F-46E4-5D4A-A0D2-ED23F1570404}"/>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13877821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square images">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1247873" y="2104140"/>
            <a:ext cx="3005240" cy="300678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1" name="Picture Placeholder 8"/>
          <p:cNvSpPr>
            <a:spLocks noGrp="1"/>
          </p:cNvSpPr>
          <p:nvPr>
            <p:ph type="pic" sz="quarter" idx="11"/>
          </p:nvPr>
        </p:nvSpPr>
        <p:spPr>
          <a:xfrm>
            <a:off x="4574325" y="2104140"/>
            <a:ext cx="3005240" cy="300678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2" name="Picture Placeholder 8"/>
          <p:cNvSpPr>
            <a:spLocks noGrp="1"/>
          </p:cNvSpPr>
          <p:nvPr>
            <p:ph type="pic" sz="quarter" idx="12"/>
          </p:nvPr>
        </p:nvSpPr>
        <p:spPr>
          <a:xfrm>
            <a:off x="7900777" y="2104140"/>
            <a:ext cx="3005240" cy="300678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6"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7" name="Title 1">
            <a:extLst>
              <a:ext uri="{FF2B5EF4-FFF2-40B4-BE49-F238E27FC236}">
                <a16:creationId xmlns:a16="http://schemas.microsoft.com/office/drawing/2014/main" id="{2EEA8B6B-9232-9C47-A79D-A002401FAB80}"/>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34870804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hree images on right">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063127" y="1709531"/>
            <a:ext cx="4127948" cy="450975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8" name="Picture Placeholder 2"/>
          <p:cNvSpPr>
            <a:spLocks noGrp="1"/>
          </p:cNvSpPr>
          <p:nvPr>
            <p:ph type="pic" sz="quarter" idx="15"/>
          </p:nvPr>
        </p:nvSpPr>
        <p:spPr>
          <a:xfrm>
            <a:off x="4469035" y="1709531"/>
            <a:ext cx="3311096" cy="2176671"/>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9" name="Picture Placeholder 2"/>
          <p:cNvSpPr>
            <a:spLocks noGrp="1"/>
          </p:cNvSpPr>
          <p:nvPr>
            <p:ph type="pic" sz="quarter" idx="16"/>
          </p:nvPr>
        </p:nvSpPr>
        <p:spPr>
          <a:xfrm>
            <a:off x="4469035" y="4180824"/>
            <a:ext cx="3311096" cy="2677176"/>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6"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7" name="Title 1">
            <a:extLst>
              <a:ext uri="{FF2B5EF4-FFF2-40B4-BE49-F238E27FC236}">
                <a16:creationId xmlns:a16="http://schemas.microsoft.com/office/drawing/2014/main" id="{6387C92D-1AA4-1948-834A-3A10A5FE22F9}"/>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15495040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hree images on left">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84468" y="1709531"/>
            <a:ext cx="3311096" cy="514846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4" name="Picture Placeholder 2"/>
          <p:cNvSpPr>
            <a:spLocks noGrp="1"/>
          </p:cNvSpPr>
          <p:nvPr>
            <p:ph type="pic" sz="quarter" idx="15"/>
          </p:nvPr>
        </p:nvSpPr>
        <p:spPr>
          <a:xfrm>
            <a:off x="4478561" y="1709531"/>
            <a:ext cx="3311096" cy="2176671"/>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5" name="Picture Placeholder 2"/>
          <p:cNvSpPr>
            <a:spLocks noGrp="1"/>
          </p:cNvSpPr>
          <p:nvPr>
            <p:ph type="pic" sz="quarter" idx="16"/>
          </p:nvPr>
        </p:nvSpPr>
        <p:spPr>
          <a:xfrm>
            <a:off x="4478561" y="4180824"/>
            <a:ext cx="3311096" cy="2677176"/>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6"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7" name="Title 1">
            <a:extLst>
              <a:ext uri="{FF2B5EF4-FFF2-40B4-BE49-F238E27FC236}">
                <a16:creationId xmlns:a16="http://schemas.microsoft.com/office/drawing/2014/main" id="{C2D079FA-FEEE-5348-A1B3-7D919B6F11C0}"/>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6927319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userDrawn="1">
  <p:cSld name="1_Blank">
    <p:spTree>
      <p:nvGrpSpPr>
        <p:cNvPr id="1" name="Shape 29"/>
        <p:cNvGrpSpPr/>
        <p:nvPr/>
      </p:nvGrpSpPr>
      <p:grpSpPr>
        <a:xfrm>
          <a:off x="0" y="0"/>
          <a:ext cx="0" cy="0"/>
          <a:chOff x="0" y="0"/>
          <a:chExt cx="0" cy="0"/>
        </a:xfrm>
      </p:grpSpPr>
      <p:sp>
        <p:nvSpPr>
          <p:cNvPr id="30" name="Google Shape;30;p4"/>
          <p:cNvSpPr txBox="1">
            <a:spLocks noGrp="1"/>
          </p:cNvSpPr>
          <p:nvPr>
            <p:ph type="title"/>
          </p:nvPr>
        </p:nvSpPr>
        <p:spPr>
          <a:xfrm>
            <a:off x="609600" y="365125"/>
            <a:ext cx="10744200" cy="1325563"/>
          </a:xfrm>
          <a:prstGeom prst="rect">
            <a:avLst/>
          </a:prstGeom>
          <a:noFill/>
          <a:ln>
            <a:noFill/>
          </a:ln>
        </p:spPr>
        <p:txBody>
          <a:bodyPr spcFirstLastPara="1" wrap="square" lIns="91425" tIns="45700" rIns="91425" bIns="45700" anchor="t" anchorCtr="0">
            <a:noAutofit/>
          </a:bodyPr>
          <a:lstStyle>
            <a:lvl1pPr lvl="0" algn="l">
              <a:lnSpc>
                <a:spcPct val="109090"/>
              </a:lnSpc>
              <a:spcBef>
                <a:spcPts val="0"/>
              </a:spcBef>
              <a:spcAft>
                <a:spcPts val="0"/>
              </a:spcAft>
              <a:buClr>
                <a:schemeClr val="dk1"/>
              </a:buClr>
              <a:buSzPts val="4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6260712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hree images, two screened">
    <p:spTree>
      <p:nvGrpSpPr>
        <p:cNvPr id="1" name=""/>
        <p:cNvGrpSpPr/>
        <p:nvPr/>
      </p:nvGrpSpPr>
      <p:grpSpPr>
        <a:xfrm>
          <a:off x="0" y="0"/>
          <a:ext cx="0" cy="0"/>
          <a:chOff x="0" y="0"/>
          <a:chExt cx="0" cy="0"/>
        </a:xfrm>
      </p:grpSpPr>
      <p:sp>
        <p:nvSpPr>
          <p:cNvPr id="12" name="Picture Placeholder 2"/>
          <p:cNvSpPr>
            <a:spLocks noGrp="1"/>
          </p:cNvSpPr>
          <p:nvPr>
            <p:ph type="pic" sz="quarter" idx="14"/>
          </p:nvPr>
        </p:nvSpPr>
        <p:spPr>
          <a:xfrm>
            <a:off x="-1" y="1691218"/>
            <a:ext cx="9410220" cy="330590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7" name="Picture Placeholder 2"/>
          <p:cNvSpPr>
            <a:spLocks noGrp="1"/>
          </p:cNvSpPr>
          <p:nvPr>
            <p:ph type="pic" sz="quarter" idx="16"/>
          </p:nvPr>
        </p:nvSpPr>
        <p:spPr>
          <a:xfrm>
            <a:off x="9410221" y="1"/>
            <a:ext cx="2781780" cy="330590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8" name="Picture Placeholder 2"/>
          <p:cNvSpPr>
            <a:spLocks noGrp="1"/>
          </p:cNvSpPr>
          <p:nvPr>
            <p:ph type="pic" sz="quarter" idx="17"/>
          </p:nvPr>
        </p:nvSpPr>
        <p:spPr>
          <a:xfrm>
            <a:off x="9410221" y="3305909"/>
            <a:ext cx="2781780" cy="3552092"/>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Rectangle 5"/>
          <p:cNvSpPr/>
          <p:nvPr userDrawn="1"/>
        </p:nvSpPr>
        <p:spPr>
          <a:xfrm rot="10800000">
            <a:off x="10150548" y="6471458"/>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1" name="Slide Number Placeholder 4"/>
          <p:cNvSpPr txBox="1">
            <a:spLocks/>
          </p:cNvSpPr>
          <p:nvPr userDrawn="1"/>
        </p:nvSpPr>
        <p:spPr>
          <a:xfrm>
            <a:off x="11574065" y="6494607"/>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1561"/>
            <a:ext cx="765552" cy="206703"/>
          </a:xfrm>
          <a:prstGeom prst="rect">
            <a:avLst/>
          </a:prstGeom>
        </p:spPr>
      </p:pic>
      <p:cxnSp>
        <p:nvCxnSpPr>
          <p:cNvPr id="14" name="Straight Connector 13"/>
          <p:cNvCxnSpPr/>
          <p:nvPr userDrawn="1"/>
        </p:nvCxnSpPr>
        <p:spPr>
          <a:xfrm>
            <a:off x="11518607" y="6587054"/>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8"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15" name="Title 1">
            <a:extLst>
              <a:ext uri="{FF2B5EF4-FFF2-40B4-BE49-F238E27FC236}">
                <a16:creationId xmlns:a16="http://schemas.microsoft.com/office/drawing/2014/main" id="{9C9E0FE0-CC1A-3F48-8C6B-A4F12AFBD64C}"/>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14604977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Four image grid, left">
    <p:spTree>
      <p:nvGrpSpPr>
        <p:cNvPr id="1" name=""/>
        <p:cNvGrpSpPr/>
        <p:nvPr/>
      </p:nvGrpSpPr>
      <p:grpSpPr>
        <a:xfrm>
          <a:off x="0" y="0"/>
          <a:ext cx="0" cy="0"/>
          <a:chOff x="0" y="0"/>
          <a:chExt cx="0" cy="0"/>
        </a:xfrm>
      </p:grpSpPr>
      <p:sp>
        <p:nvSpPr>
          <p:cNvPr id="10" name="Picture Placeholder 2"/>
          <p:cNvSpPr>
            <a:spLocks noGrp="1"/>
          </p:cNvSpPr>
          <p:nvPr>
            <p:ph type="pic" sz="quarter" idx="11"/>
          </p:nvPr>
        </p:nvSpPr>
        <p:spPr>
          <a:xfrm>
            <a:off x="722500" y="1691218"/>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15" name="Picture Placeholder 2"/>
          <p:cNvSpPr>
            <a:spLocks noGrp="1"/>
          </p:cNvSpPr>
          <p:nvPr>
            <p:ph type="pic" sz="quarter" idx="12"/>
          </p:nvPr>
        </p:nvSpPr>
        <p:spPr>
          <a:xfrm>
            <a:off x="3604586" y="1691218"/>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16" name="Picture Placeholder 2"/>
          <p:cNvSpPr>
            <a:spLocks noGrp="1"/>
          </p:cNvSpPr>
          <p:nvPr>
            <p:ph type="pic" sz="quarter" idx="13"/>
          </p:nvPr>
        </p:nvSpPr>
        <p:spPr>
          <a:xfrm>
            <a:off x="722500" y="4026379"/>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17" name="Picture Placeholder 2"/>
          <p:cNvSpPr>
            <a:spLocks noGrp="1"/>
          </p:cNvSpPr>
          <p:nvPr>
            <p:ph type="pic" sz="quarter" idx="14"/>
          </p:nvPr>
        </p:nvSpPr>
        <p:spPr>
          <a:xfrm>
            <a:off x="3604586" y="4026378"/>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7" name="Text Placeholder 8"/>
          <p:cNvSpPr>
            <a:spLocks noGrp="1"/>
          </p:cNvSpPr>
          <p:nvPr>
            <p:ph type="body" sz="quarter" idx="15"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8" name="Title 1">
            <a:extLst>
              <a:ext uri="{FF2B5EF4-FFF2-40B4-BE49-F238E27FC236}">
                <a16:creationId xmlns:a16="http://schemas.microsoft.com/office/drawing/2014/main" id="{D80A6352-9EE8-9243-8016-DD58FF8211C7}"/>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9509023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 image grid, right">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5832601" y="1691218"/>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4" name="Picture Placeholder 2"/>
          <p:cNvSpPr>
            <a:spLocks noGrp="1"/>
          </p:cNvSpPr>
          <p:nvPr>
            <p:ph type="pic" sz="quarter" idx="12"/>
          </p:nvPr>
        </p:nvSpPr>
        <p:spPr>
          <a:xfrm>
            <a:off x="8714687" y="1691218"/>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5" name="Picture Placeholder 2"/>
          <p:cNvSpPr>
            <a:spLocks noGrp="1"/>
          </p:cNvSpPr>
          <p:nvPr>
            <p:ph type="pic" sz="quarter" idx="13"/>
          </p:nvPr>
        </p:nvSpPr>
        <p:spPr>
          <a:xfrm>
            <a:off x="5832601" y="4026379"/>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6" name="Picture Placeholder 2"/>
          <p:cNvSpPr>
            <a:spLocks noGrp="1"/>
          </p:cNvSpPr>
          <p:nvPr>
            <p:ph type="pic" sz="quarter" idx="14"/>
          </p:nvPr>
        </p:nvSpPr>
        <p:spPr>
          <a:xfrm>
            <a:off x="8714687" y="4026378"/>
            <a:ext cx="2639113" cy="2093389"/>
          </a:xfrm>
          <a:prstGeom prst="rect">
            <a:avLst/>
          </a:prstGeom>
          <a:solidFill>
            <a:schemeClr val="bg1">
              <a:lumMod val="95000"/>
            </a:schemeClr>
          </a:solidFill>
        </p:spPr>
        <p:txBody>
          <a:bodyPr>
            <a:normAutofit/>
          </a:bodyPr>
          <a:lstStyle>
            <a:lvl1pPr>
              <a:defRPr sz="800"/>
            </a:lvl1pPr>
          </a:lstStyle>
          <a:p>
            <a:r>
              <a:rPr lang="en-US"/>
              <a:t>Click icon to add picture</a:t>
            </a:r>
          </a:p>
        </p:txBody>
      </p:sp>
      <p:sp>
        <p:nvSpPr>
          <p:cNvPr id="7" name="Text Placeholder 8"/>
          <p:cNvSpPr>
            <a:spLocks noGrp="1"/>
          </p:cNvSpPr>
          <p:nvPr>
            <p:ph type="body" sz="quarter" idx="15"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8" name="Title 1">
            <a:extLst>
              <a:ext uri="{FF2B5EF4-FFF2-40B4-BE49-F238E27FC236}">
                <a16:creationId xmlns:a16="http://schemas.microsoft.com/office/drawing/2014/main" id="{1CF474E3-14C2-2C4E-860A-ED9835D2B06B}"/>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3676359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Four images at top">
    <p:spTree>
      <p:nvGrpSpPr>
        <p:cNvPr id="1" name=""/>
        <p:cNvGrpSpPr/>
        <p:nvPr/>
      </p:nvGrpSpPr>
      <p:grpSpPr>
        <a:xfrm>
          <a:off x="0" y="0"/>
          <a:ext cx="0" cy="0"/>
          <a:chOff x="0" y="0"/>
          <a:chExt cx="0" cy="0"/>
        </a:xfrm>
      </p:grpSpPr>
      <p:sp>
        <p:nvSpPr>
          <p:cNvPr id="14" name="Picture Placeholder 2"/>
          <p:cNvSpPr>
            <a:spLocks noGrp="1"/>
          </p:cNvSpPr>
          <p:nvPr>
            <p:ph type="pic" sz="quarter" idx="16"/>
          </p:nvPr>
        </p:nvSpPr>
        <p:spPr>
          <a:xfrm>
            <a:off x="0" y="0"/>
            <a:ext cx="3046420" cy="28956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5" name="Picture Placeholder 2"/>
          <p:cNvSpPr>
            <a:spLocks noGrp="1"/>
          </p:cNvSpPr>
          <p:nvPr>
            <p:ph type="pic" sz="quarter" idx="17"/>
          </p:nvPr>
        </p:nvSpPr>
        <p:spPr>
          <a:xfrm>
            <a:off x="3046421" y="0"/>
            <a:ext cx="3046420" cy="28956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18"/>
          </p:nvPr>
        </p:nvSpPr>
        <p:spPr>
          <a:xfrm>
            <a:off x="6096001" y="0"/>
            <a:ext cx="3046420" cy="28956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0" name="Picture Placeholder 2"/>
          <p:cNvSpPr>
            <a:spLocks noGrp="1"/>
          </p:cNvSpPr>
          <p:nvPr>
            <p:ph type="pic" sz="quarter" idx="19"/>
          </p:nvPr>
        </p:nvSpPr>
        <p:spPr>
          <a:xfrm>
            <a:off x="9142421" y="0"/>
            <a:ext cx="3046420" cy="28956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9" name="Title 1">
            <a:extLst>
              <a:ext uri="{FF2B5EF4-FFF2-40B4-BE49-F238E27FC236}">
                <a16:creationId xmlns:a16="http://schemas.microsoft.com/office/drawing/2014/main" id="{7AF362DF-9D48-8740-8E8E-CED9F472F27A}"/>
              </a:ext>
            </a:extLst>
          </p:cNvPr>
          <p:cNvSpPr>
            <a:spLocks noGrp="1"/>
          </p:cNvSpPr>
          <p:nvPr>
            <p:ph type="title"/>
          </p:nvPr>
        </p:nvSpPr>
        <p:spPr>
          <a:xfrm>
            <a:off x="609600" y="3139322"/>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36955893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Four images right, full height">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5959974" y="1"/>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2" name="Picture Placeholder 2"/>
          <p:cNvSpPr>
            <a:spLocks noGrp="1"/>
          </p:cNvSpPr>
          <p:nvPr>
            <p:ph type="pic" sz="quarter" idx="19"/>
          </p:nvPr>
        </p:nvSpPr>
        <p:spPr>
          <a:xfrm>
            <a:off x="9161475" y="1"/>
            <a:ext cx="3030525"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3" name="Picture Placeholder 2"/>
          <p:cNvSpPr>
            <a:spLocks noGrp="1"/>
          </p:cNvSpPr>
          <p:nvPr>
            <p:ph type="pic" sz="quarter" idx="20"/>
          </p:nvPr>
        </p:nvSpPr>
        <p:spPr>
          <a:xfrm>
            <a:off x="5959974" y="3497193"/>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4" name="Picture Placeholder 2"/>
          <p:cNvSpPr>
            <a:spLocks noGrp="1"/>
          </p:cNvSpPr>
          <p:nvPr>
            <p:ph type="pic" sz="quarter" idx="21"/>
          </p:nvPr>
        </p:nvSpPr>
        <p:spPr>
          <a:xfrm>
            <a:off x="9161476" y="3497193"/>
            <a:ext cx="3030525"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5"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7" name="Straight Connector 16"/>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8"/>
          <p:cNvSpPr>
            <a:spLocks noGrp="1"/>
          </p:cNvSpPr>
          <p:nvPr>
            <p:ph type="body" sz="quarter" idx="2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5818709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Four images left, full height">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1" y="1"/>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2" name="Picture Placeholder 2"/>
          <p:cNvSpPr>
            <a:spLocks noGrp="1"/>
          </p:cNvSpPr>
          <p:nvPr>
            <p:ph type="pic" sz="quarter" idx="19"/>
          </p:nvPr>
        </p:nvSpPr>
        <p:spPr>
          <a:xfrm>
            <a:off x="3185607" y="1"/>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3" name="Picture Placeholder 2"/>
          <p:cNvSpPr>
            <a:spLocks noGrp="1"/>
          </p:cNvSpPr>
          <p:nvPr>
            <p:ph type="pic" sz="quarter" idx="20"/>
          </p:nvPr>
        </p:nvSpPr>
        <p:spPr>
          <a:xfrm>
            <a:off x="1" y="3497193"/>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4" name="Picture Placeholder 2"/>
          <p:cNvSpPr>
            <a:spLocks noGrp="1"/>
          </p:cNvSpPr>
          <p:nvPr>
            <p:ph type="pic" sz="quarter" idx="21"/>
          </p:nvPr>
        </p:nvSpPr>
        <p:spPr>
          <a:xfrm>
            <a:off x="3185607" y="3497193"/>
            <a:ext cx="3030525"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6"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4143547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9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1247873" y="763279"/>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Picture Placeholder 2"/>
          <p:cNvSpPr>
            <a:spLocks noGrp="1"/>
          </p:cNvSpPr>
          <p:nvPr>
            <p:ph type="pic" sz="quarter" idx="27"/>
          </p:nvPr>
        </p:nvSpPr>
        <p:spPr>
          <a:xfrm>
            <a:off x="4574324" y="763279"/>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1" name="Picture Placeholder 2"/>
          <p:cNvSpPr>
            <a:spLocks noGrp="1"/>
          </p:cNvSpPr>
          <p:nvPr>
            <p:ph type="pic" sz="quarter" idx="28"/>
          </p:nvPr>
        </p:nvSpPr>
        <p:spPr>
          <a:xfrm>
            <a:off x="7900777" y="763279"/>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0" name="Picture Placeholder 2"/>
          <p:cNvSpPr>
            <a:spLocks noGrp="1"/>
          </p:cNvSpPr>
          <p:nvPr>
            <p:ph type="pic" sz="quarter" idx="29"/>
          </p:nvPr>
        </p:nvSpPr>
        <p:spPr>
          <a:xfrm>
            <a:off x="1247873" y="3690384"/>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1" name="Picture Placeholder 2"/>
          <p:cNvSpPr>
            <a:spLocks noGrp="1"/>
          </p:cNvSpPr>
          <p:nvPr>
            <p:ph type="pic" sz="quarter" idx="30"/>
          </p:nvPr>
        </p:nvSpPr>
        <p:spPr>
          <a:xfrm>
            <a:off x="4574324" y="3690384"/>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2" name="Picture Placeholder 2"/>
          <p:cNvSpPr>
            <a:spLocks noGrp="1"/>
          </p:cNvSpPr>
          <p:nvPr>
            <p:ph type="pic" sz="quarter" idx="31"/>
          </p:nvPr>
        </p:nvSpPr>
        <p:spPr>
          <a:xfrm>
            <a:off x="7900777" y="3690384"/>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4092875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ix images on right">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4652725" y="1"/>
            <a:ext cx="2461332" cy="33909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8" name="Picture Placeholder 2"/>
          <p:cNvSpPr>
            <a:spLocks noGrp="1"/>
          </p:cNvSpPr>
          <p:nvPr>
            <p:ph type="pic" sz="quarter" idx="22"/>
          </p:nvPr>
        </p:nvSpPr>
        <p:spPr>
          <a:xfrm>
            <a:off x="4652975" y="3490216"/>
            <a:ext cx="2461332" cy="3367785"/>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3"/>
          </p:nvPr>
        </p:nvSpPr>
        <p:spPr>
          <a:xfrm>
            <a:off x="7223334" y="1"/>
            <a:ext cx="2420135" cy="249475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0" name="Picture Placeholder 2"/>
          <p:cNvSpPr>
            <a:spLocks noGrp="1"/>
          </p:cNvSpPr>
          <p:nvPr>
            <p:ph type="pic" sz="quarter" idx="24"/>
          </p:nvPr>
        </p:nvSpPr>
        <p:spPr>
          <a:xfrm>
            <a:off x="7223334" y="2594074"/>
            <a:ext cx="2420135" cy="426392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5" name="Picture Placeholder 2"/>
          <p:cNvSpPr>
            <a:spLocks noGrp="1"/>
          </p:cNvSpPr>
          <p:nvPr>
            <p:ph type="pic" sz="quarter" idx="25"/>
          </p:nvPr>
        </p:nvSpPr>
        <p:spPr>
          <a:xfrm>
            <a:off x="9762432" y="0"/>
            <a:ext cx="2429569" cy="469126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6" name="Picture Placeholder 2"/>
          <p:cNvSpPr>
            <a:spLocks noGrp="1"/>
          </p:cNvSpPr>
          <p:nvPr>
            <p:ph type="pic" sz="quarter" idx="26"/>
          </p:nvPr>
        </p:nvSpPr>
        <p:spPr>
          <a:xfrm>
            <a:off x="9752496" y="4790584"/>
            <a:ext cx="2439505" cy="2067416"/>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3"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4"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6" name="Straight Connector 15"/>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5706951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ix images on left">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1" y="1"/>
            <a:ext cx="2461332" cy="33909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8" name="Picture Placeholder 2"/>
          <p:cNvSpPr>
            <a:spLocks noGrp="1"/>
          </p:cNvSpPr>
          <p:nvPr>
            <p:ph type="pic" sz="quarter" idx="22"/>
          </p:nvPr>
        </p:nvSpPr>
        <p:spPr>
          <a:xfrm>
            <a:off x="251" y="3490216"/>
            <a:ext cx="2461332" cy="3367785"/>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3"/>
          </p:nvPr>
        </p:nvSpPr>
        <p:spPr>
          <a:xfrm>
            <a:off x="2570610" y="1"/>
            <a:ext cx="2420135" cy="249475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0" name="Picture Placeholder 2"/>
          <p:cNvSpPr>
            <a:spLocks noGrp="1"/>
          </p:cNvSpPr>
          <p:nvPr>
            <p:ph type="pic" sz="quarter" idx="24"/>
          </p:nvPr>
        </p:nvSpPr>
        <p:spPr>
          <a:xfrm>
            <a:off x="2570610" y="2594074"/>
            <a:ext cx="2420135" cy="426392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5" name="Picture Placeholder 2"/>
          <p:cNvSpPr>
            <a:spLocks noGrp="1"/>
          </p:cNvSpPr>
          <p:nvPr>
            <p:ph type="pic" sz="quarter" idx="25"/>
          </p:nvPr>
        </p:nvSpPr>
        <p:spPr>
          <a:xfrm>
            <a:off x="5109708" y="0"/>
            <a:ext cx="2429569" cy="469126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6" name="Picture Placeholder 2"/>
          <p:cNvSpPr>
            <a:spLocks noGrp="1"/>
          </p:cNvSpPr>
          <p:nvPr>
            <p:ph type="pic" sz="quarter" idx="26"/>
          </p:nvPr>
        </p:nvSpPr>
        <p:spPr>
          <a:xfrm>
            <a:off x="5099772" y="4790584"/>
            <a:ext cx="2439505" cy="2067416"/>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6665535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ix image grid">
    <p:spTree>
      <p:nvGrpSpPr>
        <p:cNvPr id="1" name=""/>
        <p:cNvGrpSpPr/>
        <p:nvPr/>
      </p:nvGrpSpPr>
      <p:grpSpPr>
        <a:xfrm>
          <a:off x="0" y="0"/>
          <a:ext cx="0" cy="0"/>
          <a:chOff x="0" y="0"/>
          <a:chExt cx="0" cy="0"/>
        </a:xfrm>
      </p:grpSpPr>
      <p:sp>
        <p:nvSpPr>
          <p:cNvPr id="15" name="Picture Placeholder 17"/>
          <p:cNvSpPr>
            <a:spLocks noGrp="1"/>
          </p:cNvSpPr>
          <p:nvPr>
            <p:ph type="pic" sz="quarter" idx="14"/>
          </p:nvPr>
        </p:nvSpPr>
        <p:spPr>
          <a:xfrm>
            <a:off x="1238896" y="2699255"/>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16" name="Picture Placeholder 17"/>
          <p:cNvSpPr>
            <a:spLocks noGrp="1"/>
          </p:cNvSpPr>
          <p:nvPr>
            <p:ph type="pic" sz="quarter" idx="15"/>
          </p:nvPr>
        </p:nvSpPr>
        <p:spPr>
          <a:xfrm>
            <a:off x="4748763" y="2699255"/>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17" name="Picture Placeholder 17"/>
          <p:cNvSpPr>
            <a:spLocks noGrp="1"/>
          </p:cNvSpPr>
          <p:nvPr>
            <p:ph type="pic" sz="quarter" idx="16"/>
          </p:nvPr>
        </p:nvSpPr>
        <p:spPr>
          <a:xfrm>
            <a:off x="1238896" y="4373596"/>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18" name="Picture Placeholder 17"/>
          <p:cNvSpPr>
            <a:spLocks noGrp="1"/>
          </p:cNvSpPr>
          <p:nvPr>
            <p:ph type="pic" sz="quarter" idx="17"/>
          </p:nvPr>
        </p:nvSpPr>
        <p:spPr>
          <a:xfrm>
            <a:off x="4748763" y="4373596"/>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19" name="Picture Placeholder 17"/>
          <p:cNvSpPr>
            <a:spLocks noGrp="1"/>
          </p:cNvSpPr>
          <p:nvPr>
            <p:ph type="pic" sz="quarter" idx="18"/>
          </p:nvPr>
        </p:nvSpPr>
        <p:spPr>
          <a:xfrm>
            <a:off x="8234276" y="2699255"/>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20" name="Picture Placeholder 17"/>
          <p:cNvSpPr>
            <a:spLocks noGrp="1"/>
          </p:cNvSpPr>
          <p:nvPr>
            <p:ph type="pic" sz="quarter" idx="19"/>
          </p:nvPr>
        </p:nvSpPr>
        <p:spPr>
          <a:xfrm>
            <a:off x="8234276" y="4373596"/>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9"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10" name="Title 1">
            <a:extLst>
              <a:ext uri="{FF2B5EF4-FFF2-40B4-BE49-F238E27FC236}">
                <a16:creationId xmlns:a16="http://schemas.microsoft.com/office/drawing/2014/main" id="{FD2450DA-79A8-014B-A05F-BED0ACBB13CB}"/>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31474830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B5512-6285-43AE-A811-3DBC3899A8B4}"/>
              </a:ext>
            </a:extLst>
          </p:cNvPr>
          <p:cNvSpPr>
            <a:spLocks noGrp="1"/>
          </p:cNvSpPr>
          <p:nvPr>
            <p:ph type="title" hasCustomPrompt="1"/>
          </p:nvPr>
        </p:nvSpPr>
        <p:spPr>
          <a:xfrm>
            <a:off x="597569" y="1640473"/>
            <a:ext cx="6344653" cy="705686"/>
          </a:xfrm>
        </p:spPr>
        <p:txBody>
          <a:bodyPr/>
          <a:lstStyle>
            <a:lvl1pPr>
              <a:defRPr/>
            </a:lvl1pPr>
          </a:lstStyle>
          <a:p>
            <a:r>
              <a:rPr lang="en-US"/>
              <a:t>Insert title here</a:t>
            </a:r>
          </a:p>
        </p:txBody>
      </p:sp>
      <p:sp>
        <p:nvSpPr>
          <p:cNvPr id="4" name="Picture Placeholder 3">
            <a:extLst>
              <a:ext uri="{FF2B5EF4-FFF2-40B4-BE49-F238E27FC236}">
                <a16:creationId xmlns:a16="http://schemas.microsoft.com/office/drawing/2014/main" id="{80E8807B-2505-4E34-8F5E-D4816021C0FE}"/>
              </a:ext>
            </a:extLst>
          </p:cNvPr>
          <p:cNvSpPr>
            <a:spLocks noGrp="1"/>
          </p:cNvSpPr>
          <p:nvPr>
            <p:ph type="pic" sz="quarter" idx="10"/>
          </p:nvPr>
        </p:nvSpPr>
        <p:spPr>
          <a:xfrm>
            <a:off x="7543800" y="0"/>
            <a:ext cx="4648200" cy="6858000"/>
          </a:xfrm>
          <a:prstGeom prst="rect">
            <a:avLst/>
          </a:prstGeom>
        </p:spPr>
        <p:txBody>
          <a:bodyPr/>
          <a:lstStyle/>
          <a:p>
            <a:endParaRPr lang="en-US"/>
          </a:p>
        </p:txBody>
      </p:sp>
      <p:sp>
        <p:nvSpPr>
          <p:cNvPr id="5" name="Text Placeholder 12">
            <a:extLst>
              <a:ext uri="{FF2B5EF4-FFF2-40B4-BE49-F238E27FC236}">
                <a16:creationId xmlns:a16="http://schemas.microsoft.com/office/drawing/2014/main" id="{16047D90-DDFE-486E-AD9C-1967FB6A43D9}"/>
              </a:ext>
            </a:extLst>
          </p:cNvPr>
          <p:cNvSpPr>
            <a:spLocks noGrp="1"/>
          </p:cNvSpPr>
          <p:nvPr>
            <p:ph type="body" sz="quarter" idx="17" hasCustomPrompt="1"/>
          </p:nvPr>
        </p:nvSpPr>
        <p:spPr>
          <a:xfrm>
            <a:off x="597569" y="2648427"/>
            <a:ext cx="6344653" cy="431657"/>
          </a:xfrm>
          <a:prstGeom prst="rect">
            <a:avLst/>
          </a:prstGeom>
        </p:spPr>
        <p:txBody>
          <a:bodyPr/>
          <a:lstStyle>
            <a:lvl1pPr marL="0" indent="0">
              <a:buNone/>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a:t>Insert text here</a:t>
            </a:r>
          </a:p>
        </p:txBody>
      </p:sp>
    </p:spTree>
    <p:extLst>
      <p:ext uri="{BB962C8B-B14F-4D97-AF65-F5344CB8AC3E}">
        <p14:creationId xmlns:p14="http://schemas.microsoft.com/office/powerpoint/2010/main" val="12616605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Nine image grid">
    <p:spTree>
      <p:nvGrpSpPr>
        <p:cNvPr id="1" name=""/>
        <p:cNvGrpSpPr/>
        <p:nvPr/>
      </p:nvGrpSpPr>
      <p:grpSpPr>
        <a:xfrm>
          <a:off x="0" y="0"/>
          <a:ext cx="0" cy="0"/>
          <a:chOff x="0" y="0"/>
          <a:chExt cx="0" cy="0"/>
        </a:xfrm>
      </p:grpSpPr>
      <p:sp>
        <p:nvSpPr>
          <p:cNvPr id="34" name="Picture Placeholder 17"/>
          <p:cNvSpPr>
            <a:spLocks noGrp="1"/>
          </p:cNvSpPr>
          <p:nvPr>
            <p:ph type="pic" sz="quarter" idx="18"/>
          </p:nvPr>
        </p:nvSpPr>
        <p:spPr>
          <a:xfrm>
            <a:off x="1189687" y="1112989"/>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5" name="Picture Placeholder 17"/>
          <p:cNvSpPr>
            <a:spLocks noGrp="1"/>
          </p:cNvSpPr>
          <p:nvPr>
            <p:ph type="pic" sz="quarter" idx="19"/>
          </p:nvPr>
        </p:nvSpPr>
        <p:spPr>
          <a:xfrm>
            <a:off x="2895187" y="1112989"/>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6" name="Picture Placeholder 17"/>
          <p:cNvSpPr>
            <a:spLocks noGrp="1"/>
          </p:cNvSpPr>
          <p:nvPr>
            <p:ph type="pic" sz="quarter" idx="20"/>
          </p:nvPr>
        </p:nvSpPr>
        <p:spPr>
          <a:xfrm>
            <a:off x="4600687" y="1113555"/>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7" name="Picture Placeholder 17"/>
          <p:cNvSpPr>
            <a:spLocks noGrp="1"/>
          </p:cNvSpPr>
          <p:nvPr>
            <p:ph type="pic" sz="quarter" idx="21"/>
          </p:nvPr>
        </p:nvSpPr>
        <p:spPr>
          <a:xfrm>
            <a:off x="1189687" y="2799822"/>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8" name="Picture Placeholder 17"/>
          <p:cNvSpPr>
            <a:spLocks noGrp="1"/>
          </p:cNvSpPr>
          <p:nvPr>
            <p:ph type="pic" sz="quarter" idx="22"/>
          </p:nvPr>
        </p:nvSpPr>
        <p:spPr>
          <a:xfrm>
            <a:off x="2895187" y="2799822"/>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39" name="Picture Placeholder 17"/>
          <p:cNvSpPr>
            <a:spLocks noGrp="1"/>
          </p:cNvSpPr>
          <p:nvPr>
            <p:ph type="pic" sz="quarter" idx="23"/>
          </p:nvPr>
        </p:nvSpPr>
        <p:spPr>
          <a:xfrm>
            <a:off x="4600687" y="2800390"/>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40" name="Picture Placeholder 17"/>
          <p:cNvSpPr>
            <a:spLocks noGrp="1"/>
          </p:cNvSpPr>
          <p:nvPr>
            <p:ph type="pic" sz="quarter" idx="24"/>
          </p:nvPr>
        </p:nvSpPr>
        <p:spPr>
          <a:xfrm>
            <a:off x="1189687" y="4508630"/>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41" name="Picture Placeholder 17"/>
          <p:cNvSpPr>
            <a:spLocks noGrp="1"/>
          </p:cNvSpPr>
          <p:nvPr>
            <p:ph type="pic" sz="quarter" idx="25"/>
          </p:nvPr>
        </p:nvSpPr>
        <p:spPr>
          <a:xfrm>
            <a:off x="2895187" y="4508630"/>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42" name="Picture Placeholder 17"/>
          <p:cNvSpPr>
            <a:spLocks noGrp="1"/>
          </p:cNvSpPr>
          <p:nvPr>
            <p:ph type="pic" sz="quarter" idx="26"/>
          </p:nvPr>
        </p:nvSpPr>
        <p:spPr>
          <a:xfrm>
            <a:off x="4600687" y="4509197"/>
            <a:ext cx="1252997" cy="1248847"/>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11"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8712239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n images, four for text">
    <p:spTree>
      <p:nvGrpSpPr>
        <p:cNvPr id="1" name=""/>
        <p:cNvGrpSpPr/>
        <p:nvPr/>
      </p:nvGrpSpPr>
      <p:grpSpPr>
        <a:xfrm>
          <a:off x="0" y="0"/>
          <a:ext cx="0" cy="0"/>
          <a:chOff x="0" y="0"/>
          <a:chExt cx="0" cy="0"/>
        </a:xfrm>
      </p:grpSpPr>
      <p:sp>
        <p:nvSpPr>
          <p:cNvPr id="46" name="Picture Placeholder 13"/>
          <p:cNvSpPr>
            <a:spLocks noGrp="1"/>
          </p:cNvSpPr>
          <p:nvPr>
            <p:ph type="pic" sz="quarter" idx="13"/>
          </p:nvPr>
        </p:nvSpPr>
        <p:spPr>
          <a:xfrm>
            <a:off x="0" y="339483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47" name="Picture Placeholder 13"/>
          <p:cNvSpPr>
            <a:spLocks noGrp="1"/>
          </p:cNvSpPr>
          <p:nvPr>
            <p:ph type="pic" sz="quarter" idx="14"/>
          </p:nvPr>
        </p:nvSpPr>
        <p:spPr>
          <a:xfrm>
            <a:off x="1747451" y="339483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49" name="Picture Placeholder 13"/>
          <p:cNvSpPr>
            <a:spLocks noGrp="1"/>
          </p:cNvSpPr>
          <p:nvPr>
            <p:ph type="pic" sz="quarter" idx="16"/>
          </p:nvPr>
        </p:nvSpPr>
        <p:spPr>
          <a:xfrm>
            <a:off x="5242352" y="339483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0" name="Picture Placeholder 13"/>
          <p:cNvSpPr>
            <a:spLocks noGrp="1"/>
          </p:cNvSpPr>
          <p:nvPr>
            <p:ph type="pic" sz="quarter" idx="17"/>
          </p:nvPr>
        </p:nvSpPr>
        <p:spPr>
          <a:xfrm>
            <a:off x="6989803" y="339483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1" name="Picture Placeholder 13"/>
          <p:cNvSpPr>
            <a:spLocks noGrp="1"/>
          </p:cNvSpPr>
          <p:nvPr>
            <p:ph type="pic" sz="quarter" idx="18"/>
          </p:nvPr>
        </p:nvSpPr>
        <p:spPr>
          <a:xfrm>
            <a:off x="8737253" y="339483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3" name="Picture Placeholder 13"/>
          <p:cNvSpPr>
            <a:spLocks noGrp="1"/>
          </p:cNvSpPr>
          <p:nvPr>
            <p:ph type="pic" sz="quarter" idx="20"/>
          </p:nvPr>
        </p:nvSpPr>
        <p:spPr>
          <a:xfrm>
            <a:off x="0"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5" name="Picture Placeholder 13"/>
          <p:cNvSpPr>
            <a:spLocks noGrp="1"/>
          </p:cNvSpPr>
          <p:nvPr>
            <p:ph type="pic" sz="quarter" idx="22"/>
          </p:nvPr>
        </p:nvSpPr>
        <p:spPr>
          <a:xfrm>
            <a:off x="3494901"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6" name="Picture Placeholder 13"/>
          <p:cNvSpPr>
            <a:spLocks noGrp="1"/>
          </p:cNvSpPr>
          <p:nvPr>
            <p:ph type="pic" sz="quarter" idx="23"/>
          </p:nvPr>
        </p:nvSpPr>
        <p:spPr>
          <a:xfrm>
            <a:off x="5242352"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8" name="Picture Placeholder 13"/>
          <p:cNvSpPr>
            <a:spLocks noGrp="1"/>
          </p:cNvSpPr>
          <p:nvPr>
            <p:ph type="pic" sz="quarter" idx="25"/>
          </p:nvPr>
        </p:nvSpPr>
        <p:spPr>
          <a:xfrm>
            <a:off x="8737252"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59" name="Picture Placeholder 13"/>
          <p:cNvSpPr>
            <a:spLocks noGrp="1"/>
          </p:cNvSpPr>
          <p:nvPr>
            <p:ph type="pic" sz="quarter" idx="26"/>
          </p:nvPr>
        </p:nvSpPr>
        <p:spPr>
          <a:xfrm>
            <a:off x="10484703" y="5150618"/>
            <a:ext cx="1705800" cy="1707383"/>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25" name="Rectangle 5"/>
          <p:cNvSpPr/>
          <p:nvPr userDrawn="1"/>
        </p:nvSpPr>
        <p:spPr>
          <a:xfrm rot="10800000">
            <a:off x="10150548" y="6471458"/>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26" name="Slide Number Placeholder 4"/>
          <p:cNvSpPr txBox="1">
            <a:spLocks/>
          </p:cNvSpPr>
          <p:nvPr userDrawn="1"/>
        </p:nvSpPr>
        <p:spPr>
          <a:xfrm>
            <a:off x="11574065" y="6494607"/>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27" name="Picture 26"/>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1561"/>
            <a:ext cx="765552" cy="206703"/>
          </a:xfrm>
          <a:prstGeom prst="rect">
            <a:avLst/>
          </a:prstGeom>
        </p:spPr>
      </p:pic>
      <p:cxnSp>
        <p:nvCxnSpPr>
          <p:cNvPr id="28" name="Straight Connector 27"/>
          <p:cNvCxnSpPr/>
          <p:nvPr userDrawn="1"/>
        </p:nvCxnSpPr>
        <p:spPr>
          <a:xfrm>
            <a:off x="11518607" y="6587054"/>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Picture Placeholder 13"/>
          <p:cNvSpPr>
            <a:spLocks noGrp="1"/>
          </p:cNvSpPr>
          <p:nvPr>
            <p:ph type="pic" sz="quarter" idx="27"/>
          </p:nvPr>
        </p:nvSpPr>
        <p:spPr>
          <a:xfrm>
            <a:off x="3494901" y="339483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19"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20" name="Picture Placeholder 13"/>
          <p:cNvSpPr>
            <a:spLocks noGrp="1"/>
          </p:cNvSpPr>
          <p:nvPr>
            <p:ph type="pic" sz="quarter" idx="28"/>
          </p:nvPr>
        </p:nvSpPr>
        <p:spPr>
          <a:xfrm>
            <a:off x="1747450" y="5155222"/>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21" name="Picture Placeholder 13"/>
          <p:cNvSpPr>
            <a:spLocks noGrp="1"/>
          </p:cNvSpPr>
          <p:nvPr>
            <p:ph type="pic" sz="quarter" idx="29"/>
          </p:nvPr>
        </p:nvSpPr>
        <p:spPr>
          <a:xfrm>
            <a:off x="6989802" y="5155222"/>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22" name="Picture Placeholder 13"/>
          <p:cNvSpPr>
            <a:spLocks noGrp="1"/>
          </p:cNvSpPr>
          <p:nvPr>
            <p:ph type="pic" sz="quarter" idx="30"/>
          </p:nvPr>
        </p:nvSpPr>
        <p:spPr>
          <a:xfrm>
            <a:off x="10484703" y="3394837"/>
            <a:ext cx="1705800" cy="1714500"/>
          </a:xfrm>
          <a:prstGeom prst="rect">
            <a:avLst/>
          </a:prstGeom>
          <a:solidFill>
            <a:schemeClr val="bg1">
              <a:lumMod val="95000"/>
            </a:schemeClr>
          </a:solidFill>
          <a:effectLst/>
        </p:spPr>
        <p:txBody>
          <a:bodyPr>
            <a:normAutofit/>
          </a:bodyPr>
          <a:lstStyle>
            <a:lvl1pPr marL="0" indent="0">
              <a:buNone/>
              <a:defRPr sz="1100">
                <a:ln>
                  <a:noFill/>
                </a:ln>
                <a:solidFill>
                  <a:schemeClr val="bg1">
                    <a:lumMod val="85000"/>
                  </a:schemeClr>
                </a:solidFill>
              </a:defRPr>
            </a:lvl1pPr>
          </a:lstStyle>
          <a:p>
            <a:r>
              <a:rPr lang="en-US"/>
              <a:t>Click icon to add picture</a:t>
            </a:r>
          </a:p>
        </p:txBody>
      </p:sp>
      <p:sp>
        <p:nvSpPr>
          <p:cNvPr id="23" name="Title 1">
            <a:extLst>
              <a:ext uri="{FF2B5EF4-FFF2-40B4-BE49-F238E27FC236}">
                <a16:creationId xmlns:a16="http://schemas.microsoft.com/office/drawing/2014/main" id="{3BFA89C6-D9DB-0D44-89E7-C56B67036933}"/>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6382187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Phone mockup">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3912391" y="3682997"/>
            <a:ext cx="4253068" cy="3175003"/>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4"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5" name="Title 1">
            <a:extLst>
              <a:ext uri="{FF2B5EF4-FFF2-40B4-BE49-F238E27FC236}">
                <a16:creationId xmlns:a16="http://schemas.microsoft.com/office/drawing/2014/main" id="{59AA0331-B353-924C-936F-433D3CB118DB}"/>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10878859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images, centered">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5109358" y="2168488"/>
            <a:ext cx="1931921" cy="3486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9" name="Picture Placeholder 8"/>
          <p:cNvSpPr>
            <a:spLocks noGrp="1"/>
          </p:cNvSpPr>
          <p:nvPr>
            <p:ph type="pic" sz="quarter" idx="13"/>
          </p:nvPr>
        </p:nvSpPr>
        <p:spPr>
          <a:xfrm>
            <a:off x="7570268" y="2168488"/>
            <a:ext cx="1959939" cy="3486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Picture Placeholder 8"/>
          <p:cNvSpPr>
            <a:spLocks noGrp="1"/>
          </p:cNvSpPr>
          <p:nvPr>
            <p:ph type="pic" sz="quarter" idx="14"/>
          </p:nvPr>
        </p:nvSpPr>
        <p:spPr>
          <a:xfrm>
            <a:off x="2657940" y="2168488"/>
            <a:ext cx="1959939" cy="3486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7" name="Text Placeholder 8"/>
          <p:cNvSpPr>
            <a:spLocks noGrp="1"/>
          </p:cNvSpPr>
          <p:nvPr>
            <p:ph type="body" sz="quarter" idx="15"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8" name="Title 1">
            <a:extLst>
              <a:ext uri="{FF2B5EF4-FFF2-40B4-BE49-F238E27FC236}">
                <a16:creationId xmlns:a16="http://schemas.microsoft.com/office/drawing/2014/main" id="{EF6EF565-E68B-A34E-9A8B-0170E544A53A}"/>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38422012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ablet mockup, right side">
    <p:spTree>
      <p:nvGrpSpPr>
        <p:cNvPr id="1" name=""/>
        <p:cNvGrpSpPr/>
        <p:nvPr/>
      </p:nvGrpSpPr>
      <p:grpSpPr>
        <a:xfrm>
          <a:off x="0" y="0"/>
          <a:ext cx="0" cy="0"/>
          <a:chOff x="0" y="0"/>
          <a:chExt cx="0" cy="0"/>
        </a:xfrm>
      </p:grpSpPr>
      <p:sp>
        <p:nvSpPr>
          <p:cNvPr id="4" name="Picture Placeholder 8"/>
          <p:cNvSpPr>
            <a:spLocks noGrp="1"/>
          </p:cNvSpPr>
          <p:nvPr>
            <p:ph type="pic" sz="quarter" idx="14"/>
          </p:nvPr>
        </p:nvSpPr>
        <p:spPr>
          <a:xfrm>
            <a:off x="7040900" y="1014457"/>
            <a:ext cx="3567089" cy="4768596"/>
          </a:xfrm>
          <a:prstGeom prst="rect">
            <a:avLst/>
          </a:prstGeom>
          <a:solidFill>
            <a:schemeClr val="bg1">
              <a:lumMod val="95000"/>
            </a:schemeClr>
          </a:solidFill>
        </p:spPr>
        <p:txBody>
          <a:bodyPr>
            <a:normAutofit/>
          </a:bodyPr>
          <a:lstStyle>
            <a:lvl1pPr marL="0" indent="0">
              <a:buNone/>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5917870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ablet mockup, left sid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1224633" y="1014457"/>
            <a:ext cx="3567089" cy="4768596"/>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40582315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aptop mockup, centered">
    <p:spTree>
      <p:nvGrpSpPr>
        <p:cNvPr id="1" name=""/>
        <p:cNvGrpSpPr/>
        <p:nvPr/>
      </p:nvGrpSpPr>
      <p:grpSpPr>
        <a:xfrm>
          <a:off x="0" y="0"/>
          <a:ext cx="0" cy="0"/>
          <a:chOff x="0" y="0"/>
          <a:chExt cx="0" cy="0"/>
        </a:xfrm>
      </p:grpSpPr>
      <p:sp>
        <p:nvSpPr>
          <p:cNvPr id="5" name="Picture Placeholder 17"/>
          <p:cNvSpPr>
            <a:spLocks noGrp="1"/>
          </p:cNvSpPr>
          <p:nvPr>
            <p:ph type="pic" sz="quarter" idx="14"/>
          </p:nvPr>
        </p:nvSpPr>
        <p:spPr>
          <a:xfrm>
            <a:off x="3713561" y="2809409"/>
            <a:ext cx="4702295" cy="2926759"/>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6" name="Title 1">
            <a:extLst>
              <a:ext uri="{FF2B5EF4-FFF2-40B4-BE49-F238E27FC236}">
                <a16:creationId xmlns:a16="http://schemas.microsoft.com/office/drawing/2014/main" id="{82EF549A-A42B-2846-B1BB-A3A8AADEC9F5}"/>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15387029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Laptop mockup, at lef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944457" y="2825401"/>
            <a:ext cx="4655763" cy="2878137"/>
          </a:xfrm>
          <a:prstGeom prst="rect">
            <a:avLst/>
          </a:prstGeom>
          <a:solidFill>
            <a:schemeClr val="bg1">
              <a:lumMod val="95000"/>
            </a:schemeClr>
          </a:solidFill>
        </p:spPr>
        <p:txBody>
          <a:bodyPr>
            <a:normAutofit/>
          </a:bodyPr>
          <a:lstStyle>
            <a:lvl1pPr>
              <a:defRPr sz="1000"/>
            </a:lvl1pPr>
          </a:lstStyle>
          <a:p>
            <a:r>
              <a:rPr lang="en-US"/>
              <a:t>Click icon to add picture</a:t>
            </a:r>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6" name="Title 1">
            <a:extLst>
              <a:ext uri="{FF2B5EF4-FFF2-40B4-BE49-F238E27FC236}">
                <a16:creationId xmlns:a16="http://schemas.microsoft.com/office/drawing/2014/main" id="{D5B40918-6C3B-0441-BE41-AEE0DD460AAB}"/>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2817348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Angled image, right">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5635724" y="0"/>
            <a:ext cx="4732259" cy="6858000"/>
          </a:xfrm>
          <a:prstGeom prst="parallelogram">
            <a:avLst>
              <a:gd name="adj" fmla="val 54870"/>
            </a:avLst>
          </a:prstGeom>
          <a:solidFill>
            <a:schemeClr val="bg1">
              <a:lumMod val="95000"/>
            </a:schemeClr>
          </a:solidFill>
        </p:spPr>
        <p:txBody>
          <a:bodyPr>
            <a:normAutofit/>
          </a:bodyPr>
          <a:lstStyle>
            <a:lvl1pPr>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2909541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Angled image, left">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462331" y="0"/>
            <a:ext cx="4732259" cy="6858000"/>
          </a:xfrm>
          <a:prstGeom prst="parallelogram">
            <a:avLst>
              <a:gd name="adj" fmla="val 54870"/>
            </a:avLst>
          </a:prstGeom>
          <a:solidFill>
            <a:schemeClr val="bg1">
              <a:lumMod val="95000"/>
            </a:schemeClr>
          </a:solidFill>
        </p:spPr>
        <p:txBody>
          <a:bodyPr>
            <a:normAutofit/>
          </a:bodyPr>
          <a:lstStyle>
            <a:lvl1pPr>
              <a:defRPr sz="1400"/>
            </a:lvl1pPr>
          </a:lstStyle>
          <a:p>
            <a:r>
              <a:rPr lang="en-US"/>
              <a:t>Click icon to add pictur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25710942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hree square images">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1247873" y="2104140"/>
            <a:ext cx="3005240" cy="3006789"/>
          </a:xfrm>
          <a:prstGeom prst="rect">
            <a:avLst/>
          </a:prstGeom>
          <a:solidFill>
            <a:schemeClr val="bg1">
              <a:lumMod val="95000"/>
            </a:schemeClr>
          </a:solidFill>
        </p:spPr>
        <p:txBody>
          <a:bodyPr>
            <a:normAutofit/>
          </a:bodyPr>
          <a:lstStyle>
            <a:lvl1pPr>
              <a:defRPr sz="1400"/>
            </a:lvl1pPr>
          </a:lstStyle>
          <a:p>
            <a:r>
              <a:rPr lang="en-US"/>
              <a:t>Drag picture to placeholder or click icon to add</a:t>
            </a:r>
          </a:p>
        </p:txBody>
      </p:sp>
      <p:sp>
        <p:nvSpPr>
          <p:cNvPr id="11" name="Picture Placeholder 8"/>
          <p:cNvSpPr>
            <a:spLocks noGrp="1"/>
          </p:cNvSpPr>
          <p:nvPr>
            <p:ph type="pic" sz="quarter" idx="11"/>
          </p:nvPr>
        </p:nvSpPr>
        <p:spPr>
          <a:xfrm>
            <a:off x="4574325" y="2104140"/>
            <a:ext cx="3005240" cy="3006789"/>
          </a:xfrm>
          <a:prstGeom prst="rect">
            <a:avLst/>
          </a:prstGeom>
          <a:solidFill>
            <a:schemeClr val="bg1">
              <a:lumMod val="95000"/>
            </a:schemeClr>
          </a:solidFill>
        </p:spPr>
        <p:txBody>
          <a:bodyPr>
            <a:normAutofit/>
          </a:bodyPr>
          <a:lstStyle>
            <a:lvl1pPr>
              <a:defRPr sz="1400"/>
            </a:lvl1pPr>
          </a:lstStyle>
          <a:p>
            <a:r>
              <a:rPr lang="en-US"/>
              <a:t>Drag picture to placeholder or click icon to add</a:t>
            </a:r>
          </a:p>
        </p:txBody>
      </p:sp>
      <p:sp>
        <p:nvSpPr>
          <p:cNvPr id="12" name="Picture Placeholder 8"/>
          <p:cNvSpPr>
            <a:spLocks noGrp="1"/>
          </p:cNvSpPr>
          <p:nvPr>
            <p:ph type="pic" sz="quarter" idx="12"/>
          </p:nvPr>
        </p:nvSpPr>
        <p:spPr>
          <a:xfrm>
            <a:off x="7900777" y="2104140"/>
            <a:ext cx="3005240" cy="3006789"/>
          </a:xfrm>
          <a:prstGeom prst="rect">
            <a:avLst/>
          </a:prstGeom>
          <a:solidFill>
            <a:schemeClr val="bg1">
              <a:lumMod val="95000"/>
            </a:schemeClr>
          </a:solidFill>
        </p:spPr>
        <p:txBody>
          <a:bodyPr>
            <a:normAutofit/>
          </a:bodyPr>
          <a:lstStyle>
            <a:lvl1pPr>
              <a:defRPr sz="1400"/>
            </a:lvl1pPr>
          </a:lstStyle>
          <a:p>
            <a:r>
              <a:rPr lang="en-US"/>
              <a:t>Drag picture to placeholder or click icon to add</a:t>
            </a:r>
          </a:p>
        </p:txBody>
      </p:sp>
      <p:sp>
        <p:nvSpPr>
          <p:cNvPr id="6"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
        <p:nvSpPr>
          <p:cNvPr id="7" name="Title 1">
            <a:extLst>
              <a:ext uri="{FF2B5EF4-FFF2-40B4-BE49-F238E27FC236}">
                <a16:creationId xmlns:a16="http://schemas.microsoft.com/office/drawing/2014/main" id="{2EEA8B6B-9232-9C47-A79D-A002401FAB80}"/>
              </a:ext>
            </a:extLst>
          </p:cNvPr>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Tree>
    <p:extLst>
      <p:ext uri="{BB962C8B-B14F-4D97-AF65-F5344CB8AC3E}">
        <p14:creationId xmlns:p14="http://schemas.microsoft.com/office/powerpoint/2010/main" val="42741858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Four images, full screen">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7"/>
          </p:nvPr>
        </p:nvSpPr>
        <p:spPr>
          <a:xfrm>
            <a:off x="6096000" y="342900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3" name="Picture Placeholder 2"/>
          <p:cNvSpPr>
            <a:spLocks noGrp="1"/>
          </p:cNvSpPr>
          <p:nvPr>
            <p:ph type="pic" sz="quarter" idx="28"/>
          </p:nvPr>
        </p:nvSpPr>
        <p:spPr>
          <a:xfrm>
            <a:off x="6096000" y="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4" name="Picture Placeholder 2"/>
          <p:cNvSpPr>
            <a:spLocks noGrp="1"/>
          </p:cNvSpPr>
          <p:nvPr>
            <p:ph type="pic" sz="quarter" idx="29"/>
          </p:nvPr>
        </p:nvSpPr>
        <p:spPr>
          <a:xfrm>
            <a:off x="0" y="3429000"/>
            <a:ext cx="6096000" cy="3429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4"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5"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7" name="Straight Connector 16"/>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a:t>Data Classification</a:t>
            </a:r>
          </a:p>
        </p:txBody>
      </p:sp>
    </p:spTree>
    <p:extLst>
      <p:ext uri="{BB962C8B-B14F-4D97-AF65-F5344CB8AC3E}">
        <p14:creationId xmlns:p14="http://schemas.microsoft.com/office/powerpoint/2010/main" val="12123733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76BD123C-FE10-4835-9CBC-6061843A44AA}" type="datetimeFigureOut">
              <a:rPr lang="en-US" smtClean="0">
                <a:solidFill>
                  <a:srgbClr val="000000"/>
                </a:solidFill>
              </a:rPr>
              <a:pPr/>
              <a:t>12/10/2025</a:t>
            </a:fld>
            <a:endParaRPr lang="en-US">
              <a:solidFill>
                <a:srgbClr val="000000"/>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solidFill>
                <a:srgbClr val="000000"/>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53C77D16-F9E3-4B19-9765-73F4F645F854}"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5503199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buNone/>
              <a:defRPr sz="1800"/>
            </a:lvl1pPr>
            <a:lvl2pPr marL="457200" indent="0">
              <a:buNone/>
              <a:defRPr sz="1800"/>
            </a:lvl2pPr>
            <a:lvl3pPr marL="914400" indent="0">
              <a:buNone/>
              <a:defRPr sz="1600"/>
            </a:lvl3pPr>
            <a:lvl4pPr marL="1371600" indent="0">
              <a:buNone/>
              <a:defRPr sz="1600"/>
            </a:lvl4pPr>
            <a:lvl5pPr marL="1828800"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21389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0" y="2783853"/>
            <a:ext cx="6115055" cy="2754972"/>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6720698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Image at right">
    <p:spTree>
      <p:nvGrpSpPr>
        <p:cNvPr id="1" name=""/>
        <p:cNvGrpSpPr/>
        <p:nvPr/>
      </p:nvGrpSpPr>
      <p:grpSpPr>
        <a:xfrm>
          <a:off x="0" y="0"/>
          <a:ext cx="0" cy="0"/>
          <a:chOff x="0" y="0"/>
          <a:chExt cx="0" cy="0"/>
        </a:xfrm>
      </p:grpSpPr>
      <p:sp>
        <p:nvSpPr>
          <p:cNvPr id="6" name="Picture Placeholder 2"/>
          <p:cNvSpPr>
            <a:spLocks noGrp="1"/>
          </p:cNvSpPr>
          <p:nvPr>
            <p:ph type="pic" sz="quarter" idx="28"/>
          </p:nvPr>
        </p:nvSpPr>
        <p:spPr>
          <a:xfrm>
            <a:off x="0" y="0"/>
            <a:ext cx="4855011"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32869258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8_Title Slid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1241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cxnSp>
        <p:nvCxnSpPr>
          <p:cNvPr id="7" name="Straight Connector 6"/>
          <p:cNvCxnSpPr/>
          <p:nvPr userDrawn="1"/>
        </p:nvCxnSpPr>
        <p:spPr>
          <a:xfrm>
            <a:off x="6066971"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hasCustomPrompt="1"/>
          </p:nvPr>
        </p:nvSpPr>
        <p:spPr>
          <a:xfrm>
            <a:off x="6493933" y="6182784"/>
            <a:ext cx="4114800" cy="364067"/>
          </a:xfrm>
          <a:prstGeom prst="rect">
            <a:avLst/>
          </a:prstGeom>
        </p:spPr>
        <p:txBody>
          <a:bodyPr anchor="b">
            <a:noAutofit/>
          </a:bodyPr>
          <a:lstStyle>
            <a:lvl1pPr marL="0" indent="0">
              <a:buNone/>
              <a:defRPr sz="1200" baseline="0">
                <a:latin typeface="Arial" charset="0"/>
                <a:ea typeface="Arial" charset="0"/>
                <a:cs typeface="Arial" charset="0"/>
              </a:defRPr>
            </a:lvl1pPr>
          </a:lstStyle>
          <a:p>
            <a:pPr lvl="0"/>
            <a:r>
              <a:rPr lang="en-US"/>
              <a:t>INSERT DATA CLASSIFICATION</a:t>
            </a:r>
          </a:p>
        </p:txBody>
      </p:sp>
      <p:sp>
        <p:nvSpPr>
          <p:cNvPr id="6" name="Text Placeholder 5"/>
          <p:cNvSpPr>
            <a:spLocks noGrp="1"/>
          </p:cNvSpPr>
          <p:nvPr>
            <p:ph type="body" sz="quarter" idx="12" hasCustomPrompt="1"/>
          </p:nvPr>
        </p:nvSpPr>
        <p:spPr>
          <a:xfrm>
            <a:off x="6493933" y="5739439"/>
            <a:ext cx="4114800" cy="401629"/>
          </a:xfrm>
          <a:prstGeom prst="rect">
            <a:avLst/>
          </a:prstGeom>
        </p:spPr>
        <p:txBody>
          <a:bodyPr anchor="b">
            <a:normAutofit/>
          </a:bodyPr>
          <a:lstStyle>
            <a:lvl1pPr marL="0" indent="0">
              <a:buNone/>
              <a:defRPr sz="1600">
                <a:latin typeface="Arial" charset="0"/>
                <a:ea typeface="Arial" charset="0"/>
                <a:cs typeface="Arial" charset="0"/>
              </a:defRPr>
            </a:lvl1pPr>
          </a:lstStyle>
          <a:p>
            <a:pPr lvl="0"/>
            <a:r>
              <a:rPr lang="en-US"/>
              <a:t>Date</a:t>
            </a:r>
          </a:p>
        </p:txBody>
      </p:sp>
      <p:sp>
        <p:nvSpPr>
          <p:cNvPr id="2" name="Title 1"/>
          <p:cNvSpPr>
            <a:spLocks noGrp="1"/>
          </p:cNvSpPr>
          <p:nvPr>
            <p:ph type="ctrTitle" hasCustomPrompt="1"/>
          </p:nvPr>
        </p:nvSpPr>
        <p:spPr>
          <a:xfrm>
            <a:off x="6494097" y="673768"/>
            <a:ext cx="4914123" cy="3806581"/>
          </a:xfrm>
          <a:prstGeom prst="rect">
            <a:avLst/>
          </a:prstGeom>
        </p:spPr>
        <p:txBody>
          <a:bodyPr anchor="b">
            <a:normAutofit/>
          </a:bodyPr>
          <a:lstStyle>
            <a:lvl1pPr algn="l">
              <a:defRPr sz="4800" b="1" i="0">
                <a:latin typeface="Arial Black" charset="0"/>
                <a:ea typeface="Arial Black" charset="0"/>
                <a:cs typeface="Arial Black" charset="0"/>
              </a:defRPr>
            </a:lvl1pPr>
          </a:lstStyle>
          <a:p>
            <a:r>
              <a:rPr lang="en-US"/>
              <a:t>Presentation Title</a:t>
            </a:r>
          </a:p>
        </p:txBody>
      </p:sp>
      <p:sp>
        <p:nvSpPr>
          <p:cNvPr id="3" name="Subtitle 2"/>
          <p:cNvSpPr>
            <a:spLocks noGrp="1"/>
          </p:cNvSpPr>
          <p:nvPr>
            <p:ph type="subTitle" idx="1" hasCustomPrompt="1"/>
          </p:nvPr>
        </p:nvSpPr>
        <p:spPr>
          <a:xfrm>
            <a:off x="6494097" y="4548893"/>
            <a:ext cx="4914123" cy="652803"/>
          </a:xfrm>
          <a:prstGeom prst="rect">
            <a:avLst/>
          </a:prstGeom>
        </p:spPr>
        <p:txBody>
          <a:bodyPr anchor="b">
            <a:normAutofit/>
          </a:bodyPr>
          <a:lstStyle>
            <a:lvl1pPr marL="0" indent="0" algn="l">
              <a:buNone/>
              <a:defRPr sz="2667" b="0" i="0">
                <a:latin typeface="Arial" charset="0"/>
                <a:ea typeface="Arial" charset="0"/>
                <a:cs typeface="Arial"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Presenter Name</a:t>
            </a:r>
          </a:p>
        </p:txBody>
      </p:sp>
      <p:sp>
        <p:nvSpPr>
          <p:cNvPr id="9" name="Picture Placeholder 8"/>
          <p:cNvSpPr>
            <a:spLocks noGrp="1"/>
          </p:cNvSpPr>
          <p:nvPr>
            <p:ph type="pic" sz="quarter" idx="14"/>
          </p:nvPr>
        </p:nvSpPr>
        <p:spPr>
          <a:xfrm>
            <a:off x="0" y="-1"/>
            <a:ext cx="6081485" cy="6861773"/>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4947462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53504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10888134" cy="1325563"/>
          </a:xfrm>
        </p:spPr>
        <p:txBody>
          <a:body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p:cNvSpPr>
            <a:spLocks noGrp="1"/>
          </p:cNvSpPr>
          <p:nvPr>
            <p:ph sz="quarter" idx="12"/>
          </p:nvPr>
        </p:nvSpPr>
        <p:spPr>
          <a:xfrm>
            <a:off x="609600" y="1901825"/>
            <a:ext cx="5282670" cy="44259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59753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ext and image_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6"/>
          <p:cNvSpPr>
            <a:spLocks noGrp="1"/>
          </p:cNvSpPr>
          <p:nvPr>
            <p:ph sz="quarter" idx="11"/>
          </p:nvPr>
        </p:nvSpPr>
        <p:spPr>
          <a:xfrm>
            <a:off x="4305830" y="1901825"/>
            <a:ext cx="3351739" cy="44259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6"/>
          <p:cNvSpPr>
            <a:spLocks noGrp="1"/>
          </p:cNvSpPr>
          <p:nvPr>
            <p:ph sz="quarter" idx="12"/>
          </p:nvPr>
        </p:nvSpPr>
        <p:spPr>
          <a:xfrm>
            <a:off x="609600" y="1901825"/>
            <a:ext cx="3351739" cy="44259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6"/>
          <p:cNvSpPr>
            <a:spLocks noGrp="1"/>
          </p:cNvSpPr>
          <p:nvPr>
            <p:ph sz="quarter" idx="13"/>
          </p:nvPr>
        </p:nvSpPr>
        <p:spPr>
          <a:xfrm>
            <a:off x="8002061" y="1901825"/>
            <a:ext cx="3351739" cy="44259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1413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8"/>
          <p:cNvSpPr>
            <a:spLocks noGrp="1"/>
          </p:cNvSpPr>
          <p:nvPr>
            <p:ph type="body" sz="quarter" idx="12" hasCustomPrompt="1"/>
          </p:nvPr>
        </p:nvSpPr>
        <p:spPr>
          <a:xfrm>
            <a:off x="8703227"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4923813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Org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4368637" cy="1325563"/>
          </a:xfrm>
        </p:spPr>
        <p:txBody>
          <a:bodyPr/>
          <a:lstStyle/>
          <a:p>
            <a:r>
              <a:rPr lang="en-US"/>
              <a:t>Click to edit Master title style</a:t>
            </a:r>
          </a:p>
        </p:txBody>
      </p:sp>
      <p:sp>
        <p:nvSpPr>
          <p:cNvPr id="38" name="Picture Placeholder 37"/>
          <p:cNvSpPr>
            <a:spLocks noGrp="1"/>
          </p:cNvSpPr>
          <p:nvPr>
            <p:ph type="pic" sz="quarter" idx="27"/>
          </p:nvPr>
        </p:nvSpPr>
        <p:spPr>
          <a:xfrm>
            <a:off x="5609959" y="565873"/>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39" name="Picture Placeholder 37"/>
          <p:cNvSpPr>
            <a:spLocks noGrp="1"/>
          </p:cNvSpPr>
          <p:nvPr>
            <p:ph type="pic" sz="quarter" idx="28"/>
          </p:nvPr>
        </p:nvSpPr>
        <p:spPr>
          <a:xfrm>
            <a:off x="2436065" y="2832488"/>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40" name="Picture Placeholder 37"/>
          <p:cNvSpPr>
            <a:spLocks noGrp="1"/>
          </p:cNvSpPr>
          <p:nvPr>
            <p:ph type="pic" sz="quarter" idx="29"/>
          </p:nvPr>
        </p:nvSpPr>
        <p:spPr>
          <a:xfrm>
            <a:off x="4036603" y="2813436"/>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41" name="Picture Placeholder 37"/>
          <p:cNvSpPr>
            <a:spLocks noGrp="1"/>
          </p:cNvSpPr>
          <p:nvPr>
            <p:ph type="pic" sz="quarter" idx="30"/>
          </p:nvPr>
        </p:nvSpPr>
        <p:spPr>
          <a:xfrm>
            <a:off x="5637141" y="2808451"/>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42" name="Picture Placeholder 37"/>
          <p:cNvSpPr>
            <a:spLocks noGrp="1"/>
          </p:cNvSpPr>
          <p:nvPr>
            <p:ph type="pic" sz="quarter" idx="31"/>
          </p:nvPr>
        </p:nvSpPr>
        <p:spPr>
          <a:xfrm>
            <a:off x="7237679" y="2803466"/>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43" name="Picture Placeholder 37"/>
          <p:cNvSpPr>
            <a:spLocks noGrp="1"/>
          </p:cNvSpPr>
          <p:nvPr>
            <p:ph type="pic" sz="quarter" idx="32"/>
          </p:nvPr>
        </p:nvSpPr>
        <p:spPr>
          <a:xfrm>
            <a:off x="8838217" y="2777460"/>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4" name="Picture Placeholder 37"/>
          <p:cNvSpPr>
            <a:spLocks noGrp="1"/>
          </p:cNvSpPr>
          <p:nvPr>
            <p:ph type="pic" sz="quarter" idx="33"/>
          </p:nvPr>
        </p:nvSpPr>
        <p:spPr>
          <a:xfrm>
            <a:off x="2436065" y="4698822"/>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5" name="Picture Placeholder 37"/>
          <p:cNvSpPr>
            <a:spLocks noGrp="1"/>
          </p:cNvSpPr>
          <p:nvPr>
            <p:ph type="pic" sz="quarter" idx="34"/>
          </p:nvPr>
        </p:nvSpPr>
        <p:spPr>
          <a:xfrm>
            <a:off x="4036603" y="4679770"/>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6" name="Picture Placeholder 37"/>
          <p:cNvSpPr>
            <a:spLocks noGrp="1"/>
          </p:cNvSpPr>
          <p:nvPr>
            <p:ph type="pic" sz="quarter" idx="35"/>
          </p:nvPr>
        </p:nvSpPr>
        <p:spPr>
          <a:xfrm>
            <a:off x="5637141" y="4674785"/>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7" name="Picture Placeholder 37"/>
          <p:cNvSpPr>
            <a:spLocks noGrp="1"/>
          </p:cNvSpPr>
          <p:nvPr>
            <p:ph type="pic" sz="quarter" idx="36"/>
          </p:nvPr>
        </p:nvSpPr>
        <p:spPr>
          <a:xfrm>
            <a:off x="7237679" y="4669800"/>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
        <p:nvSpPr>
          <p:cNvPr id="58" name="Picture Placeholder 37"/>
          <p:cNvSpPr>
            <a:spLocks noGrp="1"/>
          </p:cNvSpPr>
          <p:nvPr>
            <p:ph type="pic" sz="quarter" idx="37"/>
          </p:nvPr>
        </p:nvSpPr>
        <p:spPr>
          <a:xfrm>
            <a:off x="8838217" y="4643794"/>
            <a:ext cx="914400" cy="914400"/>
          </a:xfrm>
          <a:prstGeom prst="roundRect">
            <a:avLst/>
          </a:prstGeom>
          <a:solidFill>
            <a:schemeClr val="bg2"/>
          </a:solidFill>
        </p:spPr>
        <p:txBody>
          <a:bodyPr>
            <a:normAutofit/>
          </a:bodyPr>
          <a:lstStyle>
            <a:lvl1pPr marL="0" indent="0">
              <a:buNone/>
              <a:defRPr sz="800">
                <a:solidFill>
                  <a:schemeClr val="accent5"/>
                </a:solidFill>
              </a:defRPr>
            </a:lvl1pPr>
          </a:lstStyle>
          <a:p>
            <a:r>
              <a:rPr lang="en-US"/>
              <a:t>Click icon to add picture</a:t>
            </a:r>
          </a:p>
        </p:txBody>
      </p:sp>
    </p:spTree>
    <p:extLst>
      <p:ext uri="{BB962C8B-B14F-4D97-AF65-F5344CB8AC3E}">
        <p14:creationId xmlns:p14="http://schemas.microsoft.com/office/powerpoint/2010/main" val="3895216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Leader message">
    <p:spTree>
      <p:nvGrpSpPr>
        <p:cNvPr id="1" name=""/>
        <p:cNvGrpSpPr/>
        <p:nvPr/>
      </p:nvGrpSpPr>
      <p:grpSpPr>
        <a:xfrm>
          <a:off x="0" y="0"/>
          <a:ext cx="0" cy="0"/>
          <a:chOff x="0" y="0"/>
          <a:chExt cx="0" cy="0"/>
        </a:xfrm>
      </p:grpSpPr>
      <p:sp>
        <p:nvSpPr>
          <p:cNvPr id="6" name="Picture Placeholder 2"/>
          <p:cNvSpPr>
            <a:spLocks noGrp="1"/>
          </p:cNvSpPr>
          <p:nvPr>
            <p:ph type="pic" sz="quarter" idx="26"/>
          </p:nvPr>
        </p:nvSpPr>
        <p:spPr>
          <a:xfrm>
            <a:off x="1951989" y="2424794"/>
            <a:ext cx="2008937" cy="2008415"/>
          </a:xfrm>
          <a:prstGeom prst="ellipse">
            <a:avLst/>
          </a:prstGeom>
          <a:solidFill>
            <a:schemeClr val="bg1">
              <a:lumMod val="95000"/>
            </a:schemeClr>
          </a:solidFill>
        </p:spPr>
        <p:txBody>
          <a:bodyPr>
            <a:normAutofit/>
          </a:bodyPr>
          <a:lstStyle>
            <a:lvl1pPr>
              <a:defRPr sz="1400"/>
            </a:lvl1pPr>
          </a:lstStyle>
          <a:p>
            <a:r>
              <a:rPr lang="en-US"/>
              <a:t>Click icon to add picture</a:t>
            </a:r>
          </a:p>
        </p:txBody>
      </p:sp>
      <p:sp>
        <p:nvSpPr>
          <p:cNvPr id="3"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97102437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Placeholder Slide">
    <p:spTree>
      <p:nvGrpSpPr>
        <p:cNvPr id="1" name=""/>
        <p:cNvGrpSpPr/>
        <p:nvPr/>
      </p:nvGrpSpPr>
      <p:grpSpPr>
        <a:xfrm>
          <a:off x="0" y="0"/>
          <a:ext cx="0" cy="0"/>
          <a:chOff x="0" y="0"/>
          <a:chExt cx="0" cy="0"/>
        </a:xfrm>
      </p:grpSpPr>
      <p:sp>
        <p:nvSpPr>
          <p:cNvPr id="3" name="Title Placeholder 18"/>
          <p:cNvSpPr>
            <a:spLocks noGrp="1"/>
          </p:cNvSpPr>
          <p:nvPr>
            <p:ph type="title"/>
          </p:nvPr>
        </p:nvSpPr>
        <p:spPr>
          <a:xfrm>
            <a:off x="4554834" y="1905509"/>
            <a:ext cx="5648711" cy="1600439"/>
          </a:xfrm>
          <a:prstGeom prst="rect">
            <a:avLst/>
          </a:prstGeom>
        </p:spPr>
        <p:txBody>
          <a:bodyPr vert="horz" lIns="91440" tIns="45720" rIns="91440" bIns="45720" rtlCol="0" anchor="ctr">
            <a:normAutofit/>
          </a:bodyPr>
          <a:lstStyle>
            <a:lvl1pPr algn="l">
              <a:defRPr/>
            </a:lvl1pPr>
          </a:lstStyle>
          <a:p>
            <a:r>
              <a:rPr lang="en-US"/>
              <a:t>Click to edit Master title style</a:t>
            </a:r>
          </a:p>
        </p:txBody>
      </p:sp>
      <p:sp>
        <p:nvSpPr>
          <p:cNvPr id="6" name="Picture Placeholder 8"/>
          <p:cNvSpPr>
            <a:spLocks noGrp="1"/>
          </p:cNvSpPr>
          <p:nvPr>
            <p:ph type="pic" sz="quarter" idx="10"/>
          </p:nvPr>
        </p:nvSpPr>
        <p:spPr>
          <a:xfrm>
            <a:off x="1045555" y="1780069"/>
            <a:ext cx="3298724" cy="3297865"/>
          </a:xfrm>
          <a:prstGeom prst="ellipse">
            <a:avLst/>
          </a:prstGeom>
          <a:solidFill>
            <a:schemeClr val="bg1">
              <a:lumMod val="95000"/>
            </a:schemeClr>
          </a:solidFill>
        </p:spPr>
        <p:txBody>
          <a:bodyPr>
            <a:normAutofit/>
          </a:bodyPr>
          <a:lstStyle>
            <a:lvl1pPr>
              <a:defRPr sz="1400"/>
            </a:lvl1pPr>
          </a:lstStyle>
          <a:p>
            <a:r>
              <a:rPr lang="en-US"/>
              <a:t>Click icon to add picture</a:t>
            </a:r>
          </a:p>
        </p:txBody>
      </p:sp>
      <p:sp>
        <p:nvSpPr>
          <p:cNvPr id="7" name="Text Placeholder 6"/>
          <p:cNvSpPr>
            <a:spLocks noGrp="1"/>
          </p:cNvSpPr>
          <p:nvPr>
            <p:ph type="body" sz="quarter" idx="11" hasCustomPrompt="1"/>
          </p:nvPr>
        </p:nvSpPr>
        <p:spPr>
          <a:xfrm>
            <a:off x="4554157" y="3655061"/>
            <a:ext cx="5649384" cy="2076451"/>
          </a:xfrm>
          <a:prstGeom prst="rect">
            <a:avLst/>
          </a:prstGeom>
        </p:spPr>
        <p:txBody>
          <a:bodyPr/>
          <a:lstStyle>
            <a:lvl4pPr marL="924938" indent="-211656">
              <a:buFont typeface="LucidaGrande" charset="0"/>
              <a:buChar char="–"/>
              <a:defRPr/>
            </a:lvl4pPr>
            <a:lvl5pPr marL="1147177" indent="-215889">
              <a:buFont typeface="Courier New" charset="0"/>
              <a:buChar char="o"/>
              <a:tabLst/>
              <a:defRPr/>
            </a:lvl5pPr>
          </a:lstStyle>
          <a:p>
            <a:pPr lvl="0"/>
            <a:r>
              <a:rPr lang="en-US"/>
              <a:t>Click to edit paragraph text</a:t>
            </a:r>
          </a:p>
        </p:txBody>
      </p:sp>
    </p:spTree>
    <p:extLst>
      <p:ext uri="{BB962C8B-B14F-4D97-AF65-F5344CB8AC3E}">
        <p14:creationId xmlns:p14="http://schemas.microsoft.com/office/powerpoint/2010/main" val="15045032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Image right">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6076946" y="2783853"/>
            <a:ext cx="6115055" cy="2754972"/>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3"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6229601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Image at left, thin">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3868240"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38937097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Image, panel at right">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7126221" y="0"/>
            <a:ext cx="2847187"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33174190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Image, panel at left">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2218088" y="0"/>
            <a:ext cx="2847187" cy="68580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35971681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hree images set wide">
    <p:spTree>
      <p:nvGrpSpPr>
        <p:cNvPr id="1" name=""/>
        <p:cNvGrpSpPr/>
        <p:nvPr/>
      </p:nvGrpSpPr>
      <p:grpSpPr>
        <a:xfrm>
          <a:off x="0" y="0"/>
          <a:ext cx="0" cy="0"/>
          <a:chOff x="0" y="0"/>
          <a:chExt cx="0" cy="0"/>
        </a:xfrm>
      </p:grpSpPr>
      <p:sp>
        <p:nvSpPr>
          <p:cNvPr id="10" name="Picture Placeholder 2"/>
          <p:cNvSpPr>
            <a:spLocks noGrp="1"/>
          </p:cNvSpPr>
          <p:nvPr>
            <p:ph type="pic" sz="quarter" idx="15"/>
          </p:nvPr>
        </p:nvSpPr>
        <p:spPr>
          <a:xfrm>
            <a:off x="1568481" y="2909407"/>
            <a:ext cx="1658787" cy="2170700"/>
          </a:xfrm>
          <a:prstGeom prst="rect">
            <a:avLst/>
          </a:prstGeom>
          <a:solidFill>
            <a:schemeClr val="bg1">
              <a:lumMod val="95000"/>
            </a:schemeClr>
          </a:solidFill>
        </p:spPr>
        <p:txBody>
          <a:bodyPr>
            <a:normAutofit/>
          </a:bodyPr>
          <a:lstStyle>
            <a:lvl1pPr>
              <a:defRPr sz="900"/>
            </a:lvl1pPr>
          </a:lstStyle>
          <a:p>
            <a:r>
              <a:rPr lang="en-US"/>
              <a:t>Click icon to add picture</a:t>
            </a:r>
          </a:p>
        </p:txBody>
      </p:sp>
      <p:sp>
        <p:nvSpPr>
          <p:cNvPr id="11" name="Picture Placeholder 2"/>
          <p:cNvSpPr>
            <a:spLocks noGrp="1"/>
          </p:cNvSpPr>
          <p:nvPr>
            <p:ph type="pic" sz="quarter" idx="16"/>
          </p:nvPr>
        </p:nvSpPr>
        <p:spPr>
          <a:xfrm>
            <a:off x="5222027" y="2867990"/>
            <a:ext cx="1658787" cy="2170700"/>
          </a:xfrm>
          <a:prstGeom prst="rect">
            <a:avLst/>
          </a:prstGeom>
          <a:solidFill>
            <a:schemeClr val="bg1">
              <a:lumMod val="95000"/>
            </a:schemeClr>
          </a:solidFill>
        </p:spPr>
        <p:txBody>
          <a:bodyPr>
            <a:normAutofit/>
          </a:bodyPr>
          <a:lstStyle>
            <a:lvl1pPr>
              <a:defRPr sz="900"/>
            </a:lvl1pPr>
          </a:lstStyle>
          <a:p>
            <a:r>
              <a:rPr lang="en-US"/>
              <a:t>Click icon to add picture</a:t>
            </a:r>
          </a:p>
        </p:txBody>
      </p:sp>
      <p:sp>
        <p:nvSpPr>
          <p:cNvPr id="12" name="Picture Placeholder 2"/>
          <p:cNvSpPr>
            <a:spLocks noGrp="1"/>
          </p:cNvSpPr>
          <p:nvPr>
            <p:ph type="pic" sz="quarter" idx="17"/>
          </p:nvPr>
        </p:nvSpPr>
        <p:spPr>
          <a:xfrm>
            <a:off x="8875573" y="2854185"/>
            <a:ext cx="1658787" cy="2170700"/>
          </a:xfrm>
          <a:prstGeom prst="rect">
            <a:avLst/>
          </a:prstGeom>
          <a:solidFill>
            <a:schemeClr val="bg1">
              <a:lumMod val="95000"/>
            </a:schemeClr>
          </a:solidFill>
        </p:spPr>
        <p:txBody>
          <a:bodyPr>
            <a:normAutofit/>
          </a:bodyPr>
          <a:lstStyle>
            <a:lvl1pPr>
              <a:defRPr sz="900"/>
            </a:lvl1pPr>
          </a:lstStyle>
          <a:p>
            <a:r>
              <a:rPr lang="en-US"/>
              <a:t>Click icon to add picture</a:t>
            </a:r>
          </a:p>
        </p:txBody>
      </p:sp>
      <p:sp>
        <p:nvSpPr>
          <p:cNvPr id="5"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38441773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8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1247873" y="2659224"/>
            <a:ext cx="3005240" cy="193143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Picture Placeholder 2"/>
          <p:cNvSpPr>
            <a:spLocks noGrp="1"/>
          </p:cNvSpPr>
          <p:nvPr>
            <p:ph type="pic" sz="quarter" idx="27"/>
          </p:nvPr>
        </p:nvSpPr>
        <p:spPr>
          <a:xfrm>
            <a:off x="4574324" y="2659224"/>
            <a:ext cx="3005240" cy="193143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1" name="Picture Placeholder 2"/>
          <p:cNvSpPr>
            <a:spLocks noGrp="1"/>
          </p:cNvSpPr>
          <p:nvPr>
            <p:ph type="pic" sz="quarter" idx="28"/>
          </p:nvPr>
        </p:nvSpPr>
        <p:spPr>
          <a:xfrm>
            <a:off x="7900777" y="2659224"/>
            <a:ext cx="3005240" cy="193143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5" name="Title Placeholder 18"/>
          <p:cNvSpPr>
            <a:spLocks noGrp="1"/>
          </p:cNvSpPr>
          <p:nvPr>
            <p:ph type="title"/>
          </p:nvPr>
        </p:nvSpPr>
        <p:spPr>
          <a:xfrm>
            <a:off x="609600" y="366186"/>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203503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hree square images">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1247873" y="2104140"/>
            <a:ext cx="3005240" cy="300678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1" name="Picture Placeholder 8"/>
          <p:cNvSpPr>
            <a:spLocks noGrp="1"/>
          </p:cNvSpPr>
          <p:nvPr>
            <p:ph type="pic" sz="quarter" idx="11"/>
          </p:nvPr>
        </p:nvSpPr>
        <p:spPr>
          <a:xfrm>
            <a:off x="4574325" y="2104140"/>
            <a:ext cx="3005240" cy="300678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2" name="Picture Placeholder 8"/>
          <p:cNvSpPr>
            <a:spLocks noGrp="1"/>
          </p:cNvSpPr>
          <p:nvPr>
            <p:ph type="pic" sz="quarter" idx="12"/>
          </p:nvPr>
        </p:nvSpPr>
        <p:spPr>
          <a:xfrm>
            <a:off x="7900777" y="2104140"/>
            <a:ext cx="3005240" cy="300678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5" name="Title Placeholder 18"/>
          <p:cNvSpPr>
            <a:spLocks noGrp="1"/>
          </p:cNvSpPr>
          <p:nvPr>
            <p:ph type="title"/>
          </p:nvPr>
        </p:nvSpPr>
        <p:spPr>
          <a:xfrm>
            <a:off x="609600" y="366186"/>
            <a:ext cx="10972800" cy="132503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361171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1" y="1901826"/>
            <a:ext cx="10972801" cy="4425951"/>
          </a:xfrm>
          <a:prstGeom prst="rect">
            <a:avLst/>
          </a:prstGeom>
        </p:spPr>
        <p:txBody>
          <a:bodyPr>
            <a:normAutofit/>
          </a:bodyPr>
          <a:lstStyle>
            <a:lvl1pPr marL="0" indent="0">
              <a:lnSpc>
                <a:spcPct val="100000"/>
              </a:lnSpc>
              <a:buNone/>
              <a:defRPr sz="1800"/>
            </a:lvl1pPr>
            <a:lvl2pPr marL="457189" indent="0">
              <a:lnSpc>
                <a:spcPct val="100000"/>
              </a:lnSpc>
              <a:buNone/>
              <a:defRPr sz="1800"/>
            </a:lvl2pPr>
            <a:lvl3pPr marL="914377" indent="0">
              <a:lnSpc>
                <a:spcPct val="100000"/>
              </a:lnSpc>
              <a:buNone/>
              <a:defRPr sz="1600"/>
            </a:lvl3pPr>
            <a:lvl4pPr marL="1371566" indent="0">
              <a:lnSpc>
                <a:spcPct val="100000"/>
              </a:lnSpc>
              <a:buNone/>
              <a:defRPr sz="1600"/>
            </a:lvl4pPr>
            <a:lvl5pPr marL="1828754" indent="0">
              <a:lnSpc>
                <a:spcPct val="1000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2" hasCustomPrompt="1"/>
          </p:nvPr>
        </p:nvSpPr>
        <p:spPr>
          <a:xfrm>
            <a:off x="8703227"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947004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hree images on right">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063127" y="1709531"/>
            <a:ext cx="4127948" cy="450975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8" name="Picture Placeholder 2"/>
          <p:cNvSpPr>
            <a:spLocks noGrp="1"/>
          </p:cNvSpPr>
          <p:nvPr>
            <p:ph type="pic" sz="quarter" idx="15"/>
          </p:nvPr>
        </p:nvSpPr>
        <p:spPr>
          <a:xfrm>
            <a:off x="4469035" y="1709531"/>
            <a:ext cx="3311096" cy="2176671"/>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9" name="Picture Placeholder 2"/>
          <p:cNvSpPr>
            <a:spLocks noGrp="1"/>
          </p:cNvSpPr>
          <p:nvPr>
            <p:ph type="pic" sz="quarter" idx="16"/>
          </p:nvPr>
        </p:nvSpPr>
        <p:spPr>
          <a:xfrm>
            <a:off x="4469035" y="4180824"/>
            <a:ext cx="3268880" cy="2677176"/>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389327984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hree images on left">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84468" y="1709531"/>
            <a:ext cx="3311096" cy="514846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4" name="Picture Placeholder 2"/>
          <p:cNvSpPr>
            <a:spLocks noGrp="1"/>
          </p:cNvSpPr>
          <p:nvPr>
            <p:ph type="pic" sz="quarter" idx="15"/>
          </p:nvPr>
        </p:nvSpPr>
        <p:spPr>
          <a:xfrm>
            <a:off x="4478561" y="1709531"/>
            <a:ext cx="3311096" cy="2176671"/>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5" name="Picture Placeholder 2"/>
          <p:cNvSpPr>
            <a:spLocks noGrp="1"/>
          </p:cNvSpPr>
          <p:nvPr>
            <p:ph type="pic" sz="quarter" idx="16"/>
          </p:nvPr>
        </p:nvSpPr>
        <p:spPr>
          <a:xfrm>
            <a:off x="4520777" y="4180824"/>
            <a:ext cx="3268880" cy="2677176"/>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5"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30777244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hree images, two screened">
    <p:spTree>
      <p:nvGrpSpPr>
        <p:cNvPr id="1" name=""/>
        <p:cNvGrpSpPr/>
        <p:nvPr/>
      </p:nvGrpSpPr>
      <p:grpSpPr>
        <a:xfrm>
          <a:off x="0" y="0"/>
          <a:ext cx="0" cy="0"/>
          <a:chOff x="0" y="0"/>
          <a:chExt cx="0" cy="0"/>
        </a:xfrm>
      </p:grpSpPr>
      <p:sp>
        <p:nvSpPr>
          <p:cNvPr id="12" name="Picture Placeholder 2"/>
          <p:cNvSpPr>
            <a:spLocks noGrp="1"/>
          </p:cNvSpPr>
          <p:nvPr>
            <p:ph type="pic" sz="quarter" idx="14"/>
          </p:nvPr>
        </p:nvSpPr>
        <p:spPr>
          <a:xfrm>
            <a:off x="-1" y="1691218"/>
            <a:ext cx="9410220" cy="330590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7" name="Picture Placeholder 2"/>
          <p:cNvSpPr>
            <a:spLocks noGrp="1"/>
          </p:cNvSpPr>
          <p:nvPr>
            <p:ph type="pic" sz="quarter" idx="16"/>
          </p:nvPr>
        </p:nvSpPr>
        <p:spPr>
          <a:xfrm>
            <a:off x="9410221" y="1"/>
            <a:ext cx="2781780" cy="330590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8" name="Picture Placeholder 2"/>
          <p:cNvSpPr>
            <a:spLocks noGrp="1"/>
          </p:cNvSpPr>
          <p:nvPr>
            <p:ph type="pic" sz="quarter" idx="17"/>
          </p:nvPr>
        </p:nvSpPr>
        <p:spPr>
          <a:xfrm>
            <a:off x="9410221" y="3305909"/>
            <a:ext cx="2781780" cy="3552092"/>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Rectangle 5"/>
          <p:cNvSpPr/>
          <p:nvPr userDrawn="1"/>
        </p:nvSpPr>
        <p:spPr>
          <a:xfrm rot="10800000">
            <a:off x="10150548" y="6471458"/>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1" name="Slide Number Placeholder 4"/>
          <p:cNvSpPr txBox="1">
            <a:spLocks/>
          </p:cNvSpPr>
          <p:nvPr userDrawn="1"/>
        </p:nvSpPr>
        <p:spPr>
          <a:xfrm>
            <a:off x="11574065" y="6494607"/>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49ABE76F-FC54-F649-B9BE-517951935A9B}" type="slidenum">
              <a:rPr lang="en-US" sz="1333" smtClean="0">
                <a:solidFill>
                  <a:srgbClr val="FFFFFF"/>
                </a:solidFill>
              </a:rPr>
              <a:pPr/>
              <a:t>‹#›</a:t>
            </a:fld>
            <a:endParaRPr lang="en-US" sz="1333">
              <a:solidFill>
                <a:srgbClr val="FFFFFF"/>
              </a:solidFill>
            </a:endParaRPr>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1561"/>
            <a:ext cx="765552" cy="206703"/>
          </a:xfrm>
          <a:prstGeom prst="rect">
            <a:avLst/>
          </a:prstGeom>
        </p:spPr>
      </p:pic>
      <p:cxnSp>
        <p:nvCxnSpPr>
          <p:cNvPr id="14" name="Straight Connector 13"/>
          <p:cNvCxnSpPr/>
          <p:nvPr userDrawn="1"/>
        </p:nvCxnSpPr>
        <p:spPr>
          <a:xfrm>
            <a:off x="11518607" y="6587054"/>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le Placeholder 18"/>
          <p:cNvSpPr>
            <a:spLocks noGrp="1"/>
          </p:cNvSpPr>
          <p:nvPr>
            <p:ph type="title"/>
          </p:nvPr>
        </p:nvSpPr>
        <p:spPr>
          <a:xfrm>
            <a:off x="609600" y="366185"/>
            <a:ext cx="8800619" cy="1325033"/>
          </a:xfrm>
          <a:prstGeom prst="rect">
            <a:avLst/>
          </a:prstGeom>
        </p:spPr>
        <p:txBody>
          <a:bodyPr vert="horz" lIns="91440" tIns="45720" rIns="91440" bIns="45720" rtlCol="0" anchor="t">
            <a:normAutofit/>
          </a:bodyPr>
          <a:lstStyle>
            <a:lvl1pPr algn="l">
              <a:defRPr/>
            </a:lvl1pPr>
          </a:lstStyle>
          <a:p>
            <a:r>
              <a:rPr lang="en-US"/>
              <a:t>Click to edit Master title style</a:t>
            </a:r>
          </a:p>
        </p:txBody>
      </p:sp>
    </p:spTree>
    <p:extLst>
      <p:ext uri="{BB962C8B-B14F-4D97-AF65-F5344CB8AC3E}">
        <p14:creationId xmlns:p14="http://schemas.microsoft.com/office/powerpoint/2010/main" val="289135491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Four images at top">
    <p:spTree>
      <p:nvGrpSpPr>
        <p:cNvPr id="1" name=""/>
        <p:cNvGrpSpPr/>
        <p:nvPr/>
      </p:nvGrpSpPr>
      <p:grpSpPr>
        <a:xfrm>
          <a:off x="0" y="0"/>
          <a:ext cx="0" cy="0"/>
          <a:chOff x="0" y="0"/>
          <a:chExt cx="0" cy="0"/>
        </a:xfrm>
      </p:grpSpPr>
      <p:sp>
        <p:nvSpPr>
          <p:cNvPr id="14" name="Picture Placeholder 2"/>
          <p:cNvSpPr>
            <a:spLocks noGrp="1"/>
          </p:cNvSpPr>
          <p:nvPr>
            <p:ph type="pic" sz="quarter" idx="16"/>
          </p:nvPr>
        </p:nvSpPr>
        <p:spPr>
          <a:xfrm>
            <a:off x="1" y="0"/>
            <a:ext cx="3046420" cy="28956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5" name="Picture Placeholder 2"/>
          <p:cNvSpPr>
            <a:spLocks noGrp="1"/>
          </p:cNvSpPr>
          <p:nvPr>
            <p:ph type="pic" sz="quarter" idx="17"/>
          </p:nvPr>
        </p:nvSpPr>
        <p:spPr>
          <a:xfrm>
            <a:off x="3046421" y="0"/>
            <a:ext cx="3046420" cy="28956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18"/>
          </p:nvPr>
        </p:nvSpPr>
        <p:spPr>
          <a:xfrm>
            <a:off x="6096001" y="0"/>
            <a:ext cx="3046420" cy="28956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0" name="Picture Placeholder 2"/>
          <p:cNvSpPr>
            <a:spLocks noGrp="1"/>
          </p:cNvSpPr>
          <p:nvPr>
            <p:ph type="pic" sz="quarter" idx="19"/>
          </p:nvPr>
        </p:nvSpPr>
        <p:spPr>
          <a:xfrm>
            <a:off x="9142421" y="0"/>
            <a:ext cx="3046420" cy="28956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6" name="Title Placeholder 18"/>
          <p:cNvSpPr>
            <a:spLocks noGrp="1"/>
          </p:cNvSpPr>
          <p:nvPr>
            <p:ph type="title"/>
          </p:nvPr>
        </p:nvSpPr>
        <p:spPr>
          <a:xfrm>
            <a:off x="609600" y="2895601"/>
            <a:ext cx="10972800" cy="132503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8836829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Four images right, full height">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5959974" y="1"/>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2" name="Picture Placeholder 2"/>
          <p:cNvSpPr>
            <a:spLocks noGrp="1"/>
          </p:cNvSpPr>
          <p:nvPr>
            <p:ph type="pic" sz="quarter" idx="19"/>
          </p:nvPr>
        </p:nvSpPr>
        <p:spPr>
          <a:xfrm>
            <a:off x="9161475" y="1"/>
            <a:ext cx="3030525"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3" name="Picture Placeholder 2"/>
          <p:cNvSpPr>
            <a:spLocks noGrp="1"/>
          </p:cNvSpPr>
          <p:nvPr>
            <p:ph type="pic" sz="quarter" idx="20"/>
          </p:nvPr>
        </p:nvSpPr>
        <p:spPr>
          <a:xfrm>
            <a:off x="5959974" y="3497193"/>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4" name="Picture Placeholder 2"/>
          <p:cNvSpPr>
            <a:spLocks noGrp="1"/>
          </p:cNvSpPr>
          <p:nvPr>
            <p:ph type="pic" sz="quarter" idx="21"/>
          </p:nvPr>
        </p:nvSpPr>
        <p:spPr>
          <a:xfrm>
            <a:off x="9161476" y="3497193"/>
            <a:ext cx="3030525"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5"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7" name="Straight Connector 16"/>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9015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Four images left, full height">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1" y="1"/>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2" name="Picture Placeholder 2"/>
          <p:cNvSpPr>
            <a:spLocks noGrp="1"/>
          </p:cNvSpPr>
          <p:nvPr>
            <p:ph type="pic" sz="quarter" idx="19"/>
          </p:nvPr>
        </p:nvSpPr>
        <p:spPr>
          <a:xfrm>
            <a:off x="3185607" y="1"/>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3" name="Picture Placeholder 2"/>
          <p:cNvSpPr>
            <a:spLocks noGrp="1"/>
          </p:cNvSpPr>
          <p:nvPr>
            <p:ph type="pic" sz="quarter" idx="20"/>
          </p:nvPr>
        </p:nvSpPr>
        <p:spPr>
          <a:xfrm>
            <a:off x="1" y="3497193"/>
            <a:ext cx="3046420"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4" name="Picture Placeholder 2"/>
          <p:cNvSpPr>
            <a:spLocks noGrp="1"/>
          </p:cNvSpPr>
          <p:nvPr>
            <p:ph type="pic" sz="quarter" idx="21"/>
          </p:nvPr>
        </p:nvSpPr>
        <p:spPr>
          <a:xfrm>
            <a:off x="3185607" y="3497193"/>
            <a:ext cx="3030525" cy="3360809"/>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12275918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0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1247873" y="763279"/>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0" name="Picture Placeholder 2"/>
          <p:cNvSpPr>
            <a:spLocks noGrp="1"/>
          </p:cNvSpPr>
          <p:nvPr>
            <p:ph type="pic" sz="quarter" idx="27"/>
          </p:nvPr>
        </p:nvSpPr>
        <p:spPr>
          <a:xfrm>
            <a:off x="4574324" y="763279"/>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1" name="Picture Placeholder 2"/>
          <p:cNvSpPr>
            <a:spLocks noGrp="1"/>
          </p:cNvSpPr>
          <p:nvPr>
            <p:ph type="pic" sz="quarter" idx="28"/>
          </p:nvPr>
        </p:nvSpPr>
        <p:spPr>
          <a:xfrm>
            <a:off x="7900777" y="763279"/>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0" name="Picture Placeholder 2"/>
          <p:cNvSpPr>
            <a:spLocks noGrp="1"/>
          </p:cNvSpPr>
          <p:nvPr>
            <p:ph type="pic" sz="quarter" idx="29"/>
          </p:nvPr>
        </p:nvSpPr>
        <p:spPr>
          <a:xfrm>
            <a:off x="1247873" y="3690384"/>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1" name="Picture Placeholder 2"/>
          <p:cNvSpPr>
            <a:spLocks noGrp="1"/>
          </p:cNvSpPr>
          <p:nvPr>
            <p:ph type="pic" sz="quarter" idx="30"/>
          </p:nvPr>
        </p:nvSpPr>
        <p:spPr>
          <a:xfrm>
            <a:off x="4574324" y="3690384"/>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2" name="Picture Placeholder 2"/>
          <p:cNvSpPr>
            <a:spLocks noGrp="1"/>
          </p:cNvSpPr>
          <p:nvPr>
            <p:ph type="pic" sz="quarter" idx="31"/>
          </p:nvPr>
        </p:nvSpPr>
        <p:spPr>
          <a:xfrm>
            <a:off x="7900777" y="3690384"/>
            <a:ext cx="3005240" cy="1596229"/>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18952640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Six images on right">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4652725" y="1"/>
            <a:ext cx="2461332" cy="33909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8" name="Picture Placeholder 2"/>
          <p:cNvSpPr>
            <a:spLocks noGrp="1"/>
          </p:cNvSpPr>
          <p:nvPr>
            <p:ph type="pic" sz="quarter" idx="22"/>
          </p:nvPr>
        </p:nvSpPr>
        <p:spPr>
          <a:xfrm>
            <a:off x="4652975" y="3490216"/>
            <a:ext cx="2461332" cy="3367785"/>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3"/>
          </p:nvPr>
        </p:nvSpPr>
        <p:spPr>
          <a:xfrm>
            <a:off x="7223334" y="1"/>
            <a:ext cx="2420135" cy="249475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0" name="Picture Placeholder 2"/>
          <p:cNvSpPr>
            <a:spLocks noGrp="1"/>
          </p:cNvSpPr>
          <p:nvPr>
            <p:ph type="pic" sz="quarter" idx="24"/>
          </p:nvPr>
        </p:nvSpPr>
        <p:spPr>
          <a:xfrm>
            <a:off x="7223334" y="2594074"/>
            <a:ext cx="2420135" cy="426392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5" name="Picture Placeholder 2"/>
          <p:cNvSpPr>
            <a:spLocks noGrp="1"/>
          </p:cNvSpPr>
          <p:nvPr>
            <p:ph type="pic" sz="quarter" idx="25"/>
          </p:nvPr>
        </p:nvSpPr>
        <p:spPr>
          <a:xfrm>
            <a:off x="9762432" y="0"/>
            <a:ext cx="2429569" cy="469126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6" name="Picture Placeholder 2"/>
          <p:cNvSpPr>
            <a:spLocks noGrp="1"/>
          </p:cNvSpPr>
          <p:nvPr>
            <p:ph type="pic" sz="quarter" idx="26"/>
          </p:nvPr>
        </p:nvSpPr>
        <p:spPr>
          <a:xfrm>
            <a:off x="9752496" y="4790584"/>
            <a:ext cx="2439505" cy="2067416"/>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3"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4"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6" name="Straight Connector 15"/>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88120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Six images on left">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1" y="1"/>
            <a:ext cx="2461332" cy="3390900"/>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8" name="Picture Placeholder 2"/>
          <p:cNvSpPr>
            <a:spLocks noGrp="1"/>
          </p:cNvSpPr>
          <p:nvPr>
            <p:ph type="pic" sz="quarter" idx="22"/>
          </p:nvPr>
        </p:nvSpPr>
        <p:spPr>
          <a:xfrm>
            <a:off x="251" y="3490216"/>
            <a:ext cx="2461332" cy="3367785"/>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19" name="Picture Placeholder 2"/>
          <p:cNvSpPr>
            <a:spLocks noGrp="1"/>
          </p:cNvSpPr>
          <p:nvPr>
            <p:ph type="pic" sz="quarter" idx="23"/>
          </p:nvPr>
        </p:nvSpPr>
        <p:spPr>
          <a:xfrm>
            <a:off x="2570610" y="1"/>
            <a:ext cx="2420135" cy="249475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0" name="Picture Placeholder 2"/>
          <p:cNvSpPr>
            <a:spLocks noGrp="1"/>
          </p:cNvSpPr>
          <p:nvPr>
            <p:ph type="pic" sz="quarter" idx="24"/>
          </p:nvPr>
        </p:nvSpPr>
        <p:spPr>
          <a:xfrm>
            <a:off x="2570610" y="2594074"/>
            <a:ext cx="2420135" cy="4263927"/>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5" name="Picture Placeholder 2"/>
          <p:cNvSpPr>
            <a:spLocks noGrp="1"/>
          </p:cNvSpPr>
          <p:nvPr>
            <p:ph type="pic" sz="quarter" idx="25"/>
          </p:nvPr>
        </p:nvSpPr>
        <p:spPr>
          <a:xfrm>
            <a:off x="5109708" y="0"/>
            <a:ext cx="2429569" cy="4691269"/>
          </a:xfrm>
          <a:prstGeom prst="rect">
            <a:avLst/>
          </a:prstGeom>
          <a:solidFill>
            <a:schemeClr val="bg1">
              <a:lumMod val="95000"/>
            </a:schemeClr>
          </a:solidFill>
        </p:spPr>
        <p:txBody>
          <a:bodyPr>
            <a:normAutofit/>
          </a:bodyPr>
          <a:lstStyle>
            <a:lvl1pPr>
              <a:defRPr sz="1400"/>
            </a:lvl1pPr>
          </a:lstStyle>
          <a:p>
            <a:r>
              <a:rPr lang="en-US"/>
              <a:t>Click icon to add picture</a:t>
            </a:r>
          </a:p>
        </p:txBody>
      </p:sp>
      <p:sp>
        <p:nvSpPr>
          <p:cNvPr id="26" name="Picture Placeholder 2"/>
          <p:cNvSpPr>
            <a:spLocks noGrp="1"/>
          </p:cNvSpPr>
          <p:nvPr>
            <p:ph type="pic" sz="quarter" idx="26"/>
          </p:nvPr>
        </p:nvSpPr>
        <p:spPr>
          <a:xfrm>
            <a:off x="5099772" y="4790584"/>
            <a:ext cx="2439505" cy="2067416"/>
          </a:xfrm>
          <a:prstGeom prst="rect">
            <a:avLst/>
          </a:prstGeom>
          <a:solidFill>
            <a:schemeClr val="bg1">
              <a:lumMod val="95000"/>
            </a:schemeClr>
          </a:solidFill>
        </p:spPr>
        <p:txBody>
          <a:bodyPr>
            <a:normAutofit/>
          </a:bodyPr>
          <a:lstStyle>
            <a:lvl1pPr>
              <a:defRPr sz="1400"/>
            </a:lvl1pPr>
          </a:lstStyle>
          <a:p>
            <a:r>
              <a:rPr lang="en-US"/>
              <a:t>Click icon to add picture</a:t>
            </a:r>
          </a:p>
        </p:txBody>
      </p:sp>
    </p:spTree>
    <p:extLst>
      <p:ext uri="{BB962C8B-B14F-4D97-AF65-F5344CB8AC3E}">
        <p14:creationId xmlns:p14="http://schemas.microsoft.com/office/powerpoint/2010/main" val="14973327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Six image grid">
    <p:spTree>
      <p:nvGrpSpPr>
        <p:cNvPr id="1" name=""/>
        <p:cNvGrpSpPr/>
        <p:nvPr/>
      </p:nvGrpSpPr>
      <p:grpSpPr>
        <a:xfrm>
          <a:off x="0" y="0"/>
          <a:ext cx="0" cy="0"/>
          <a:chOff x="0" y="0"/>
          <a:chExt cx="0" cy="0"/>
        </a:xfrm>
      </p:grpSpPr>
      <p:sp>
        <p:nvSpPr>
          <p:cNvPr id="15" name="Picture Placeholder 17"/>
          <p:cNvSpPr>
            <a:spLocks noGrp="1"/>
          </p:cNvSpPr>
          <p:nvPr>
            <p:ph type="pic" sz="quarter" idx="14"/>
          </p:nvPr>
        </p:nvSpPr>
        <p:spPr>
          <a:xfrm>
            <a:off x="1238896" y="2699255"/>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16" name="Picture Placeholder 17"/>
          <p:cNvSpPr>
            <a:spLocks noGrp="1"/>
          </p:cNvSpPr>
          <p:nvPr>
            <p:ph type="pic" sz="quarter" idx="15"/>
          </p:nvPr>
        </p:nvSpPr>
        <p:spPr>
          <a:xfrm>
            <a:off x="4748763" y="2699255"/>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17" name="Picture Placeholder 17"/>
          <p:cNvSpPr>
            <a:spLocks noGrp="1"/>
          </p:cNvSpPr>
          <p:nvPr>
            <p:ph type="pic" sz="quarter" idx="16"/>
          </p:nvPr>
        </p:nvSpPr>
        <p:spPr>
          <a:xfrm>
            <a:off x="1238896" y="4373596"/>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18" name="Picture Placeholder 17"/>
          <p:cNvSpPr>
            <a:spLocks noGrp="1"/>
          </p:cNvSpPr>
          <p:nvPr>
            <p:ph type="pic" sz="quarter" idx="17"/>
          </p:nvPr>
        </p:nvSpPr>
        <p:spPr>
          <a:xfrm>
            <a:off x="4748763" y="4373596"/>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19" name="Picture Placeholder 17"/>
          <p:cNvSpPr>
            <a:spLocks noGrp="1"/>
          </p:cNvSpPr>
          <p:nvPr>
            <p:ph type="pic" sz="quarter" idx="18"/>
          </p:nvPr>
        </p:nvSpPr>
        <p:spPr>
          <a:xfrm>
            <a:off x="8234276" y="2699255"/>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20" name="Picture Placeholder 17"/>
          <p:cNvSpPr>
            <a:spLocks noGrp="1"/>
          </p:cNvSpPr>
          <p:nvPr>
            <p:ph type="pic" sz="quarter" idx="19"/>
          </p:nvPr>
        </p:nvSpPr>
        <p:spPr>
          <a:xfrm>
            <a:off x="8234276" y="4373596"/>
            <a:ext cx="2694475" cy="1334528"/>
          </a:xfrm>
          <a:prstGeom prst="rect">
            <a:avLst/>
          </a:prstGeom>
          <a:solidFill>
            <a:schemeClr val="bg1">
              <a:lumMod val="95000"/>
            </a:schemeClr>
          </a:solidFill>
        </p:spPr>
        <p:txBody>
          <a:bodyPr>
            <a:normAutofit/>
          </a:bodyPr>
          <a:lstStyle>
            <a:lvl1pPr marL="0" indent="0">
              <a:buNone/>
              <a:defRPr sz="1400">
                <a:solidFill>
                  <a:schemeClr val="tx1"/>
                </a:solidFill>
              </a:defRPr>
            </a:lvl1pPr>
          </a:lstStyle>
          <a:p>
            <a:r>
              <a:rPr lang="en-US"/>
              <a:t>Click icon to add picture</a:t>
            </a:r>
          </a:p>
        </p:txBody>
      </p:sp>
      <p:sp>
        <p:nvSpPr>
          <p:cNvPr id="8"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34963192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slideLayout" Target="../slideLayouts/slideLayout282.xml"/><Relationship Id="rId18" Type="http://schemas.openxmlformats.org/officeDocument/2006/relationships/slideLayout" Target="../slideLayouts/slideLayout287.xml"/><Relationship Id="rId26" Type="http://schemas.openxmlformats.org/officeDocument/2006/relationships/slideLayout" Target="../slideLayouts/slideLayout295.xml"/><Relationship Id="rId3" Type="http://schemas.openxmlformats.org/officeDocument/2006/relationships/slideLayout" Target="../slideLayouts/slideLayout272.xml"/><Relationship Id="rId21" Type="http://schemas.openxmlformats.org/officeDocument/2006/relationships/slideLayout" Target="../slideLayouts/slideLayout290.xml"/><Relationship Id="rId7" Type="http://schemas.openxmlformats.org/officeDocument/2006/relationships/slideLayout" Target="../slideLayouts/slideLayout276.xml"/><Relationship Id="rId12" Type="http://schemas.openxmlformats.org/officeDocument/2006/relationships/slideLayout" Target="../slideLayouts/slideLayout281.xml"/><Relationship Id="rId17" Type="http://schemas.openxmlformats.org/officeDocument/2006/relationships/slideLayout" Target="../slideLayouts/slideLayout286.xml"/><Relationship Id="rId25" Type="http://schemas.openxmlformats.org/officeDocument/2006/relationships/slideLayout" Target="../slideLayouts/slideLayout294.xml"/><Relationship Id="rId2" Type="http://schemas.openxmlformats.org/officeDocument/2006/relationships/slideLayout" Target="../slideLayouts/slideLayout271.xml"/><Relationship Id="rId16" Type="http://schemas.openxmlformats.org/officeDocument/2006/relationships/slideLayout" Target="../slideLayouts/slideLayout285.xml"/><Relationship Id="rId20" Type="http://schemas.openxmlformats.org/officeDocument/2006/relationships/slideLayout" Target="../slideLayouts/slideLayout289.xml"/><Relationship Id="rId29" Type="http://schemas.openxmlformats.org/officeDocument/2006/relationships/slideLayout" Target="../slideLayouts/slideLayout298.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24" Type="http://schemas.openxmlformats.org/officeDocument/2006/relationships/slideLayout" Target="../slideLayouts/slideLayout293.xml"/><Relationship Id="rId32" Type="http://schemas.openxmlformats.org/officeDocument/2006/relationships/theme" Target="../theme/theme10.xml"/><Relationship Id="rId5" Type="http://schemas.openxmlformats.org/officeDocument/2006/relationships/slideLayout" Target="../slideLayouts/slideLayout274.xml"/><Relationship Id="rId15" Type="http://schemas.openxmlformats.org/officeDocument/2006/relationships/slideLayout" Target="../slideLayouts/slideLayout284.xml"/><Relationship Id="rId23" Type="http://schemas.openxmlformats.org/officeDocument/2006/relationships/slideLayout" Target="../slideLayouts/slideLayout292.xml"/><Relationship Id="rId28" Type="http://schemas.openxmlformats.org/officeDocument/2006/relationships/slideLayout" Target="../slideLayouts/slideLayout297.xml"/><Relationship Id="rId10" Type="http://schemas.openxmlformats.org/officeDocument/2006/relationships/slideLayout" Target="../slideLayouts/slideLayout279.xml"/><Relationship Id="rId19" Type="http://schemas.openxmlformats.org/officeDocument/2006/relationships/slideLayout" Target="../slideLayouts/slideLayout288.xml"/><Relationship Id="rId31" Type="http://schemas.openxmlformats.org/officeDocument/2006/relationships/slideLayout" Target="../slideLayouts/slideLayout300.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slideLayout" Target="../slideLayouts/slideLayout283.xml"/><Relationship Id="rId22" Type="http://schemas.openxmlformats.org/officeDocument/2006/relationships/slideLayout" Target="../slideLayouts/slideLayout291.xml"/><Relationship Id="rId27" Type="http://schemas.openxmlformats.org/officeDocument/2006/relationships/slideLayout" Target="../slideLayouts/slideLayout296.xml"/><Relationship Id="rId30" Type="http://schemas.openxmlformats.org/officeDocument/2006/relationships/slideLayout" Target="../slideLayouts/slideLayout29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2.emf"/><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132.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63" Type="http://schemas.openxmlformats.org/officeDocument/2006/relationships/slideLayout" Target="../slideLayouts/slideLayout78.xml"/><Relationship Id="rId84" Type="http://schemas.openxmlformats.org/officeDocument/2006/relationships/slideLayout" Target="../slideLayouts/slideLayout99.xml"/><Relationship Id="rId138" Type="http://schemas.openxmlformats.org/officeDocument/2006/relationships/slideLayout" Target="../slideLayouts/slideLayout153.xml"/><Relationship Id="rId159" Type="http://schemas.openxmlformats.org/officeDocument/2006/relationships/slideLayout" Target="../slideLayouts/slideLayout174.xml"/><Relationship Id="rId170" Type="http://schemas.openxmlformats.org/officeDocument/2006/relationships/slideLayout" Target="../slideLayouts/slideLayout185.xml"/><Relationship Id="rId107" Type="http://schemas.openxmlformats.org/officeDocument/2006/relationships/slideLayout" Target="../slideLayouts/slideLayout122.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53" Type="http://schemas.openxmlformats.org/officeDocument/2006/relationships/slideLayout" Target="../slideLayouts/slideLayout68.xml"/><Relationship Id="rId74" Type="http://schemas.openxmlformats.org/officeDocument/2006/relationships/slideLayout" Target="../slideLayouts/slideLayout89.xml"/><Relationship Id="rId128" Type="http://schemas.openxmlformats.org/officeDocument/2006/relationships/slideLayout" Target="../slideLayouts/slideLayout143.xml"/><Relationship Id="rId149" Type="http://schemas.openxmlformats.org/officeDocument/2006/relationships/slideLayout" Target="../slideLayouts/slideLayout164.xml"/><Relationship Id="rId5" Type="http://schemas.openxmlformats.org/officeDocument/2006/relationships/slideLayout" Target="../slideLayouts/slideLayout20.xml"/><Relationship Id="rId95" Type="http://schemas.openxmlformats.org/officeDocument/2006/relationships/slideLayout" Target="../slideLayouts/slideLayout110.xml"/><Relationship Id="rId160" Type="http://schemas.openxmlformats.org/officeDocument/2006/relationships/slideLayout" Target="../slideLayouts/slideLayout175.xml"/><Relationship Id="rId181" Type="http://schemas.openxmlformats.org/officeDocument/2006/relationships/slideLayout" Target="../slideLayouts/slideLayout196.xml"/><Relationship Id="rId22" Type="http://schemas.openxmlformats.org/officeDocument/2006/relationships/slideLayout" Target="../slideLayouts/slideLayout37.xml"/><Relationship Id="rId43" Type="http://schemas.openxmlformats.org/officeDocument/2006/relationships/slideLayout" Target="../slideLayouts/slideLayout58.xml"/><Relationship Id="rId64" Type="http://schemas.openxmlformats.org/officeDocument/2006/relationships/slideLayout" Target="../slideLayouts/slideLayout79.xml"/><Relationship Id="rId118" Type="http://schemas.openxmlformats.org/officeDocument/2006/relationships/slideLayout" Target="../slideLayouts/slideLayout133.xml"/><Relationship Id="rId139" Type="http://schemas.openxmlformats.org/officeDocument/2006/relationships/slideLayout" Target="../slideLayouts/slideLayout154.xml"/><Relationship Id="rId85" Type="http://schemas.openxmlformats.org/officeDocument/2006/relationships/slideLayout" Target="../slideLayouts/slideLayout100.xml"/><Relationship Id="rId150" Type="http://schemas.openxmlformats.org/officeDocument/2006/relationships/slideLayout" Target="../slideLayouts/slideLayout165.xml"/><Relationship Id="rId171" Type="http://schemas.openxmlformats.org/officeDocument/2006/relationships/slideLayout" Target="../slideLayouts/slideLayout186.xml"/><Relationship Id="rId12" Type="http://schemas.openxmlformats.org/officeDocument/2006/relationships/slideLayout" Target="../slideLayouts/slideLayout27.xml"/><Relationship Id="rId33" Type="http://schemas.openxmlformats.org/officeDocument/2006/relationships/slideLayout" Target="../slideLayouts/slideLayout48.xml"/><Relationship Id="rId108" Type="http://schemas.openxmlformats.org/officeDocument/2006/relationships/slideLayout" Target="../slideLayouts/slideLayout123.xml"/><Relationship Id="rId129" Type="http://schemas.openxmlformats.org/officeDocument/2006/relationships/slideLayout" Target="../slideLayouts/slideLayout144.xml"/><Relationship Id="rId54" Type="http://schemas.openxmlformats.org/officeDocument/2006/relationships/slideLayout" Target="../slideLayouts/slideLayout69.xml"/><Relationship Id="rId75" Type="http://schemas.openxmlformats.org/officeDocument/2006/relationships/slideLayout" Target="../slideLayouts/slideLayout90.xml"/><Relationship Id="rId96" Type="http://schemas.openxmlformats.org/officeDocument/2006/relationships/slideLayout" Target="../slideLayouts/slideLayout111.xml"/><Relationship Id="rId140" Type="http://schemas.openxmlformats.org/officeDocument/2006/relationships/slideLayout" Target="../slideLayouts/slideLayout155.xml"/><Relationship Id="rId161" Type="http://schemas.openxmlformats.org/officeDocument/2006/relationships/slideLayout" Target="../slideLayouts/slideLayout176.xml"/><Relationship Id="rId182" Type="http://schemas.openxmlformats.org/officeDocument/2006/relationships/slideLayout" Target="../slideLayouts/slideLayout197.xml"/><Relationship Id="rId6" Type="http://schemas.openxmlformats.org/officeDocument/2006/relationships/slideLayout" Target="../slideLayouts/slideLayout21.xml"/><Relationship Id="rId23" Type="http://schemas.openxmlformats.org/officeDocument/2006/relationships/slideLayout" Target="../slideLayouts/slideLayout38.xml"/><Relationship Id="rId119" Type="http://schemas.openxmlformats.org/officeDocument/2006/relationships/slideLayout" Target="../slideLayouts/slideLayout134.xml"/><Relationship Id="rId44" Type="http://schemas.openxmlformats.org/officeDocument/2006/relationships/slideLayout" Target="../slideLayouts/slideLayout59.xml"/><Relationship Id="rId65" Type="http://schemas.openxmlformats.org/officeDocument/2006/relationships/slideLayout" Target="../slideLayouts/slideLayout80.xml"/><Relationship Id="rId86" Type="http://schemas.openxmlformats.org/officeDocument/2006/relationships/slideLayout" Target="../slideLayouts/slideLayout101.xml"/><Relationship Id="rId130" Type="http://schemas.openxmlformats.org/officeDocument/2006/relationships/slideLayout" Target="../slideLayouts/slideLayout145.xml"/><Relationship Id="rId151" Type="http://schemas.openxmlformats.org/officeDocument/2006/relationships/slideLayout" Target="../slideLayouts/slideLayout166.xml"/><Relationship Id="rId172" Type="http://schemas.openxmlformats.org/officeDocument/2006/relationships/slideLayout" Target="../slideLayouts/slideLayout187.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109" Type="http://schemas.openxmlformats.org/officeDocument/2006/relationships/slideLayout" Target="../slideLayouts/slideLayout12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97" Type="http://schemas.openxmlformats.org/officeDocument/2006/relationships/slideLayout" Target="../slideLayouts/slideLayout112.xml"/><Relationship Id="rId104" Type="http://schemas.openxmlformats.org/officeDocument/2006/relationships/slideLayout" Target="../slideLayouts/slideLayout119.xml"/><Relationship Id="rId120" Type="http://schemas.openxmlformats.org/officeDocument/2006/relationships/slideLayout" Target="../slideLayouts/slideLayout135.xml"/><Relationship Id="rId125" Type="http://schemas.openxmlformats.org/officeDocument/2006/relationships/slideLayout" Target="../slideLayouts/slideLayout140.xml"/><Relationship Id="rId141" Type="http://schemas.openxmlformats.org/officeDocument/2006/relationships/slideLayout" Target="../slideLayouts/slideLayout156.xml"/><Relationship Id="rId146" Type="http://schemas.openxmlformats.org/officeDocument/2006/relationships/slideLayout" Target="../slideLayouts/slideLayout161.xml"/><Relationship Id="rId167" Type="http://schemas.openxmlformats.org/officeDocument/2006/relationships/slideLayout" Target="../slideLayouts/slideLayout182.xml"/><Relationship Id="rId188" Type="http://schemas.openxmlformats.org/officeDocument/2006/relationships/slideLayout" Target="../slideLayouts/slideLayout203.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92" Type="http://schemas.openxmlformats.org/officeDocument/2006/relationships/slideLayout" Target="../slideLayouts/slideLayout107.xml"/><Relationship Id="rId162" Type="http://schemas.openxmlformats.org/officeDocument/2006/relationships/slideLayout" Target="../slideLayouts/slideLayout177.xml"/><Relationship Id="rId183" Type="http://schemas.openxmlformats.org/officeDocument/2006/relationships/slideLayout" Target="../slideLayouts/slideLayout198.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87" Type="http://schemas.openxmlformats.org/officeDocument/2006/relationships/slideLayout" Target="../slideLayouts/slideLayout102.xml"/><Relationship Id="rId110" Type="http://schemas.openxmlformats.org/officeDocument/2006/relationships/slideLayout" Target="../slideLayouts/slideLayout125.xml"/><Relationship Id="rId115" Type="http://schemas.openxmlformats.org/officeDocument/2006/relationships/slideLayout" Target="../slideLayouts/slideLayout130.xml"/><Relationship Id="rId131" Type="http://schemas.openxmlformats.org/officeDocument/2006/relationships/slideLayout" Target="../slideLayouts/slideLayout146.xml"/><Relationship Id="rId136" Type="http://schemas.openxmlformats.org/officeDocument/2006/relationships/slideLayout" Target="../slideLayouts/slideLayout151.xml"/><Relationship Id="rId157" Type="http://schemas.openxmlformats.org/officeDocument/2006/relationships/slideLayout" Target="../slideLayouts/slideLayout172.xml"/><Relationship Id="rId178" Type="http://schemas.openxmlformats.org/officeDocument/2006/relationships/slideLayout" Target="../slideLayouts/slideLayout193.xml"/><Relationship Id="rId61" Type="http://schemas.openxmlformats.org/officeDocument/2006/relationships/slideLayout" Target="../slideLayouts/slideLayout76.xml"/><Relationship Id="rId82" Type="http://schemas.openxmlformats.org/officeDocument/2006/relationships/slideLayout" Target="../slideLayouts/slideLayout97.xml"/><Relationship Id="rId152" Type="http://schemas.openxmlformats.org/officeDocument/2006/relationships/slideLayout" Target="../slideLayouts/slideLayout167.xml"/><Relationship Id="rId173" Type="http://schemas.openxmlformats.org/officeDocument/2006/relationships/slideLayout" Target="../slideLayouts/slideLayout188.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56" Type="http://schemas.openxmlformats.org/officeDocument/2006/relationships/slideLayout" Target="../slideLayouts/slideLayout71.xml"/><Relationship Id="rId77" Type="http://schemas.openxmlformats.org/officeDocument/2006/relationships/slideLayout" Target="../slideLayouts/slideLayout92.xml"/><Relationship Id="rId100" Type="http://schemas.openxmlformats.org/officeDocument/2006/relationships/slideLayout" Target="../slideLayouts/slideLayout115.xml"/><Relationship Id="rId105" Type="http://schemas.openxmlformats.org/officeDocument/2006/relationships/slideLayout" Target="../slideLayouts/slideLayout120.xml"/><Relationship Id="rId126" Type="http://schemas.openxmlformats.org/officeDocument/2006/relationships/slideLayout" Target="../slideLayouts/slideLayout141.xml"/><Relationship Id="rId147" Type="http://schemas.openxmlformats.org/officeDocument/2006/relationships/slideLayout" Target="../slideLayouts/slideLayout162.xml"/><Relationship Id="rId168" Type="http://schemas.openxmlformats.org/officeDocument/2006/relationships/slideLayout" Target="../slideLayouts/slideLayout183.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93" Type="http://schemas.openxmlformats.org/officeDocument/2006/relationships/slideLayout" Target="../slideLayouts/slideLayout108.xml"/><Relationship Id="rId98" Type="http://schemas.openxmlformats.org/officeDocument/2006/relationships/slideLayout" Target="../slideLayouts/slideLayout113.xml"/><Relationship Id="rId121" Type="http://schemas.openxmlformats.org/officeDocument/2006/relationships/slideLayout" Target="../slideLayouts/slideLayout136.xml"/><Relationship Id="rId142" Type="http://schemas.openxmlformats.org/officeDocument/2006/relationships/slideLayout" Target="../slideLayouts/slideLayout157.xml"/><Relationship Id="rId163" Type="http://schemas.openxmlformats.org/officeDocument/2006/relationships/slideLayout" Target="../slideLayouts/slideLayout178.xml"/><Relationship Id="rId184" Type="http://schemas.openxmlformats.org/officeDocument/2006/relationships/slideLayout" Target="../slideLayouts/slideLayout199.xml"/><Relationship Id="rId189" Type="http://schemas.openxmlformats.org/officeDocument/2006/relationships/theme" Target="../theme/theme3.xml"/><Relationship Id="rId3" Type="http://schemas.openxmlformats.org/officeDocument/2006/relationships/slideLayout" Target="../slideLayouts/slideLayout18.xml"/><Relationship Id="rId25" Type="http://schemas.openxmlformats.org/officeDocument/2006/relationships/slideLayout" Target="../slideLayouts/slideLayout40.xml"/><Relationship Id="rId46" Type="http://schemas.openxmlformats.org/officeDocument/2006/relationships/slideLayout" Target="../slideLayouts/slideLayout61.xml"/><Relationship Id="rId67" Type="http://schemas.openxmlformats.org/officeDocument/2006/relationships/slideLayout" Target="../slideLayouts/slideLayout82.xml"/><Relationship Id="rId116" Type="http://schemas.openxmlformats.org/officeDocument/2006/relationships/slideLayout" Target="../slideLayouts/slideLayout131.xml"/><Relationship Id="rId137" Type="http://schemas.openxmlformats.org/officeDocument/2006/relationships/slideLayout" Target="../slideLayouts/slideLayout152.xml"/><Relationship Id="rId158" Type="http://schemas.openxmlformats.org/officeDocument/2006/relationships/slideLayout" Target="../slideLayouts/slideLayout173.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62" Type="http://schemas.openxmlformats.org/officeDocument/2006/relationships/slideLayout" Target="../slideLayouts/slideLayout77.xml"/><Relationship Id="rId83" Type="http://schemas.openxmlformats.org/officeDocument/2006/relationships/slideLayout" Target="../slideLayouts/slideLayout98.xml"/><Relationship Id="rId88" Type="http://schemas.openxmlformats.org/officeDocument/2006/relationships/slideLayout" Target="../slideLayouts/slideLayout103.xml"/><Relationship Id="rId111" Type="http://schemas.openxmlformats.org/officeDocument/2006/relationships/slideLayout" Target="../slideLayouts/slideLayout126.xml"/><Relationship Id="rId132" Type="http://schemas.openxmlformats.org/officeDocument/2006/relationships/slideLayout" Target="../slideLayouts/slideLayout147.xml"/><Relationship Id="rId153" Type="http://schemas.openxmlformats.org/officeDocument/2006/relationships/slideLayout" Target="../slideLayouts/slideLayout168.xml"/><Relationship Id="rId174" Type="http://schemas.openxmlformats.org/officeDocument/2006/relationships/slideLayout" Target="../slideLayouts/slideLayout189.xml"/><Relationship Id="rId179" Type="http://schemas.openxmlformats.org/officeDocument/2006/relationships/slideLayout" Target="../slideLayouts/slideLayout194.xml"/><Relationship Id="rId190" Type="http://schemas.openxmlformats.org/officeDocument/2006/relationships/image" Target="../media/image2.emf"/><Relationship Id="rId15" Type="http://schemas.openxmlformats.org/officeDocument/2006/relationships/slideLayout" Target="../slideLayouts/slideLayout30.xml"/><Relationship Id="rId36" Type="http://schemas.openxmlformats.org/officeDocument/2006/relationships/slideLayout" Target="../slideLayouts/slideLayout51.xml"/><Relationship Id="rId57" Type="http://schemas.openxmlformats.org/officeDocument/2006/relationships/slideLayout" Target="../slideLayouts/slideLayout72.xml"/><Relationship Id="rId106" Type="http://schemas.openxmlformats.org/officeDocument/2006/relationships/slideLayout" Target="../slideLayouts/slideLayout121.xml"/><Relationship Id="rId127" Type="http://schemas.openxmlformats.org/officeDocument/2006/relationships/slideLayout" Target="../slideLayouts/slideLayout14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52" Type="http://schemas.openxmlformats.org/officeDocument/2006/relationships/slideLayout" Target="../slideLayouts/slideLayout67.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94" Type="http://schemas.openxmlformats.org/officeDocument/2006/relationships/slideLayout" Target="../slideLayouts/slideLayout109.xml"/><Relationship Id="rId99" Type="http://schemas.openxmlformats.org/officeDocument/2006/relationships/slideLayout" Target="../slideLayouts/slideLayout114.xml"/><Relationship Id="rId101" Type="http://schemas.openxmlformats.org/officeDocument/2006/relationships/slideLayout" Target="../slideLayouts/slideLayout116.xml"/><Relationship Id="rId122" Type="http://schemas.openxmlformats.org/officeDocument/2006/relationships/slideLayout" Target="../slideLayouts/slideLayout137.xml"/><Relationship Id="rId143" Type="http://schemas.openxmlformats.org/officeDocument/2006/relationships/slideLayout" Target="../slideLayouts/slideLayout158.xml"/><Relationship Id="rId148" Type="http://schemas.openxmlformats.org/officeDocument/2006/relationships/slideLayout" Target="../slideLayouts/slideLayout163.xml"/><Relationship Id="rId164" Type="http://schemas.openxmlformats.org/officeDocument/2006/relationships/slideLayout" Target="../slideLayouts/slideLayout179.xml"/><Relationship Id="rId169" Type="http://schemas.openxmlformats.org/officeDocument/2006/relationships/slideLayout" Target="../slideLayouts/slideLayout184.xml"/><Relationship Id="rId185" Type="http://schemas.openxmlformats.org/officeDocument/2006/relationships/slideLayout" Target="../slideLayouts/slideLayout200.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80" Type="http://schemas.openxmlformats.org/officeDocument/2006/relationships/slideLayout" Target="../slideLayouts/slideLayout195.xml"/><Relationship Id="rId26" Type="http://schemas.openxmlformats.org/officeDocument/2006/relationships/slideLayout" Target="../slideLayouts/slideLayout41.xml"/><Relationship Id="rId47" Type="http://schemas.openxmlformats.org/officeDocument/2006/relationships/slideLayout" Target="../slideLayouts/slideLayout62.xml"/><Relationship Id="rId68" Type="http://schemas.openxmlformats.org/officeDocument/2006/relationships/slideLayout" Target="../slideLayouts/slideLayout83.xml"/><Relationship Id="rId89" Type="http://schemas.openxmlformats.org/officeDocument/2006/relationships/slideLayout" Target="../slideLayouts/slideLayout104.xml"/><Relationship Id="rId112" Type="http://schemas.openxmlformats.org/officeDocument/2006/relationships/slideLayout" Target="../slideLayouts/slideLayout127.xml"/><Relationship Id="rId133" Type="http://schemas.openxmlformats.org/officeDocument/2006/relationships/slideLayout" Target="../slideLayouts/slideLayout148.xml"/><Relationship Id="rId154" Type="http://schemas.openxmlformats.org/officeDocument/2006/relationships/slideLayout" Target="../slideLayouts/slideLayout169.xml"/><Relationship Id="rId175" Type="http://schemas.openxmlformats.org/officeDocument/2006/relationships/slideLayout" Target="../slideLayouts/slideLayout190.xml"/><Relationship Id="rId16" Type="http://schemas.openxmlformats.org/officeDocument/2006/relationships/slideLayout" Target="../slideLayouts/slideLayout31.xml"/><Relationship Id="rId37" Type="http://schemas.openxmlformats.org/officeDocument/2006/relationships/slideLayout" Target="../slideLayouts/slideLayout52.xml"/><Relationship Id="rId58" Type="http://schemas.openxmlformats.org/officeDocument/2006/relationships/slideLayout" Target="../slideLayouts/slideLayout73.xml"/><Relationship Id="rId79" Type="http://schemas.openxmlformats.org/officeDocument/2006/relationships/slideLayout" Target="../slideLayouts/slideLayout94.xml"/><Relationship Id="rId102" Type="http://schemas.openxmlformats.org/officeDocument/2006/relationships/slideLayout" Target="../slideLayouts/slideLayout117.xml"/><Relationship Id="rId123" Type="http://schemas.openxmlformats.org/officeDocument/2006/relationships/slideLayout" Target="../slideLayouts/slideLayout138.xml"/><Relationship Id="rId144" Type="http://schemas.openxmlformats.org/officeDocument/2006/relationships/slideLayout" Target="../slideLayouts/slideLayout159.xml"/><Relationship Id="rId90" Type="http://schemas.openxmlformats.org/officeDocument/2006/relationships/slideLayout" Target="../slideLayouts/slideLayout105.xml"/><Relationship Id="rId165" Type="http://schemas.openxmlformats.org/officeDocument/2006/relationships/slideLayout" Target="../slideLayouts/slideLayout180.xml"/><Relationship Id="rId186" Type="http://schemas.openxmlformats.org/officeDocument/2006/relationships/slideLayout" Target="../slideLayouts/slideLayout201.xml"/><Relationship Id="rId27" Type="http://schemas.openxmlformats.org/officeDocument/2006/relationships/slideLayout" Target="../slideLayouts/slideLayout42.xml"/><Relationship Id="rId48" Type="http://schemas.openxmlformats.org/officeDocument/2006/relationships/slideLayout" Target="../slideLayouts/slideLayout63.xml"/><Relationship Id="rId69" Type="http://schemas.openxmlformats.org/officeDocument/2006/relationships/slideLayout" Target="../slideLayouts/slideLayout84.xml"/><Relationship Id="rId113" Type="http://schemas.openxmlformats.org/officeDocument/2006/relationships/slideLayout" Target="../slideLayouts/slideLayout128.xml"/><Relationship Id="rId134" Type="http://schemas.openxmlformats.org/officeDocument/2006/relationships/slideLayout" Target="../slideLayouts/slideLayout149.xml"/><Relationship Id="rId80" Type="http://schemas.openxmlformats.org/officeDocument/2006/relationships/slideLayout" Target="../slideLayouts/slideLayout95.xml"/><Relationship Id="rId155" Type="http://schemas.openxmlformats.org/officeDocument/2006/relationships/slideLayout" Target="../slideLayouts/slideLayout170.xml"/><Relationship Id="rId176" Type="http://schemas.openxmlformats.org/officeDocument/2006/relationships/slideLayout" Target="../slideLayouts/slideLayout191.xml"/><Relationship Id="rId17" Type="http://schemas.openxmlformats.org/officeDocument/2006/relationships/slideLayout" Target="../slideLayouts/slideLayout32.xml"/><Relationship Id="rId38" Type="http://schemas.openxmlformats.org/officeDocument/2006/relationships/slideLayout" Target="../slideLayouts/slideLayout53.xml"/><Relationship Id="rId59" Type="http://schemas.openxmlformats.org/officeDocument/2006/relationships/slideLayout" Target="../slideLayouts/slideLayout74.xml"/><Relationship Id="rId103" Type="http://schemas.openxmlformats.org/officeDocument/2006/relationships/slideLayout" Target="../slideLayouts/slideLayout118.xml"/><Relationship Id="rId124" Type="http://schemas.openxmlformats.org/officeDocument/2006/relationships/slideLayout" Target="../slideLayouts/slideLayout139.xml"/><Relationship Id="rId70" Type="http://schemas.openxmlformats.org/officeDocument/2006/relationships/slideLayout" Target="../slideLayouts/slideLayout85.xml"/><Relationship Id="rId91" Type="http://schemas.openxmlformats.org/officeDocument/2006/relationships/slideLayout" Target="../slideLayouts/slideLayout106.xml"/><Relationship Id="rId145" Type="http://schemas.openxmlformats.org/officeDocument/2006/relationships/slideLayout" Target="../slideLayouts/slideLayout160.xml"/><Relationship Id="rId166" Type="http://schemas.openxmlformats.org/officeDocument/2006/relationships/slideLayout" Target="../slideLayouts/slideLayout181.xml"/><Relationship Id="rId187" Type="http://schemas.openxmlformats.org/officeDocument/2006/relationships/slideLayout" Target="../slideLayouts/slideLayout202.xml"/><Relationship Id="rId1" Type="http://schemas.openxmlformats.org/officeDocument/2006/relationships/slideLayout" Target="../slideLayouts/slideLayout16.xml"/><Relationship Id="rId28" Type="http://schemas.openxmlformats.org/officeDocument/2006/relationships/slideLayout" Target="../slideLayouts/slideLayout43.xml"/><Relationship Id="rId49" Type="http://schemas.openxmlformats.org/officeDocument/2006/relationships/slideLayout" Target="../slideLayouts/slideLayout64.xml"/><Relationship Id="rId114" Type="http://schemas.openxmlformats.org/officeDocument/2006/relationships/slideLayout" Target="../slideLayouts/slideLayout129.xml"/><Relationship Id="rId60" Type="http://schemas.openxmlformats.org/officeDocument/2006/relationships/slideLayout" Target="../slideLayouts/slideLayout75.xml"/><Relationship Id="rId81" Type="http://schemas.openxmlformats.org/officeDocument/2006/relationships/slideLayout" Target="../slideLayouts/slideLayout96.xml"/><Relationship Id="rId135" Type="http://schemas.openxmlformats.org/officeDocument/2006/relationships/slideLayout" Target="../slideLayouts/slideLayout150.xml"/><Relationship Id="rId156" Type="http://schemas.openxmlformats.org/officeDocument/2006/relationships/slideLayout" Target="../slideLayouts/slideLayout171.xml"/><Relationship Id="rId177" Type="http://schemas.openxmlformats.org/officeDocument/2006/relationships/slideLayout" Target="../slideLayouts/slideLayout19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oleObject" Target="../embeddings/oleObject9.bin"/><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tags" Target="../tags/tag18.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theme" Target="../theme/theme4.xml"/><Relationship Id="rId5" Type="http://schemas.openxmlformats.org/officeDocument/2006/relationships/slideLayout" Target="../slideLayouts/slideLayout208.xml"/><Relationship Id="rId15" Type="http://schemas.openxmlformats.org/officeDocument/2006/relationships/image" Target="../media/image2.emf"/><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216.xml"/><Relationship Id="rId7" Type="http://schemas.openxmlformats.org/officeDocument/2006/relationships/theme" Target="../theme/theme5.xml"/><Relationship Id="rId2" Type="http://schemas.openxmlformats.org/officeDocument/2006/relationships/slideLayout" Target="../slideLayouts/slideLayout215.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5" Type="http://schemas.openxmlformats.org/officeDocument/2006/relationships/slideLayout" Target="../slideLayouts/slideLayout218.xml"/><Relationship Id="rId4" Type="http://schemas.openxmlformats.org/officeDocument/2006/relationships/slideLayout" Target="../slideLayouts/slideLayout2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image" Target="../media/image2.emf"/><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theme" Target="../theme/theme6.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33.xml"/><Relationship Id="rId7" Type="http://schemas.openxmlformats.org/officeDocument/2006/relationships/image" Target="../media/image1.emf"/><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oleObject" Target="../embeddings/oleObject10.bin"/><Relationship Id="rId5" Type="http://schemas.openxmlformats.org/officeDocument/2006/relationships/tags" Target="../tags/tag19.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3" Type="http://schemas.openxmlformats.org/officeDocument/2006/relationships/slideLayout" Target="../slideLayouts/slideLayout236.xml"/><Relationship Id="rId21" Type="http://schemas.openxmlformats.org/officeDocument/2006/relationships/slideLayout" Target="../slideLayouts/slideLayout254.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image" Target="../media/image1.emf"/><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24" Type="http://schemas.openxmlformats.org/officeDocument/2006/relationships/oleObject" Target="../embeddings/oleObject11.bin"/><Relationship Id="rId5" Type="http://schemas.openxmlformats.org/officeDocument/2006/relationships/slideLayout" Target="../slideLayouts/slideLayout238.xml"/><Relationship Id="rId15" Type="http://schemas.openxmlformats.org/officeDocument/2006/relationships/slideLayout" Target="../slideLayouts/slideLayout248.xml"/><Relationship Id="rId23" Type="http://schemas.openxmlformats.org/officeDocument/2006/relationships/tags" Target="../tags/tag20.xml"/><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6" Type="http://schemas.openxmlformats.org/officeDocument/2006/relationships/theme" Target="../theme/theme9.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6A7787-CC95-40F8-8E53-FEF476C8D2C7}"/>
              </a:ext>
            </a:extLst>
          </p:cNvPr>
          <p:cNvGraphicFramePr>
            <a:graphicFrameLocks noChangeAspect="1"/>
          </p:cNvGraphicFramePr>
          <p:nvPr userDrawn="1">
            <p:custDataLst>
              <p:tags r:id="rId9"/>
            </p:custDataLst>
            <p:extLst>
              <p:ext uri="{D42A27DB-BD31-4B8C-83A1-F6EECF244321}">
                <p14:modId xmlns:p14="http://schemas.microsoft.com/office/powerpoint/2010/main" val="1101196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DF6A7787-CC95-40F8-8E53-FEF476C8D2C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529D8D-A77A-4A85-B07A-50430F44267B}"/>
              </a:ext>
            </a:extLst>
          </p:cNvPr>
          <p:cNvSpPr/>
          <p:nvPr userDrawn="1">
            <p:custDataLst>
              <p:tags r:id="rId1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Arial" panose="020B0604020202020204" pitchFamily="34" charset="0"/>
              <a:cs typeface="Arial" panose="020B0604020202020204" pitchFamily="34" charset="0"/>
              <a:sym typeface="Arial" panose="020B0604020202020204" pitchFamily="34" charset="0"/>
            </a:endParaRPr>
          </a:p>
        </p:txBody>
      </p: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7919501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dt="0"/>
  <p:txStyles>
    <p:titleStyle>
      <a:lvl1pPr algn="l" defTabSz="914400" rtl="0" eaLnBrk="1" latinLnBrk="0" hangingPunct="1">
        <a:lnSpc>
          <a:spcPct val="100000"/>
        </a:lnSpc>
        <a:spcBef>
          <a:spcPct val="0"/>
        </a:spcBef>
        <a:buNone/>
        <a:defRPr sz="2400" b="1" i="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tângulo 11">
            <a:extLst>
              <a:ext uri="{FF2B5EF4-FFF2-40B4-BE49-F238E27FC236}">
                <a16:creationId xmlns:a16="http://schemas.microsoft.com/office/drawing/2014/main" id="{47B0ABF0-1517-55D2-9C34-BAD1336F04E6}"/>
              </a:ext>
            </a:extLst>
          </p:cNvPr>
          <p:cNvSpPr/>
          <p:nvPr/>
        </p:nvSpPr>
        <p:spPr>
          <a:xfrm>
            <a:off x="0" y="6629400"/>
            <a:ext cx="12192000" cy="228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930928880"/>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3987" r:id="rId19"/>
    <p:sldLayoutId id="2147483988" r:id="rId20"/>
    <p:sldLayoutId id="2147483989" r:id="rId21"/>
    <p:sldLayoutId id="2147483990" r:id="rId22"/>
    <p:sldLayoutId id="2147483991" r:id="rId23"/>
    <p:sldLayoutId id="2147483992" r:id="rId24"/>
    <p:sldLayoutId id="2147483993" r:id="rId25"/>
    <p:sldLayoutId id="2147483994" r:id="rId26"/>
    <p:sldLayoutId id="2147483995" r:id="rId27"/>
    <p:sldLayoutId id="2147483996" r:id="rId28"/>
    <p:sldLayoutId id="2147483997" r:id="rId29"/>
    <p:sldLayoutId id="2147483998" r:id="rId30"/>
    <p:sldLayoutId id="2147483999" r:id="rId3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5"/>
          <p:cNvSpPr/>
          <p:nvPr userDrawn="1"/>
        </p:nvSpPr>
        <p:spPr>
          <a:xfrm rot="10800000">
            <a:off x="10150548" y="6472865"/>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9"/>
            <a:endParaRPr lang="en-US" sz="2400" dirty="0">
              <a:solidFill>
                <a:srgbClr val="FFFFFF"/>
              </a:solidFill>
            </a:endParaRPr>
          </a:p>
        </p:txBody>
      </p:sp>
      <p:sp>
        <p:nvSpPr>
          <p:cNvPr id="8" name="Slide Number Placeholder 4"/>
          <p:cNvSpPr txBox="1">
            <a:spLocks/>
          </p:cNvSpPr>
          <p:nvPr userDrawn="1"/>
        </p:nvSpPr>
        <p:spPr>
          <a:xfrm>
            <a:off x="11574065" y="6496014"/>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dirty="0">
              <a:solidFill>
                <a:srgbClr val="FFFFFF"/>
              </a:solidFill>
            </a:endParaRPr>
          </a:p>
        </p:txBody>
      </p:sp>
      <p:pic>
        <p:nvPicPr>
          <p:cNvPr id="9" name="Picture 8"/>
          <p:cNvPicPr>
            <a:picLocks noChangeAspect="1"/>
          </p:cNvPicPr>
          <p:nvPr userDrawn="1"/>
        </p:nvPicPr>
        <p:blipFill rotWithShape="1">
          <a:blip r:embed="rId10" cstate="email">
            <a:extLst>
              <a:ext uri="{28A0092B-C50C-407E-A947-70E740481C1C}">
                <a14:useLocalDpi xmlns:a14="http://schemas.microsoft.com/office/drawing/2010/main"/>
              </a:ext>
            </a:extLst>
          </a:blip>
          <a:srcRect b="50000"/>
          <a:stretch/>
        </p:blipFill>
        <p:spPr>
          <a:xfrm>
            <a:off x="10565109" y="6622967"/>
            <a:ext cx="765552" cy="206703"/>
          </a:xfrm>
          <a:prstGeom prst="rect">
            <a:avLst/>
          </a:prstGeom>
        </p:spPr>
      </p:pic>
      <p:cxnSp>
        <p:nvCxnSpPr>
          <p:cNvPr id="10" name="Straight Connector 9"/>
          <p:cNvCxnSpPr/>
          <p:nvPr userDrawn="1"/>
        </p:nvCxnSpPr>
        <p:spPr>
          <a:xfrm>
            <a:off x="11518607" y="6575351"/>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endParaRPr lang="en-US" dirty="0"/>
          </a:p>
        </p:txBody>
      </p:sp>
    </p:spTree>
    <p:extLst>
      <p:ext uri="{BB962C8B-B14F-4D97-AF65-F5344CB8AC3E}">
        <p14:creationId xmlns:p14="http://schemas.microsoft.com/office/powerpoint/2010/main" val="1273227369"/>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7" r:id="rId5"/>
    <p:sldLayoutId id="2147483689" r:id="rId6"/>
    <p:sldLayoutId id="2147483690" r:id="rId7"/>
    <p:sldLayoutId id="2147483691" r:id="rId8"/>
  </p:sldLayoutIdLst>
  <p:hf hdr="0" ftr="0" dt="0"/>
  <p:txStyles>
    <p:titleStyle>
      <a:lvl1pPr algn="l" defTabSz="914377"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p:titleStyle>
    <p:bodyStyle>
      <a:lvl1pPr marL="228594" indent="-228594" algn="l" defTabSz="914377"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783"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2971" indent="-228594" algn="l" defTabSz="914377"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160" indent="-228594" algn="l" defTabSz="914377"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8"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a:solidFill>
                <a:srgbClr val="FFFFFF"/>
              </a:solidFill>
            </a:endParaRPr>
          </a:p>
        </p:txBody>
      </p:sp>
      <p:pic>
        <p:nvPicPr>
          <p:cNvPr id="9" name="Picture 8"/>
          <p:cNvPicPr>
            <a:picLocks noChangeAspect="1"/>
          </p:cNvPicPr>
          <p:nvPr userDrawn="1"/>
        </p:nvPicPr>
        <p:blipFill rotWithShape="1">
          <a:blip r:embed="rId190" cstate="print">
            <a:extLst>
              <a:ext uri="{28A0092B-C50C-407E-A947-70E740481C1C}">
                <a14:useLocalDpi xmlns:a14="http://schemas.microsoft.com/office/drawing/2010/main" val="0"/>
              </a:ext>
            </a:extLst>
          </a:blip>
          <a:srcRect b="50000"/>
          <a:stretch/>
        </p:blipFill>
        <p:spPr>
          <a:xfrm>
            <a:off x="10565109" y="6622966"/>
            <a:ext cx="765552" cy="206703"/>
          </a:xfrm>
          <a:prstGeom prst="rect">
            <a:avLst/>
          </a:prstGeom>
        </p:spPr>
      </p:pic>
      <p:cxnSp>
        <p:nvCxnSpPr>
          <p:cNvPr id="10" name="Straight Connector 9"/>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70821866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1" r:id="rId39"/>
    <p:sldLayoutId id="2147483732" r:id="rId40"/>
    <p:sldLayoutId id="2147483733" r:id="rId41"/>
    <p:sldLayoutId id="2147483734" r:id="rId42"/>
    <p:sldLayoutId id="2147483735" r:id="rId43"/>
    <p:sldLayoutId id="2147483736" r:id="rId44"/>
    <p:sldLayoutId id="2147483737" r:id="rId45"/>
    <p:sldLayoutId id="2147483738" r:id="rId46"/>
    <p:sldLayoutId id="2147483739" r:id="rId47"/>
    <p:sldLayoutId id="2147483740" r:id="rId48"/>
    <p:sldLayoutId id="2147483741" r:id="rId49"/>
    <p:sldLayoutId id="2147483742" r:id="rId50"/>
    <p:sldLayoutId id="2147483743" r:id="rId51"/>
    <p:sldLayoutId id="2147483744" r:id="rId52"/>
    <p:sldLayoutId id="2147483745" r:id="rId53"/>
    <p:sldLayoutId id="2147483746" r:id="rId54"/>
    <p:sldLayoutId id="2147483747" r:id="rId55"/>
    <p:sldLayoutId id="2147483748" r:id="rId56"/>
    <p:sldLayoutId id="2147483749" r:id="rId57"/>
    <p:sldLayoutId id="2147483750" r:id="rId58"/>
    <p:sldLayoutId id="2147483751" r:id="rId59"/>
    <p:sldLayoutId id="2147483752" r:id="rId60"/>
    <p:sldLayoutId id="2147483753" r:id="rId61"/>
    <p:sldLayoutId id="2147483754" r:id="rId62"/>
    <p:sldLayoutId id="2147483755" r:id="rId63"/>
    <p:sldLayoutId id="2147483756" r:id="rId64"/>
    <p:sldLayoutId id="2147483757" r:id="rId65"/>
    <p:sldLayoutId id="2147483758" r:id="rId66"/>
    <p:sldLayoutId id="2147483759" r:id="rId67"/>
    <p:sldLayoutId id="2147483760" r:id="rId68"/>
    <p:sldLayoutId id="2147483761" r:id="rId69"/>
    <p:sldLayoutId id="2147483762" r:id="rId70"/>
    <p:sldLayoutId id="2147483763" r:id="rId71"/>
    <p:sldLayoutId id="2147483764" r:id="rId72"/>
    <p:sldLayoutId id="2147483765" r:id="rId73"/>
    <p:sldLayoutId id="2147483766" r:id="rId74"/>
    <p:sldLayoutId id="2147483767" r:id="rId75"/>
    <p:sldLayoutId id="2147483768" r:id="rId76"/>
    <p:sldLayoutId id="2147483769" r:id="rId77"/>
    <p:sldLayoutId id="2147483770" r:id="rId78"/>
    <p:sldLayoutId id="2147483771" r:id="rId79"/>
    <p:sldLayoutId id="2147483772" r:id="rId80"/>
    <p:sldLayoutId id="2147483773" r:id="rId81"/>
    <p:sldLayoutId id="2147483774" r:id="rId82"/>
    <p:sldLayoutId id="2147483775" r:id="rId83"/>
    <p:sldLayoutId id="2147483776" r:id="rId84"/>
    <p:sldLayoutId id="2147483777" r:id="rId85"/>
    <p:sldLayoutId id="2147483778" r:id="rId86"/>
    <p:sldLayoutId id="2147483779" r:id="rId87"/>
    <p:sldLayoutId id="2147483780" r:id="rId88"/>
    <p:sldLayoutId id="2147483781" r:id="rId89"/>
    <p:sldLayoutId id="2147483782" r:id="rId90"/>
    <p:sldLayoutId id="2147483783" r:id="rId91"/>
    <p:sldLayoutId id="2147483784" r:id="rId92"/>
    <p:sldLayoutId id="2147483785" r:id="rId93"/>
    <p:sldLayoutId id="2147483786" r:id="rId94"/>
    <p:sldLayoutId id="2147483787" r:id="rId95"/>
    <p:sldLayoutId id="2147483788" r:id="rId96"/>
    <p:sldLayoutId id="2147483789" r:id="rId97"/>
    <p:sldLayoutId id="2147483790" r:id="rId98"/>
    <p:sldLayoutId id="2147483791" r:id="rId99"/>
    <p:sldLayoutId id="2147483792" r:id="rId100"/>
    <p:sldLayoutId id="2147483793" r:id="rId101"/>
    <p:sldLayoutId id="2147483794" r:id="rId102"/>
    <p:sldLayoutId id="2147483795" r:id="rId103"/>
    <p:sldLayoutId id="2147483796" r:id="rId104"/>
    <p:sldLayoutId id="2147483797" r:id="rId105"/>
    <p:sldLayoutId id="2147483798" r:id="rId106"/>
    <p:sldLayoutId id="2147483799" r:id="rId107"/>
    <p:sldLayoutId id="2147483800" r:id="rId108"/>
    <p:sldLayoutId id="2147483801" r:id="rId109"/>
    <p:sldLayoutId id="2147483802" r:id="rId110"/>
    <p:sldLayoutId id="2147483803" r:id="rId111"/>
    <p:sldLayoutId id="2147483804" r:id="rId112"/>
    <p:sldLayoutId id="2147483805" r:id="rId113"/>
    <p:sldLayoutId id="2147483806" r:id="rId114"/>
    <p:sldLayoutId id="2147483807" r:id="rId115"/>
    <p:sldLayoutId id="2147483808" r:id="rId116"/>
    <p:sldLayoutId id="2147483809" r:id="rId117"/>
    <p:sldLayoutId id="2147483810" r:id="rId118"/>
    <p:sldLayoutId id="2147483811" r:id="rId119"/>
    <p:sldLayoutId id="2147483812" r:id="rId120"/>
    <p:sldLayoutId id="2147483813" r:id="rId121"/>
    <p:sldLayoutId id="2147483814" r:id="rId122"/>
    <p:sldLayoutId id="2147483815" r:id="rId123"/>
    <p:sldLayoutId id="2147483816" r:id="rId124"/>
    <p:sldLayoutId id="2147483817" r:id="rId125"/>
    <p:sldLayoutId id="2147483818" r:id="rId126"/>
    <p:sldLayoutId id="2147483819" r:id="rId127"/>
    <p:sldLayoutId id="2147483820" r:id="rId128"/>
    <p:sldLayoutId id="2147483821" r:id="rId129"/>
    <p:sldLayoutId id="2147483822" r:id="rId130"/>
    <p:sldLayoutId id="2147483823" r:id="rId131"/>
    <p:sldLayoutId id="2147483824" r:id="rId132"/>
    <p:sldLayoutId id="2147483825" r:id="rId133"/>
    <p:sldLayoutId id="2147483826" r:id="rId134"/>
    <p:sldLayoutId id="2147483827" r:id="rId135"/>
    <p:sldLayoutId id="2147483828" r:id="rId136"/>
    <p:sldLayoutId id="2147483829" r:id="rId137"/>
    <p:sldLayoutId id="2147483830" r:id="rId138"/>
    <p:sldLayoutId id="2147483831" r:id="rId139"/>
    <p:sldLayoutId id="2147483832" r:id="rId140"/>
    <p:sldLayoutId id="2147483833" r:id="rId141"/>
    <p:sldLayoutId id="2147483834" r:id="rId142"/>
    <p:sldLayoutId id="2147483835" r:id="rId143"/>
    <p:sldLayoutId id="2147483836" r:id="rId144"/>
    <p:sldLayoutId id="2147483837" r:id="rId145"/>
    <p:sldLayoutId id="2147483838" r:id="rId146"/>
    <p:sldLayoutId id="2147483839" r:id="rId147"/>
    <p:sldLayoutId id="2147483840" r:id="rId148"/>
    <p:sldLayoutId id="2147483841" r:id="rId149"/>
    <p:sldLayoutId id="2147483842" r:id="rId150"/>
    <p:sldLayoutId id="2147483843" r:id="rId151"/>
    <p:sldLayoutId id="2147483844" r:id="rId152"/>
    <p:sldLayoutId id="2147483845" r:id="rId153"/>
    <p:sldLayoutId id="2147483846" r:id="rId154"/>
    <p:sldLayoutId id="2147483847" r:id="rId155"/>
    <p:sldLayoutId id="2147483848" r:id="rId156"/>
    <p:sldLayoutId id="2147483849" r:id="rId157"/>
    <p:sldLayoutId id="2147483850" r:id="rId158"/>
    <p:sldLayoutId id="2147483851" r:id="rId159"/>
    <p:sldLayoutId id="2147483852" r:id="rId160"/>
    <p:sldLayoutId id="2147483853" r:id="rId161"/>
    <p:sldLayoutId id="2147483854" r:id="rId162"/>
    <p:sldLayoutId id="2147483855" r:id="rId163"/>
    <p:sldLayoutId id="2147483856" r:id="rId164"/>
    <p:sldLayoutId id="2147483857" r:id="rId165"/>
    <p:sldLayoutId id="2147483858" r:id="rId166"/>
    <p:sldLayoutId id="2147483859" r:id="rId167"/>
    <p:sldLayoutId id="2147483860" r:id="rId168"/>
    <p:sldLayoutId id="2147483861" r:id="rId169"/>
    <p:sldLayoutId id="2147483862" r:id="rId170"/>
    <p:sldLayoutId id="2147483863" r:id="rId171"/>
    <p:sldLayoutId id="2147483864" r:id="rId172"/>
    <p:sldLayoutId id="2147483865" r:id="rId173"/>
    <p:sldLayoutId id="2147483866" r:id="rId174"/>
    <p:sldLayoutId id="2147483867" r:id="rId175"/>
    <p:sldLayoutId id="2147483868" r:id="rId176"/>
    <p:sldLayoutId id="2147483869" r:id="rId177"/>
    <p:sldLayoutId id="2147483870" r:id="rId178"/>
    <p:sldLayoutId id="2147483871" r:id="rId179"/>
    <p:sldLayoutId id="2147483872" r:id="rId180"/>
    <p:sldLayoutId id="2147483873" r:id="rId181"/>
    <p:sldLayoutId id="2147483874" r:id="rId182"/>
    <p:sldLayoutId id="2147483875" r:id="rId183"/>
    <p:sldLayoutId id="2147483876" r:id="rId184"/>
    <p:sldLayoutId id="2147483877" r:id="rId185"/>
    <p:sldLayoutId id="2147483878" r:id="rId186"/>
    <p:sldLayoutId id="2147483879" r:id="rId187"/>
    <p:sldLayoutId id="2147483880" r:id="rId188"/>
  </p:sldLayoutIdLst>
  <p:hf hdr="0" ftr="0" dt="0"/>
  <p:txStyles>
    <p:title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941200-A0A4-48CC-B01D-438ACD6A7414}"/>
              </a:ext>
            </a:extLst>
          </p:cNvPr>
          <p:cNvGraphicFramePr>
            <a:graphicFrameLocks noChangeAspect="1"/>
          </p:cNvGraphicFramePr>
          <p:nvPr userDrawn="1">
            <p:custDataLst>
              <p:tags r:id="rId12"/>
            </p:custDataLst>
            <p:extLst>
              <p:ext uri="{D42A27DB-BD31-4B8C-83A1-F6EECF244321}">
                <p14:modId xmlns:p14="http://schemas.microsoft.com/office/powerpoint/2010/main" val="230489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3" name="Object 2" hidden="1">
                        <a:extLst>
                          <a:ext uri="{FF2B5EF4-FFF2-40B4-BE49-F238E27FC236}">
                            <a16:creationId xmlns:a16="http://schemas.microsoft.com/office/drawing/2014/main" id="{F5941200-A0A4-48CC-B01D-438ACD6A741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8"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dirty="0">
              <a:solidFill>
                <a:srgbClr val="FFFFFF"/>
              </a:solidFill>
            </a:endParaRPr>
          </a:p>
        </p:txBody>
      </p:sp>
      <p:pic>
        <p:nvPicPr>
          <p:cNvPr id="9" name="Picture 8"/>
          <p:cNvPicPr>
            <a:picLocks noChangeAspect="1"/>
          </p:cNvPicPr>
          <p:nvPr userDrawn="1"/>
        </p:nvPicPr>
        <p:blipFill rotWithShape="1">
          <a:blip r:embed="rId15"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0" name="Straight Connector 9"/>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endParaRPr lang="en-US" dirty="0"/>
          </a:p>
        </p:txBody>
      </p:sp>
    </p:spTree>
    <p:extLst>
      <p:ext uri="{BB962C8B-B14F-4D97-AF65-F5344CB8AC3E}">
        <p14:creationId xmlns:p14="http://schemas.microsoft.com/office/powerpoint/2010/main" val="2821259369"/>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Lst>
  <p:hf hdr="0" ftr="0" dt="0"/>
  <p:txStyles>
    <p:title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8"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dirty="0">
              <a:solidFill>
                <a:srgbClr val="FFFFFF"/>
              </a:solidFill>
            </a:endParaRPr>
          </a:p>
        </p:txBody>
      </p:sp>
      <p:pic>
        <p:nvPicPr>
          <p:cNvPr id="9" name="Picture 8"/>
          <p:cNvPicPr>
            <a:picLocks noChangeAspect="1"/>
          </p:cNvPicPr>
          <p:nvPr userDrawn="1"/>
        </p:nvPicPr>
        <p:blipFill rotWithShape="1">
          <a:blip r:embed="rId8"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0" name="Straight Connector 9"/>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endParaRPr lang="en-US" dirty="0"/>
          </a:p>
        </p:txBody>
      </p:sp>
    </p:spTree>
    <p:extLst>
      <p:ext uri="{BB962C8B-B14F-4D97-AF65-F5344CB8AC3E}">
        <p14:creationId xmlns:p14="http://schemas.microsoft.com/office/powerpoint/2010/main" val="178192679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Lst>
  <p:hf hdr="0" ftr="0" dt="0"/>
  <p:txStyles>
    <p:title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dirty="0">
              <a:solidFill>
                <a:srgbClr val="FFFFFF"/>
              </a:solidFill>
            </a:endParaRPr>
          </a:p>
        </p:txBody>
      </p:sp>
      <p:sp>
        <p:nvSpPr>
          <p:cNvPr id="8"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dirty="0">
              <a:solidFill>
                <a:srgbClr val="FFFFFF"/>
              </a:solidFill>
            </a:endParaRPr>
          </a:p>
        </p:txBody>
      </p:sp>
      <p:pic>
        <p:nvPicPr>
          <p:cNvPr id="9" name="Picture 8"/>
          <p:cNvPicPr>
            <a:picLocks noChangeAspect="1"/>
          </p:cNvPicPr>
          <p:nvPr userDrawn="1"/>
        </p:nvPicPr>
        <p:blipFill rotWithShape="1">
          <a:blip r:embed="rId13" cstate="email">
            <a:extLst>
              <a:ext uri="{28A0092B-C50C-407E-A947-70E740481C1C}">
                <a14:useLocalDpi xmlns:a14="http://schemas.microsoft.com/office/drawing/2010/main"/>
              </a:ext>
            </a:extLst>
          </a:blip>
          <a:srcRect b="50000"/>
          <a:stretch/>
        </p:blipFill>
        <p:spPr>
          <a:xfrm>
            <a:off x="10565109" y="6622966"/>
            <a:ext cx="765552" cy="206703"/>
          </a:xfrm>
          <a:prstGeom prst="rect">
            <a:avLst/>
          </a:prstGeom>
        </p:spPr>
      </p:pic>
      <p:cxnSp>
        <p:nvCxnSpPr>
          <p:cNvPr id="10" name="Straight Connector 9"/>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endParaRPr lang="en-US" dirty="0"/>
          </a:p>
        </p:txBody>
      </p:sp>
    </p:spTree>
    <p:extLst>
      <p:ext uri="{BB962C8B-B14F-4D97-AF65-F5344CB8AC3E}">
        <p14:creationId xmlns:p14="http://schemas.microsoft.com/office/powerpoint/2010/main" val="2200235266"/>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8" r:id="rId8"/>
    <p:sldLayoutId id="2147483909" r:id="rId9"/>
    <p:sldLayoutId id="2147483910" r:id="rId10"/>
    <p:sldLayoutId id="2147483911" r:id="rId11"/>
  </p:sldLayoutIdLst>
  <p:hf hdr="0" ftr="0" dt="0"/>
  <p:txStyles>
    <p:title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6CC7967-D6CB-D3AD-BED8-38850D4B4C49}"/>
              </a:ext>
            </a:extLst>
          </p:cNvPr>
          <p:cNvGraphicFramePr>
            <a:graphicFrameLocks noChangeAspect="1"/>
          </p:cNvGraphicFramePr>
          <p:nvPr userDrawn="1">
            <p:custDataLst>
              <p:tags r:id="rId5"/>
            </p:custDataLst>
            <p:extLst>
              <p:ext uri="{D42A27DB-BD31-4B8C-83A1-F6EECF244321}">
                <p14:modId xmlns:p14="http://schemas.microsoft.com/office/powerpoint/2010/main" val="60620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2" name="think-cell data - do not delete" hidden="1">
                        <a:extLst>
                          <a:ext uri="{FF2B5EF4-FFF2-40B4-BE49-F238E27FC236}">
                            <a16:creationId xmlns:a16="http://schemas.microsoft.com/office/drawing/2014/main" id="{C6CC7967-D6CB-D3AD-BED8-38850D4B4C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36353083"/>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20">
          <p15:clr>
            <a:srgbClr val="F26B43"/>
          </p15:clr>
        </p15:guide>
        <p15:guide id="4" pos="3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99005A-2B2D-E381-38EB-82DC0B637418}"/>
              </a:ext>
            </a:extLst>
          </p:cNvPr>
          <p:cNvGraphicFramePr>
            <a:graphicFrameLocks noChangeAspect="1"/>
          </p:cNvGraphicFramePr>
          <p:nvPr userDrawn="1">
            <p:custDataLst>
              <p:tags r:id="rId23"/>
            </p:custDataLst>
            <p:extLst>
              <p:ext uri="{D42A27DB-BD31-4B8C-83A1-F6EECF244321}">
                <p14:modId xmlns:p14="http://schemas.microsoft.com/office/powerpoint/2010/main" val="142015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2" name="think-cell data - do not delete" hidden="1">
                        <a:extLst>
                          <a:ext uri="{FF2B5EF4-FFF2-40B4-BE49-F238E27FC236}">
                            <a16:creationId xmlns:a16="http://schemas.microsoft.com/office/drawing/2014/main" id="{5A99005A-2B2D-E381-38EB-82DC0B637418}"/>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8" name="Slide Number Placeholder 4"/>
          <p:cNvSpPr txBox="1">
            <a:spLocks/>
          </p:cNvSpPr>
          <p:nvPr userDrawn="1"/>
        </p:nvSpPr>
        <p:spPr>
          <a:xfrm>
            <a:off x="706149" y="6488502"/>
            <a:ext cx="616351" cy="194244"/>
          </a:xfrm>
          <a:prstGeom prst="rect">
            <a:avLst/>
          </a:prstGeom>
        </p:spPr>
        <p:txBody>
          <a:bodyPr vert="horz" lIns="121920" tIns="60960" rIns="121920" bIns="60960" rtlCol="0" anchor="b"/>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algn="l"/>
            <a:fld id="{E219BBCF-6562-0F4B-B1E4-C6BFB9DF245D}" type="slidenum">
              <a:rPr lang="en-US" sz="1000" b="0" smtClean="0">
                <a:solidFill>
                  <a:schemeClr val="bg1">
                    <a:lumMod val="75000"/>
                  </a:schemeClr>
                </a:solidFill>
                <a:latin typeface="Aptos" panose="020B0004020202020204" pitchFamily="34" charset="0"/>
              </a:rPr>
              <a:pPr algn="l"/>
              <a:t>‹#›</a:t>
            </a:fld>
            <a:endParaRPr lang="en-US" sz="1000" b="0">
              <a:solidFill>
                <a:schemeClr val="bg1">
                  <a:lumMod val="75000"/>
                </a:schemeClr>
              </a:solidFill>
              <a:latin typeface="Aptos" panose="020B0004020202020204" pitchFamily="34" charset="0"/>
            </a:endParaRPr>
          </a:p>
        </p:txBody>
      </p:sp>
      <p:grpSp>
        <p:nvGrpSpPr>
          <p:cNvPr id="37" name="Group 36">
            <a:extLst>
              <a:ext uri="{FF2B5EF4-FFF2-40B4-BE49-F238E27FC236}">
                <a16:creationId xmlns:a16="http://schemas.microsoft.com/office/drawing/2014/main" id="{DC83C121-E3B8-7AB1-4AA8-AFC4F5DE4E5E}"/>
              </a:ext>
            </a:extLst>
          </p:cNvPr>
          <p:cNvGrpSpPr>
            <a:grpSpLocks noChangeAspect="1"/>
          </p:cNvGrpSpPr>
          <p:nvPr userDrawn="1"/>
        </p:nvGrpSpPr>
        <p:grpSpPr>
          <a:xfrm>
            <a:off x="10927257" y="6488501"/>
            <a:ext cx="720091" cy="109404"/>
            <a:chOff x="8670176" y="6598728"/>
            <a:chExt cx="724928" cy="110139"/>
          </a:xfrm>
        </p:grpSpPr>
        <p:sp>
          <p:nvSpPr>
            <p:cNvPr id="38" name="Freeform 37">
              <a:extLst>
                <a:ext uri="{FF2B5EF4-FFF2-40B4-BE49-F238E27FC236}">
                  <a16:creationId xmlns:a16="http://schemas.microsoft.com/office/drawing/2014/main" id="{9E0FB519-D217-C0B7-5F13-2AD062A13270}"/>
                </a:ext>
              </a:extLst>
            </p:cNvPr>
            <p:cNvSpPr/>
            <p:nvPr/>
          </p:nvSpPr>
          <p:spPr>
            <a:xfrm>
              <a:off x="8774500" y="6630582"/>
              <a:ext cx="85113" cy="78163"/>
            </a:xfrm>
            <a:custGeom>
              <a:avLst/>
              <a:gdLst>
                <a:gd name="connsiteX0" fmla="*/ 41348 w 85113"/>
                <a:gd name="connsiteY0" fmla="*/ 60277 h 78163"/>
                <a:gd name="connsiteX1" fmla="*/ 29771 w 85113"/>
                <a:gd name="connsiteY1" fmla="*/ 44840 h 78163"/>
                <a:gd name="connsiteX2" fmla="*/ 29771 w 85113"/>
                <a:gd name="connsiteY2" fmla="*/ 123 h 78163"/>
                <a:gd name="connsiteX3" fmla="*/ 0 w 85113"/>
                <a:gd name="connsiteY3" fmla="*/ 123 h 78163"/>
                <a:gd name="connsiteX4" fmla="*/ 0 w 85113"/>
                <a:gd name="connsiteY4" fmla="*/ 50966 h 78163"/>
                <a:gd name="connsiteX5" fmla="*/ 29516 w 85113"/>
                <a:gd name="connsiteY5" fmla="*/ 78164 h 78163"/>
                <a:gd name="connsiteX6" fmla="*/ 54325 w 85113"/>
                <a:gd name="connsiteY6" fmla="*/ 67505 h 78163"/>
                <a:gd name="connsiteX7" fmla="*/ 54834 w 85113"/>
                <a:gd name="connsiteY7" fmla="*/ 75958 h 78163"/>
                <a:gd name="connsiteX8" fmla="*/ 85114 w 85113"/>
                <a:gd name="connsiteY8" fmla="*/ 75958 h 78163"/>
                <a:gd name="connsiteX9" fmla="*/ 84096 w 85113"/>
                <a:gd name="connsiteY9" fmla="*/ 56479 h 78163"/>
                <a:gd name="connsiteX10" fmla="*/ 84096 w 85113"/>
                <a:gd name="connsiteY10" fmla="*/ 0 h 78163"/>
                <a:gd name="connsiteX11" fmla="*/ 54325 w 85113"/>
                <a:gd name="connsiteY11" fmla="*/ 0 h 78163"/>
                <a:gd name="connsiteX12" fmla="*/ 54325 w 85113"/>
                <a:gd name="connsiteY12" fmla="*/ 43615 h 78163"/>
                <a:gd name="connsiteX13" fmla="*/ 41475 w 85113"/>
                <a:gd name="connsiteY13" fmla="*/ 60154 h 7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113" h="78163">
                  <a:moveTo>
                    <a:pt x="41348" y="60277"/>
                  </a:moveTo>
                  <a:cubicBezTo>
                    <a:pt x="32061" y="60277"/>
                    <a:pt x="30152" y="52313"/>
                    <a:pt x="29771" y="44840"/>
                  </a:cubicBezTo>
                  <a:lnTo>
                    <a:pt x="29771" y="123"/>
                  </a:lnTo>
                  <a:cubicBezTo>
                    <a:pt x="29771" y="123"/>
                    <a:pt x="0" y="123"/>
                    <a:pt x="0" y="123"/>
                  </a:cubicBezTo>
                  <a:lnTo>
                    <a:pt x="0" y="50966"/>
                  </a:lnTo>
                  <a:cubicBezTo>
                    <a:pt x="0" y="67627"/>
                    <a:pt x="12595" y="78164"/>
                    <a:pt x="29516" y="78164"/>
                  </a:cubicBezTo>
                  <a:cubicBezTo>
                    <a:pt x="39694" y="78164"/>
                    <a:pt x="47455" y="75101"/>
                    <a:pt x="54325" y="67505"/>
                  </a:cubicBezTo>
                  <a:lnTo>
                    <a:pt x="54834" y="75958"/>
                  </a:lnTo>
                  <a:lnTo>
                    <a:pt x="85114" y="75958"/>
                  </a:lnTo>
                  <a:cubicBezTo>
                    <a:pt x="84350" y="67750"/>
                    <a:pt x="84223" y="63217"/>
                    <a:pt x="84096" y="56479"/>
                  </a:cubicBezTo>
                  <a:lnTo>
                    <a:pt x="84096" y="0"/>
                  </a:lnTo>
                  <a:cubicBezTo>
                    <a:pt x="84096" y="0"/>
                    <a:pt x="54325" y="0"/>
                    <a:pt x="54325" y="0"/>
                  </a:cubicBezTo>
                  <a:lnTo>
                    <a:pt x="54325" y="43615"/>
                  </a:lnTo>
                  <a:cubicBezTo>
                    <a:pt x="54325" y="44595"/>
                    <a:pt x="56234" y="60154"/>
                    <a:pt x="41475" y="60154"/>
                  </a:cubicBezTo>
                </a:path>
              </a:pathLst>
            </a:custGeom>
            <a:solidFill>
              <a:srgbClr val="231F20"/>
            </a:solidFill>
            <a:ln w="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C8DD0D45-7BB6-EBDB-1B96-1FC3B9C15EF7}"/>
                </a:ext>
              </a:extLst>
            </p:cNvPr>
            <p:cNvSpPr/>
            <p:nvPr/>
          </p:nvSpPr>
          <p:spPr>
            <a:xfrm>
              <a:off x="8866866" y="6628620"/>
              <a:ext cx="139311" cy="78042"/>
            </a:xfrm>
            <a:custGeom>
              <a:avLst/>
              <a:gdLst>
                <a:gd name="connsiteX0" fmla="*/ 29389 w 139311"/>
                <a:gd name="connsiteY0" fmla="*/ 2084 h 78042"/>
                <a:gd name="connsiteX1" fmla="*/ 0 w 139311"/>
                <a:gd name="connsiteY1" fmla="*/ 2084 h 78042"/>
                <a:gd name="connsiteX2" fmla="*/ 1018 w 139311"/>
                <a:gd name="connsiteY2" fmla="*/ 21563 h 78042"/>
                <a:gd name="connsiteX3" fmla="*/ 1018 w 139311"/>
                <a:gd name="connsiteY3" fmla="*/ 78042 h 78042"/>
                <a:gd name="connsiteX4" fmla="*/ 30788 w 139311"/>
                <a:gd name="connsiteY4" fmla="*/ 78042 h 78042"/>
                <a:gd name="connsiteX5" fmla="*/ 30788 w 139311"/>
                <a:gd name="connsiteY5" fmla="*/ 34427 h 78042"/>
                <a:gd name="connsiteX6" fmla="*/ 43765 w 139311"/>
                <a:gd name="connsiteY6" fmla="*/ 17888 h 78042"/>
                <a:gd name="connsiteX7" fmla="*/ 55343 w 139311"/>
                <a:gd name="connsiteY7" fmla="*/ 33325 h 78042"/>
                <a:gd name="connsiteX8" fmla="*/ 55343 w 139311"/>
                <a:gd name="connsiteY8" fmla="*/ 78042 h 78042"/>
                <a:gd name="connsiteX9" fmla="*/ 85114 w 139311"/>
                <a:gd name="connsiteY9" fmla="*/ 78042 h 78042"/>
                <a:gd name="connsiteX10" fmla="*/ 85114 w 139311"/>
                <a:gd name="connsiteY10" fmla="*/ 34427 h 78042"/>
                <a:gd name="connsiteX11" fmla="*/ 97963 w 139311"/>
                <a:gd name="connsiteY11" fmla="*/ 18011 h 78042"/>
                <a:gd name="connsiteX12" fmla="*/ 109541 w 139311"/>
                <a:gd name="connsiteY12" fmla="*/ 33447 h 78042"/>
                <a:gd name="connsiteX13" fmla="*/ 109541 w 139311"/>
                <a:gd name="connsiteY13" fmla="*/ 78042 h 78042"/>
                <a:gd name="connsiteX14" fmla="*/ 139312 w 139311"/>
                <a:gd name="connsiteY14" fmla="*/ 78042 h 78042"/>
                <a:gd name="connsiteX15" fmla="*/ 139312 w 139311"/>
                <a:gd name="connsiteY15" fmla="*/ 27322 h 78042"/>
                <a:gd name="connsiteX16" fmla="*/ 109795 w 139311"/>
                <a:gd name="connsiteY16" fmla="*/ 1 h 78042"/>
                <a:gd name="connsiteX17" fmla="*/ 81679 w 139311"/>
                <a:gd name="connsiteY17" fmla="*/ 14580 h 78042"/>
                <a:gd name="connsiteX18" fmla="*/ 58015 w 139311"/>
                <a:gd name="connsiteY18" fmla="*/ 491 h 78042"/>
                <a:gd name="connsiteX19" fmla="*/ 30280 w 139311"/>
                <a:gd name="connsiteY19" fmla="*/ 14948 h 78042"/>
                <a:gd name="connsiteX20" fmla="*/ 30025 w 139311"/>
                <a:gd name="connsiteY20" fmla="*/ 14948 h 78042"/>
                <a:gd name="connsiteX21" fmla="*/ 29516 w 139311"/>
                <a:gd name="connsiteY21" fmla="*/ 2329 h 7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311" h="78042">
                  <a:moveTo>
                    <a:pt x="29389" y="2084"/>
                  </a:moveTo>
                  <a:lnTo>
                    <a:pt x="0" y="2084"/>
                  </a:lnTo>
                  <a:cubicBezTo>
                    <a:pt x="763" y="10292"/>
                    <a:pt x="1018" y="14825"/>
                    <a:pt x="1018" y="21563"/>
                  </a:cubicBezTo>
                  <a:lnTo>
                    <a:pt x="1018" y="78042"/>
                  </a:lnTo>
                  <a:cubicBezTo>
                    <a:pt x="1018" y="78042"/>
                    <a:pt x="30788" y="78042"/>
                    <a:pt x="30788" y="78042"/>
                  </a:cubicBezTo>
                  <a:lnTo>
                    <a:pt x="30788" y="34427"/>
                  </a:lnTo>
                  <a:cubicBezTo>
                    <a:pt x="30788" y="33570"/>
                    <a:pt x="28880" y="17888"/>
                    <a:pt x="43765" y="17888"/>
                  </a:cubicBezTo>
                  <a:cubicBezTo>
                    <a:pt x="53053" y="17888"/>
                    <a:pt x="54961" y="25851"/>
                    <a:pt x="55343" y="33325"/>
                  </a:cubicBezTo>
                  <a:lnTo>
                    <a:pt x="55343" y="78042"/>
                  </a:lnTo>
                  <a:cubicBezTo>
                    <a:pt x="55343" y="78042"/>
                    <a:pt x="85114" y="78042"/>
                    <a:pt x="85114" y="78042"/>
                  </a:cubicBezTo>
                  <a:lnTo>
                    <a:pt x="85114" y="34427"/>
                  </a:lnTo>
                  <a:cubicBezTo>
                    <a:pt x="85114" y="33570"/>
                    <a:pt x="83205" y="18011"/>
                    <a:pt x="97963" y="18011"/>
                  </a:cubicBezTo>
                  <a:cubicBezTo>
                    <a:pt x="107251" y="18011"/>
                    <a:pt x="109159" y="25974"/>
                    <a:pt x="109541" y="33447"/>
                  </a:cubicBezTo>
                  <a:lnTo>
                    <a:pt x="109541" y="78042"/>
                  </a:lnTo>
                  <a:cubicBezTo>
                    <a:pt x="109541" y="78042"/>
                    <a:pt x="139312" y="78042"/>
                    <a:pt x="139312" y="78042"/>
                  </a:cubicBezTo>
                  <a:lnTo>
                    <a:pt x="139312" y="27322"/>
                  </a:lnTo>
                  <a:cubicBezTo>
                    <a:pt x="139312" y="10537"/>
                    <a:pt x="126716" y="-121"/>
                    <a:pt x="109795" y="1"/>
                  </a:cubicBezTo>
                  <a:cubicBezTo>
                    <a:pt x="97963" y="369"/>
                    <a:pt x="87022" y="5514"/>
                    <a:pt x="81679" y="14580"/>
                  </a:cubicBezTo>
                  <a:cubicBezTo>
                    <a:pt x="78371" y="5392"/>
                    <a:pt x="67557" y="491"/>
                    <a:pt x="58015" y="491"/>
                  </a:cubicBezTo>
                  <a:cubicBezTo>
                    <a:pt x="46183" y="491"/>
                    <a:pt x="35750" y="4412"/>
                    <a:pt x="30280" y="14948"/>
                  </a:cubicBezTo>
                  <a:lnTo>
                    <a:pt x="30025" y="14948"/>
                  </a:lnTo>
                  <a:lnTo>
                    <a:pt x="29516" y="2329"/>
                  </a:lnTo>
                  <a:close/>
                </a:path>
              </a:pathLst>
            </a:custGeom>
            <a:solidFill>
              <a:srgbClr val="231F20"/>
            </a:solidFill>
            <a:ln w="0"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F1CECD87-EA09-BF2B-69BC-13107FAB46C1}"/>
                </a:ext>
              </a:extLst>
            </p:cNvPr>
            <p:cNvSpPr/>
            <p:nvPr/>
          </p:nvSpPr>
          <p:spPr>
            <a:xfrm>
              <a:off x="8670176" y="6598728"/>
              <a:ext cx="96691" cy="107934"/>
            </a:xfrm>
            <a:custGeom>
              <a:avLst/>
              <a:gdLst>
                <a:gd name="connsiteX0" fmla="*/ 60686 w 96691"/>
                <a:gd name="connsiteY0" fmla="*/ 30751 h 107934"/>
                <a:gd name="connsiteX1" fmla="*/ 96691 w 96691"/>
                <a:gd name="connsiteY1" fmla="*/ 30751 h 107934"/>
                <a:gd name="connsiteX2" fmla="*/ 96691 w 96691"/>
                <a:gd name="connsiteY2" fmla="*/ 0 h 107934"/>
                <a:gd name="connsiteX3" fmla="*/ 56106 w 96691"/>
                <a:gd name="connsiteY3" fmla="*/ 0 h 107934"/>
                <a:gd name="connsiteX4" fmla="*/ 0 w 96691"/>
                <a:gd name="connsiteY4" fmla="*/ 53906 h 107934"/>
                <a:gd name="connsiteX5" fmla="*/ 55979 w 96691"/>
                <a:gd name="connsiteY5" fmla="*/ 107935 h 107934"/>
                <a:gd name="connsiteX6" fmla="*/ 96691 w 96691"/>
                <a:gd name="connsiteY6" fmla="*/ 107935 h 107934"/>
                <a:gd name="connsiteX7" fmla="*/ 96691 w 96691"/>
                <a:gd name="connsiteY7" fmla="*/ 77184 h 107934"/>
                <a:gd name="connsiteX8" fmla="*/ 60432 w 96691"/>
                <a:gd name="connsiteY8" fmla="*/ 77184 h 107934"/>
                <a:gd name="connsiteX9" fmla="*/ 36386 w 96691"/>
                <a:gd name="connsiteY9" fmla="*/ 53906 h 107934"/>
                <a:gd name="connsiteX10" fmla="*/ 60559 w 96691"/>
                <a:gd name="connsiteY10" fmla="*/ 30751 h 10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691" h="107934">
                  <a:moveTo>
                    <a:pt x="60686" y="30751"/>
                  </a:moveTo>
                  <a:lnTo>
                    <a:pt x="96691" y="30751"/>
                  </a:lnTo>
                  <a:cubicBezTo>
                    <a:pt x="96691" y="30751"/>
                    <a:pt x="96691" y="0"/>
                    <a:pt x="96691" y="0"/>
                  </a:cubicBezTo>
                  <a:lnTo>
                    <a:pt x="56106" y="0"/>
                  </a:lnTo>
                  <a:cubicBezTo>
                    <a:pt x="25191" y="-122"/>
                    <a:pt x="0" y="24013"/>
                    <a:pt x="0" y="53906"/>
                  </a:cubicBezTo>
                  <a:cubicBezTo>
                    <a:pt x="0" y="83677"/>
                    <a:pt x="24936" y="107812"/>
                    <a:pt x="55979" y="107935"/>
                  </a:cubicBezTo>
                  <a:lnTo>
                    <a:pt x="96691" y="107935"/>
                  </a:lnTo>
                  <a:cubicBezTo>
                    <a:pt x="96691" y="107935"/>
                    <a:pt x="96691" y="77184"/>
                    <a:pt x="96691" y="77184"/>
                  </a:cubicBezTo>
                  <a:lnTo>
                    <a:pt x="60432" y="77184"/>
                  </a:lnTo>
                  <a:cubicBezTo>
                    <a:pt x="47073" y="77184"/>
                    <a:pt x="36386" y="66770"/>
                    <a:pt x="36386" y="53906"/>
                  </a:cubicBezTo>
                  <a:cubicBezTo>
                    <a:pt x="36386" y="41042"/>
                    <a:pt x="47201" y="30751"/>
                    <a:pt x="60559" y="30751"/>
                  </a:cubicBezTo>
                </a:path>
              </a:pathLst>
            </a:custGeom>
            <a:solidFill>
              <a:srgbClr val="231F20"/>
            </a:solidFill>
            <a:ln w="0"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4EE7AF8E-204F-FBA4-E2C0-2C66445537DE}"/>
                </a:ext>
              </a:extLst>
            </p:cNvPr>
            <p:cNvSpPr/>
            <p:nvPr/>
          </p:nvSpPr>
          <p:spPr>
            <a:xfrm>
              <a:off x="9016228" y="6628499"/>
              <a:ext cx="139184" cy="78040"/>
            </a:xfrm>
            <a:custGeom>
              <a:avLst/>
              <a:gdLst>
                <a:gd name="connsiteX0" fmla="*/ 29389 w 139184"/>
                <a:gd name="connsiteY0" fmla="*/ 2083 h 78040"/>
                <a:gd name="connsiteX1" fmla="*/ 0 w 139184"/>
                <a:gd name="connsiteY1" fmla="*/ 2083 h 78040"/>
                <a:gd name="connsiteX2" fmla="*/ 1018 w 139184"/>
                <a:gd name="connsiteY2" fmla="*/ 21562 h 78040"/>
                <a:gd name="connsiteX3" fmla="*/ 1018 w 139184"/>
                <a:gd name="connsiteY3" fmla="*/ 78041 h 78040"/>
                <a:gd name="connsiteX4" fmla="*/ 30789 w 139184"/>
                <a:gd name="connsiteY4" fmla="*/ 78041 h 78040"/>
                <a:gd name="connsiteX5" fmla="*/ 30789 w 139184"/>
                <a:gd name="connsiteY5" fmla="*/ 34426 h 78040"/>
                <a:gd name="connsiteX6" fmla="*/ 43638 w 139184"/>
                <a:gd name="connsiteY6" fmla="*/ 17887 h 78040"/>
                <a:gd name="connsiteX7" fmla="*/ 55216 w 139184"/>
                <a:gd name="connsiteY7" fmla="*/ 33324 h 78040"/>
                <a:gd name="connsiteX8" fmla="*/ 55216 w 139184"/>
                <a:gd name="connsiteY8" fmla="*/ 78041 h 78040"/>
                <a:gd name="connsiteX9" fmla="*/ 84986 w 139184"/>
                <a:gd name="connsiteY9" fmla="*/ 78041 h 78040"/>
                <a:gd name="connsiteX10" fmla="*/ 84986 w 139184"/>
                <a:gd name="connsiteY10" fmla="*/ 34426 h 78040"/>
                <a:gd name="connsiteX11" fmla="*/ 97836 w 139184"/>
                <a:gd name="connsiteY11" fmla="*/ 18009 h 78040"/>
                <a:gd name="connsiteX12" fmla="*/ 109414 w 139184"/>
                <a:gd name="connsiteY12" fmla="*/ 33446 h 78040"/>
                <a:gd name="connsiteX13" fmla="*/ 109414 w 139184"/>
                <a:gd name="connsiteY13" fmla="*/ 78041 h 78040"/>
                <a:gd name="connsiteX14" fmla="*/ 139184 w 139184"/>
                <a:gd name="connsiteY14" fmla="*/ 78041 h 78040"/>
                <a:gd name="connsiteX15" fmla="*/ 139184 w 139184"/>
                <a:gd name="connsiteY15" fmla="*/ 27320 h 78040"/>
                <a:gd name="connsiteX16" fmla="*/ 109668 w 139184"/>
                <a:gd name="connsiteY16" fmla="*/ 0 h 78040"/>
                <a:gd name="connsiteX17" fmla="*/ 81551 w 139184"/>
                <a:gd name="connsiteY17" fmla="*/ 14579 h 78040"/>
                <a:gd name="connsiteX18" fmla="*/ 57887 w 139184"/>
                <a:gd name="connsiteY18" fmla="*/ 490 h 78040"/>
                <a:gd name="connsiteX19" fmla="*/ 30152 w 139184"/>
                <a:gd name="connsiteY19" fmla="*/ 14824 h 78040"/>
                <a:gd name="connsiteX20" fmla="*/ 29898 w 139184"/>
                <a:gd name="connsiteY20" fmla="*/ 14824 h 78040"/>
                <a:gd name="connsiteX21" fmla="*/ 29389 w 139184"/>
                <a:gd name="connsiteY21" fmla="*/ 2205 h 7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184" h="78040">
                  <a:moveTo>
                    <a:pt x="29389" y="2083"/>
                  </a:moveTo>
                  <a:lnTo>
                    <a:pt x="0" y="2083"/>
                  </a:lnTo>
                  <a:cubicBezTo>
                    <a:pt x="763" y="10291"/>
                    <a:pt x="891" y="14824"/>
                    <a:pt x="1018" y="21562"/>
                  </a:cubicBezTo>
                  <a:lnTo>
                    <a:pt x="1018" y="78041"/>
                  </a:lnTo>
                  <a:cubicBezTo>
                    <a:pt x="1018" y="78041"/>
                    <a:pt x="30789" y="78041"/>
                    <a:pt x="30789" y="78041"/>
                  </a:cubicBezTo>
                  <a:lnTo>
                    <a:pt x="30789" y="34426"/>
                  </a:lnTo>
                  <a:cubicBezTo>
                    <a:pt x="30789" y="33569"/>
                    <a:pt x="28880" y="17887"/>
                    <a:pt x="43638" y="17887"/>
                  </a:cubicBezTo>
                  <a:cubicBezTo>
                    <a:pt x="52926" y="17887"/>
                    <a:pt x="54834" y="25850"/>
                    <a:pt x="55216" y="33324"/>
                  </a:cubicBezTo>
                  <a:lnTo>
                    <a:pt x="55216" y="78041"/>
                  </a:lnTo>
                  <a:cubicBezTo>
                    <a:pt x="55216" y="78041"/>
                    <a:pt x="84986" y="78041"/>
                    <a:pt x="84986" y="78041"/>
                  </a:cubicBezTo>
                  <a:lnTo>
                    <a:pt x="84986" y="34426"/>
                  </a:lnTo>
                  <a:cubicBezTo>
                    <a:pt x="84986" y="33569"/>
                    <a:pt x="83078" y="18009"/>
                    <a:pt x="97836" y="18009"/>
                  </a:cubicBezTo>
                  <a:cubicBezTo>
                    <a:pt x="107124" y="18009"/>
                    <a:pt x="109032" y="25973"/>
                    <a:pt x="109414" y="33446"/>
                  </a:cubicBezTo>
                  <a:lnTo>
                    <a:pt x="109414" y="78041"/>
                  </a:lnTo>
                  <a:cubicBezTo>
                    <a:pt x="109414" y="78041"/>
                    <a:pt x="139184" y="78041"/>
                    <a:pt x="139184" y="78041"/>
                  </a:cubicBezTo>
                  <a:lnTo>
                    <a:pt x="139184" y="27320"/>
                  </a:lnTo>
                  <a:cubicBezTo>
                    <a:pt x="139184" y="10536"/>
                    <a:pt x="126589" y="0"/>
                    <a:pt x="109668" y="0"/>
                  </a:cubicBezTo>
                  <a:cubicBezTo>
                    <a:pt x="97836" y="368"/>
                    <a:pt x="86895" y="5513"/>
                    <a:pt x="81551" y="14579"/>
                  </a:cubicBezTo>
                  <a:cubicBezTo>
                    <a:pt x="78243" y="5391"/>
                    <a:pt x="67429" y="490"/>
                    <a:pt x="57887" y="490"/>
                  </a:cubicBezTo>
                  <a:cubicBezTo>
                    <a:pt x="46056" y="490"/>
                    <a:pt x="35623" y="4410"/>
                    <a:pt x="30152" y="14824"/>
                  </a:cubicBezTo>
                  <a:lnTo>
                    <a:pt x="29898" y="14824"/>
                  </a:lnTo>
                  <a:lnTo>
                    <a:pt x="29389" y="2205"/>
                  </a:lnTo>
                  <a:close/>
                </a:path>
              </a:pathLst>
            </a:custGeom>
            <a:solidFill>
              <a:srgbClr val="231F20"/>
            </a:solidFill>
            <a:ln w="0"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047B016F-7253-A2E1-FA29-7A430D8D7CFF}"/>
                </a:ext>
              </a:extLst>
            </p:cNvPr>
            <p:cNvSpPr/>
            <p:nvPr/>
          </p:nvSpPr>
          <p:spPr>
            <a:xfrm>
              <a:off x="9164700" y="6599096"/>
              <a:ext cx="30025" cy="20214"/>
            </a:xfrm>
            <a:custGeom>
              <a:avLst/>
              <a:gdLst>
                <a:gd name="connsiteX0" fmla="*/ 0 w 30025"/>
                <a:gd name="connsiteY0" fmla="*/ 0 h 20214"/>
                <a:gd name="connsiteX1" fmla="*/ 30025 w 30025"/>
                <a:gd name="connsiteY1" fmla="*/ 0 h 20214"/>
                <a:gd name="connsiteX2" fmla="*/ 30025 w 30025"/>
                <a:gd name="connsiteY2" fmla="*/ 20215 h 20214"/>
                <a:gd name="connsiteX3" fmla="*/ 0 w 30025"/>
                <a:gd name="connsiteY3" fmla="*/ 20215 h 20214"/>
              </a:gdLst>
              <a:ahLst/>
              <a:cxnLst>
                <a:cxn ang="0">
                  <a:pos x="connsiteX0" y="connsiteY0"/>
                </a:cxn>
                <a:cxn ang="0">
                  <a:pos x="connsiteX1" y="connsiteY1"/>
                </a:cxn>
                <a:cxn ang="0">
                  <a:pos x="connsiteX2" y="connsiteY2"/>
                </a:cxn>
                <a:cxn ang="0">
                  <a:pos x="connsiteX3" y="connsiteY3"/>
                </a:cxn>
              </a:cxnLst>
              <a:rect l="l" t="t" r="r" b="b"/>
              <a:pathLst>
                <a:path w="30025" h="20214">
                  <a:moveTo>
                    <a:pt x="0" y="0"/>
                  </a:moveTo>
                  <a:lnTo>
                    <a:pt x="30025" y="0"/>
                  </a:lnTo>
                  <a:lnTo>
                    <a:pt x="30025" y="20215"/>
                  </a:lnTo>
                  <a:lnTo>
                    <a:pt x="0" y="20215"/>
                  </a:lnTo>
                  <a:close/>
                </a:path>
              </a:pathLst>
            </a:custGeom>
            <a:solidFill>
              <a:srgbClr val="231F20"/>
            </a:solidFill>
            <a:ln w="0"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2C13A689-E2E9-F54C-4712-D7F2D7D3F0E4}"/>
                </a:ext>
              </a:extLst>
            </p:cNvPr>
            <p:cNvSpPr/>
            <p:nvPr/>
          </p:nvSpPr>
          <p:spPr>
            <a:xfrm>
              <a:off x="9203249" y="6628375"/>
              <a:ext cx="85113" cy="78287"/>
            </a:xfrm>
            <a:custGeom>
              <a:avLst/>
              <a:gdLst>
                <a:gd name="connsiteX0" fmla="*/ 43765 w 85113"/>
                <a:gd name="connsiteY0" fmla="*/ 17888 h 78287"/>
                <a:gd name="connsiteX1" fmla="*/ 55343 w 85113"/>
                <a:gd name="connsiteY1" fmla="*/ 33325 h 78287"/>
                <a:gd name="connsiteX2" fmla="*/ 55343 w 85113"/>
                <a:gd name="connsiteY2" fmla="*/ 78042 h 78287"/>
                <a:gd name="connsiteX3" fmla="*/ 85114 w 85113"/>
                <a:gd name="connsiteY3" fmla="*/ 78042 h 78287"/>
                <a:gd name="connsiteX4" fmla="*/ 85114 w 85113"/>
                <a:gd name="connsiteY4" fmla="*/ 27199 h 78287"/>
                <a:gd name="connsiteX5" fmla="*/ 55597 w 85113"/>
                <a:gd name="connsiteY5" fmla="*/ 1 h 78287"/>
                <a:gd name="connsiteX6" fmla="*/ 30788 w 85113"/>
                <a:gd name="connsiteY6" fmla="*/ 10660 h 78287"/>
                <a:gd name="connsiteX7" fmla="*/ 30280 w 85113"/>
                <a:gd name="connsiteY7" fmla="*/ 2329 h 78287"/>
                <a:gd name="connsiteX8" fmla="*/ 0 w 85113"/>
                <a:gd name="connsiteY8" fmla="*/ 2329 h 78287"/>
                <a:gd name="connsiteX9" fmla="*/ 1018 w 85113"/>
                <a:gd name="connsiteY9" fmla="*/ 21808 h 78287"/>
                <a:gd name="connsiteX10" fmla="*/ 1018 w 85113"/>
                <a:gd name="connsiteY10" fmla="*/ 78287 h 78287"/>
                <a:gd name="connsiteX11" fmla="*/ 30788 w 85113"/>
                <a:gd name="connsiteY11" fmla="*/ 78287 h 78287"/>
                <a:gd name="connsiteX12" fmla="*/ 30788 w 85113"/>
                <a:gd name="connsiteY12" fmla="*/ 34672 h 78287"/>
                <a:gd name="connsiteX13" fmla="*/ 43638 w 85113"/>
                <a:gd name="connsiteY13" fmla="*/ 18133 h 7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113" h="78287">
                  <a:moveTo>
                    <a:pt x="43765" y="17888"/>
                  </a:moveTo>
                  <a:cubicBezTo>
                    <a:pt x="53053" y="17888"/>
                    <a:pt x="54961" y="25974"/>
                    <a:pt x="55343" y="33325"/>
                  </a:cubicBezTo>
                  <a:lnTo>
                    <a:pt x="55343" y="78042"/>
                  </a:lnTo>
                  <a:cubicBezTo>
                    <a:pt x="55343" y="78042"/>
                    <a:pt x="85114" y="78042"/>
                    <a:pt x="85114" y="78042"/>
                  </a:cubicBezTo>
                  <a:lnTo>
                    <a:pt x="85114" y="27199"/>
                  </a:lnTo>
                  <a:cubicBezTo>
                    <a:pt x="85114" y="10537"/>
                    <a:pt x="72518" y="-121"/>
                    <a:pt x="55597" y="1"/>
                  </a:cubicBezTo>
                  <a:cubicBezTo>
                    <a:pt x="45547" y="1"/>
                    <a:pt x="37659" y="3064"/>
                    <a:pt x="30788" y="10660"/>
                  </a:cubicBezTo>
                  <a:lnTo>
                    <a:pt x="30280" y="2329"/>
                  </a:lnTo>
                  <a:lnTo>
                    <a:pt x="0" y="2329"/>
                  </a:lnTo>
                  <a:cubicBezTo>
                    <a:pt x="763" y="10537"/>
                    <a:pt x="1018" y="15070"/>
                    <a:pt x="1018" y="21808"/>
                  </a:cubicBezTo>
                  <a:lnTo>
                    <a:pt x="1018" y="78287"/>
                  </a:lnTo>
                  <a:cubicBezTo>
                    <a:pt x="1018" y="78287"/>
                    <a:pt x="30788" y="78287"/>
                    <a:pt x="30788" y="78287"/>
                  </a:cubicBezTo>
                  <a:lnTo>
                    <a:pt x="30788" y="34672"/>
                  </a:lnTo>
                  <a:cubicBezTo>
                    <a:pt x="30788" y="33815"/>
                    <a:pt x="28880" y="18133"/>
                    <a:pt x="43638" y="18133"/>
                  </a:cubicBezTo>
                </a:path>
              </a:pathLst>
            </a:custGeom>
            <a:solidFill>
              <a:srgbClr val="231F20"/>
            </a:solidFill>
            <a:ln w="0"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3C0291B6-93C7-0CEB-3591-979B19A2080C}"/>
                </a:ext>
              </a:extLst>
            </p:cNvPr>
            <p:cNvSpPr/>
            <p:nvPr/>
          </p:nvSpPr>
          <p:spPr>
            <a:xfrm>
              <a:off x="9164954" y="6630459"/>
              <a:ext cx="29770" cy="75958"/>
            </a:xfrm>
            <a:custGeom>
              <a:avLst/>
              <a:gdLst>
                <a:gd name="connsiteX0" fmla="*/ 0 w 29770"/>
                <a:gd name="connsiteY0" fmla="*/ 0 h 75958"/>
                <a:gd name="connsiteX1" fmla="*/ 29771 w 29770"/>
                <a:gd name="connsiteY1" fmla="*/ 0 h 75958"/>
                <a:gd name="connsiteX2" fmla="*/ 29771 w 29770"/>
                <a:gd name="connsiteY2" fmla="*/ 75958 h 75958"/>
                <a:gd name="connsiteX3" fmla="*/ 0 w 29770"/>
                <a:gd name="connsiteY3" fmla="*/ 75958 h 75958"/>
              </a:gdLst>
              <a:ahLst/>
              <a:cxnLst>
                <a:cxn ang="0">
                  <a:pos x="connsiteX0" y="connsiteY0"/>
                </a:cxn>
                <a:cxn ang="0">
                  <a:pos x="connsiteX1" y="connsiteY1"/>
                </a:cxn>
                <a:cxn ang="0">
                  <a:pos x="connsiteX2" y="connsiteY2"/>
                </a:cxn>
                <a:cxn ang="0">
                  <a:pos x="connsiteX3" y="connsiteY3"/>
                </a:cxn>
              </a:cxnLst>
              <a:rect l="l" t="t" r="r" b="b"/>
              <a:pathLst>
                <a:path w="29770" h="75958">
                  <a:moveTo>
                    <a:pt x="0" y="0"/>
                  </a:moveTo>
                  <a:lnTo>
                    <a:pt x="29771" y="0"/>
                  </a:lnTo>
                  <a:lnTo>
                    <a:pt x="29771" y="75958"/>
                  </a:lnTo>
                  <a:lnTo>
                    <a:pt x="0" y="75958"/>
                  </a:lnTo>
                  <a:close/>
                </a:path>
              </a:pathLst>
            </a:custGeom>
            <a:solidFill>
              <a:srgbClr val="231F20"/>
            </a:solidFill>
            <a:ln w="0"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517692F0-B4A3-8AD2-DF6E-131D93F1009C}"/>
                </a:ext>
              </a:extLst>
            </p:cNvPr>
            <p:cNvSpPr/>
            <p:nvPr/>
          </p:nvSpPr>
          <p:spPr>
            <a:xfrm>
              <a:off x="9294087" y="6628866"/>
              <a:ext cx="74554" cy="79511"/>
            </a:xfrm>
            <a:custGeom>
              <a:avLst/>
              <a:gdLst>
                <a:gd name="connsiteX0" fmla="*/ 45547 w 74554"/>
                <a:gd name="connsiteY0" fmla="*/ 25360 h 79511"/>
                <a:gd name="connsiteX1" fmla="*/ 43639 w 74554"/>
                <a:gd name="connsiteY1" fmla="*/ 19112 h 79511"/>
                <a:gd name="connsiteX2" fmla="*/ 35624 w 74554"/>
                <a:gd name="connsiteY2" fmla="*/ 16417 h 79511"/>
                <a:gd name="connsiteX3" fmla="*/ 28626 w 74554"/>
                <a:gd name="connsiteY3" fmla="*/ 23155 h 79511"/>
                <a:gd name="connsiteX4" fmla="*/ 58906 w 74554"/>
                <a:gd name="connsiteY4" fmla="*/ 33936 h 79511"/>
                <a:gd name="connsiteX5" fmla="*/ 74555 w 74554"/>
                <a:gd name="connsiteY5" fmla="*/ 54518 h 79511"/>
                <a:gd name="connsiteX6" fmla="*/ 37405 w 74554"/>
                <a:gd name="connsiteY6" fmla="*/ 79511 h 79511"/>
                <a:gd name="connsiteX7" fmla="*/ 1 w 74554"/>
                <a:gd name="connsiteY7" fmla="*/ 52926 h 79511"/>
                <a:gd name="connsiteX8" fmla="*/ 27863 w 74554"/>
                <a:gd name="connsiteY8" fmla="*/ 52926 h 79511"/>
                <a:gd name="connsiteX9" fmla="*/ 29899 w 74554"/>
                <a:gd name="connsiteY9" fmla="*/ 59664 h 79511"/>
                <a:gd name="connsiteX10" fmla="*/ 36896 w 74554"/>
                <a:gd name="connsiteY10" fmla="*/ 63094 h 79511"/>
                <a:gd name="connsiteX11" fmla="*/ 46820 w 74554"/>
                <a:gd name="connsiteY11" fmla="*/ 56234 h 79511"/>
                <a:gd name="connsiteX12" fmla="*/ 891 w 74554"/>
                <a:gd name="connsiteY12" fmla="*/ 23645 h 79511"/>
                <a:gd name="connsiteX13" fmla="*/ 36769 w 74554"/>
                <a:gd name="connsiteY13" fmla="*/ 0 h 79511"/>
                <a:gd name="connsiteX14" fmla="*/ 73410 w 74554"/>
                <a:gd name="connsiteY14" fmla="*/ 25360 h 79511"/>
                <a:gd name="connsiteX15" fmla="*/ 45547 w 74554"/>
                <a:gd name="connsiteY15" fmla="*/ 25360 h 7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54" h="79511">
                  <a:moveTo>
                    <a:pt x="45547" y="25360"/>
                  </a:moveTo>
                  <a:cubicBezTo>
                    <a:pt x="45547" y="22787"/>
                    <a:pt x="45038" y="20582"/>
                    <a:pt x="43639" y="19112"/>
                  </a:cubicBezTo>
                  <a:cubicBezTo>
                    <a:pt x="42112" y="17519"/>
                    <a:pt x="39568" y="16417"/>
                    <a:pt x="35624" y="16417"/>
                  </a:cubicBezTo>
                  <a:cubicBezTo>
                    <a:pt x="31298" y="16417"/>
                    <a:pt x="28626" y="18745"/>
                    <a:pt x="28626" y="23155"/>
                  </a:cubicBezTo>
                  <a:cubicBezTo>
                    <a:pt x="28626" y="28668"/>
                    <a:pt x="40585" y="28423"/>
                    <a:pt x="58906" y="33936"/>
                  </a:cubicBezTo>
                  <a:cubicBezTo>
                    <a:pt x="68193" y="36754"/>
                    <a:pt x="74555" y="42267"/>
                    <a:pt x="74555" y="54518"/>
                  </a:cubicBezTo>
                  <a:cubicBezTo>
                    <a:pt x="74555" y="74366"/>
                    <a:pt x="55216" y="79511"/>
                    <a:pt x="37405" y="79511"/>
                  </a:cubicBezTo>
                  <a:cubicBezTo>
                    <a:pt x="18448" y="79511"/>
                    <a:pt x="-127" y="75836"/>
                    <a:pt x="1" y="52926"/>
                  </a:cubicBezTo>
                  <a:lnTo>
                    <a:pt x="27863" y="52926"/>
                  </a:lnTo>
                  <a:cubicBezTo>
                    <a:pt x="27354" y="55131"/>
                    <a:pt x="28245" y="57704"/>
                    <a:pt x="29899" y="59664"/>
                  </a:cubicBezTo>
                  <a:cubicBezTo>
                    <a:pt x="31553" y="61624"/>
                    <a:pt x="34097" y="63094"/>
                    <a:pt x="36896" y="63094"/>
                  </a:cubicBezTo>
                  <a:cubicBezTo>
                    <a:pt x="42621" y="63094"/>
                    <a:pt x="46820" y="61012"/>
                    <a:pt x="46820" y="56234"/>
                  </a:cubicBezTo>
                  <a:cubicBezTo>
                    <a:pt x="46820" y="42880"/>
                    <a:pt x="891" y="50843"/>
                    <a:pt x="891" y="23645"/>
                  </a:cubicBezTo>
                  <a:cubicBezTo>
                    <a:pt x="891" y="5146"/>
                    <a:pt x="21247" y="0"/>
                    <a:pt x="36769" y="0"/>
                  </a:cubicBezTo>
                  <a:cubicBezTo>
                    <a:pt x="55216" y="0"/>
                    <a:pt x="72137" y="4656"/>
                    <a:pt x="73410" y="25360"/>
                  </a:cubicBezTo>
                  <a:lnTo>
                    <a:pt x="45547" y="25360"/>
                  </a:lnTo>
                  <a:close/>
                </a:path>
              </a:pathLst>
            </a:custGeom>
            <a:solidFill>
              <a:srgbClr val="231F20"/>
            </a:solidFill>
            <a:ln w="0"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ECA95176-E550-2050-4F71-B86F039D85EA}"/>
                </a:ext>
              </a:extLst>
            </p:cNvPr>
            <p:cNvSpPr/>
            <p:nvPr/>
          </p:nvSpPr>
          <p:spPr>
            <a:xfrm>
              <a:off x="9372204" y="6686938"/>
              <a:ext cx="22900" cy="21929"/>
            </a:xfrm>
            <a:custGeom>
              <a:avLst/>
              <a:gdLst>
                <a:gd name="connsiteX0" fmla="*/ 9033 w 22900"/>
                <a:gd name="connsiteY0" fmla="*/ 10414 h 21929"/>
                <a:gd name="connsiteX1" fmla="*/ 9033 w 22900"/>
                <a:gd name="connsiteY1" fmla="*/ 6003 h 21929"/>
                <a:gd name="connsiteX2" fmla="*/ 11959 w 22900"/>
                <a:gd name="connsiteY2" fmla="*/ 6003 h 21929"/>
                <a:gd name="connsiteX3" fmla="*/ 15013 w 22900"/>
                <a:gd name="connsiteY3" fmla="*/ 8208 h 21929"/>
                <a:gd name="connsiteX4" fmla="*/ 11069 w 22900"/>
                <a:gd name="connsiteY4" fmla="*/ 10414 h 21929"/>
                <a:gd name="connsiteX5" fmla="*/ 8906 w 22900"/>
                <a:gd name="connsiteY5" fmla="*/ 10414 h 21929"/>
                <a:gd name="connsiteX6" fmla="*/ 9033 w 22900"/>
                <a:gd name="connsiteY6" fmla="*/ 11639 h 21929"/>
                <a:gd name="connsiteX7" fmla="*/ 11705 w 22900"/>
                <a:gd name="connsiteY7" fmla="*/ 11639 h 21929"/>
                <a:gd name="connsiteX8" fmla="*/ 15394 w 22900"/>
                <a:gd name="connsiteY8" fmla="*/ 17274 h 21929"/>
                <a:gd name="connsiteX9" fmla="*/ 17303 w 22900"/>
                <a:gd name="connsiteY9" fmla="*/ 17274 h 21929"/>
                <a:gd name="connsiteX10" fmla="*/ 13359 w 22900"/>
                <a:gd name="connsiteY10" fmla="*/ 11639 h 21929"/>
                <a:gd name="connsiteX11" fmla="*/ 16667 w 22900"/>
                <a:gd name="connsiteY11" fmla="*/ 8086 h 21929"/>
                <a:gd name="connsiteX12" fmla="*/ 12341 w 22900"/>
                <a:gd name="connsiteY12" fmla="*/ 4533 h 21929"/>
                <a:gd name="connsiteX13" fmla="*/ 7252 w 22900"/>
                <a:gd name="connsiteY13" fmla="*/ 4533 h 21929"/>
                <a:gd name="connsiteX14" fmla="*/ 7252 w 22900"/>
                <a:gd name="connsiteY14" fmla="*/ 17274 h 21929"/>
                <a:gd name="connsiteX15" fmla="*/ 8906 w 22900"/>
                <a:gd name="connsiteY15" fmla="*/ 17274 h 21929"/>
                <a:gd name="connsiteX16" fmla="*/ 8906 w 22900"/>
                <a:gd name="connsiteY16" fmla="*/ 11639 h 21929"/>
                <a:gd name="connsiteX17" fmla="*/ 11450 w 22900"/>
                <a:gd name="connsiteY17" fmla="*/ 1593 h 21929"/>
                <a:gd name="connsiteX18" fmla="*/ 20992 w 22900"/>
                <a:gd name="connsiteY18" fmla="*/ 11026 h 21929"/>
                <a:gd name="connsiteX19" fmla="*/ 11450 w 22900"/>
                <a:gd name="connsiteY19" fmla="*/ 20460 h 21929"/>
                <a:gd name="connsiteX20" fmla="*/ 1781 w 22900"/>
                <a:gd name="connsiteY20" fmla="*/ 11026 h 21929"/>
                <a:gd name="connsiteX21" fmla="*/ 11450 w 22900"/>
                <a:gd name="connsiteY21" fmla="*/ 1593 h 21929"/>
                <a:gd name="connsiteX22" fmla="*/ 11450 w 22900"/>
                <a:gd name="connsiteY22" fmla="*/ 0 h 21929"/>
                <a:gd name="connsiteX23" fmla="*/ 0 w 22900"/>
                <a:gd name="connsiteY23" fmla="*/ 10904 h 21929"/>
                <a:gd name="connsiteX24" fmla="*/ 11450 w 22900"/>
                <a:gd name="connsiteY24" fmla="*/ 21930 h 21929"/>
                <a:gd name="connsiteX25" fmla="*/ 22901 w 22900"/>
                <a:gd name="connsiteY25" fmla="*/ 10904 h 21929"/>
                <a:gd name="connsiteX26" fmla="*/ 11450 w 22900"/>
                <a:gd name="connsiteY26" fmla="*/ 0 h 2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900" h="21929">
                  <a:moveTo>
                    <a:pt x="9033" y="10414"/>
                  </a:moveTo>
                  <a:lnTo>
                    <a:pt x="9033" y="6003"/>
                  </a:lnTo>
                  <a:lnTo>
                    <a:pt x="11959" y="6003"/>
                  </a:lnTo>
                  <a:cubicBezTo>
                    <a:pt x="13486" y="6003"/>
                    <a:pt x="15013" y="6371"/>
                    <a:pt x="15013" y="8208"/>
                  </a:cubicBezTo>
                  <a:cubicBezTo>
                    <a:pt x="15013" y="10414"/>
                    <a:pt x="13104" y="10414"/>
                    <a:pt x="11069" y="10414"/>
                  </a:cubicBezTo>
                  <a:lnTo>
                    <a:pt x="8906" y="10414"/>
                  </a:lnTo>
                  <a:close/>
                  <a:moveTo>
                    <a:pt x="9033" y="11639"/>
                  </a:moveTo>
                  <a:lnTo>
                    <a:pt x="11705" y="11639"/>
                  </a:lnTo>
                  <a:lnTo>
                    <a:pt x="15394" y="17274"/>
                  </a:lnTo>
                  <a:lnTo>
                    <a:pt x="17303" y="17274"/>
                  </a:lnTo>
                  <a:lnTo>
                    <a:pt x="13359" y="11639"/>
                  </a:lnTo>
                  <a:cubicBezTo>
                    <a:pt x="15140" y="11394"/>
                    <a:pt x="16667" y="10291"/>
                    <a:pt x="16667" y="8086"/>
                  </a:cubicBezTo>
                  <a:cubicBezTo>
                    <a:pt x="16667" y="5881"/>
                    <a:pt x="15394" y="4533"/>
                    <a:pt x="12341" y="4533"/>
                  </a:cubicBezTo>
                  <a:lnTo>
                    <a:pt x="7252" y="4533"/>
                  </a:lnTo>
                  <a:lnTo>
                    <a:pt x="7252" y="17274"/>
                  </a:lnTo>
                  <a:lnTo>
                    <a:pt x="8906" y="17274"/>
                  </a:lnTo>
                  <a:lnTo>
                    <a:pt x="8906" y="11639"/>
                  </a:lnTo>
                  <a:close/>
                  <a:moveTo>
                    <a:pt x="11450" y="1593"/>
                  </a:moveTo>
                  <a:cubicBezTo>
                    <a:pt x="16921" y="1593"/>
                    <a:pt x="20992" y="5758"/>
                    <a:pt x="20992" y="11026"/>
                  </a:cubicBezTo>
                  <a:cubicBezTo>
                    <a:pt x="20992" y="16294"/>
                    <a:pt x="16921" y="20460"/>
                    <a:pt x="11450" y="20460"/>
                  </a:cubicBezTo>
                  <a:cubicBezTo>
                    <a:pt x="5980" y="20460"/>
                    <a:pt x="1781" y="16294"/>
                    <a:pt x="1781" y="11026"/>
                  </a:cubicBezTo>
                  <a:cubicBezTo>
                    <a:pt x="1781" y="5758"/>
                    <a:pt x="5852" y="1593"/>
                    <a:pt x="11450" y="1593"/>
                  </a:cubicBezTo>
                  <a:moveTo>
                    <a:pt x="11450" y="0"/>
                  </a:moveTo>
                  <a:cubicBezTo>
                    <a:pt x="5089" y="0"/>
                    <a:pt x="0" y="4778"/>
                    <a:pt x="0" y="10904"/>
                  </a:cubicBezTo>
                  <a:cubicBezTo>
                    <a:pt x="0" y="17029"/>
                    <a:pt x="4962" y="21930"/>
                    <a:pt x="11450" y="21930"/>
                  </a:cubicBezTo>
                  <a:cubicBezTo>
                    <a:pt x="17939" y="21930"/>
                    <a:pt x="22901" y="17152"/>
                    <a:pt x="22901" y="10904"/>
                  </a:cubicBezTo>
                  <a:cubicBezTo>
                    <a:pt x="22901" y="4656"/>
                    <a:pt x="17939" y="0"/>
                    <a:pt x="11450" y="0"/>
                  </a:cubicBezTo>
                </a:path>
              </a:pathLst>
            </a:custGeom>
            <a:solidFill>
              <a:srgbClr val="231F20"/>
            </a:solidFill>
            <a:ln w="0" cap="flat">
              <a:noFill/>
              <a:prstDash val="solid"/>
              <a:miter/>
            </a:ln>
          </p:spPr>
          <p:txBody>
            <a:bodyPr rtlCol="0" anchor="ctr"/>
            <a:lstStyle/>
            <a:p>
              <a:endParaRPr lang="en-US"/>
            </a:p>
          </p:txBody>
        </p:sp>
      </p:grpSp>
      <p:sp>
        <p:nvSpPr>
          <p:cNvPr id="4" name="TextBox 3">
            <a:extLst>
              <a:ext uri="{FF2B5EF4-FFF2-40B4-BE49-F238E27FC236}">
                <a16:creationId xmlns:a16="http://schemas.microsoft.com/office/drawing/2014/main" id="{EA56FB13-A388-2199-2A8B-E8B293E4642C}"/>
              </a:ext>
            </a:extLst>
          </p:cNvPr>
          <p:cNvSpPr txBox="1"/>
          <p:nvPr userDrawn="1"/>
        </p:nvSpPr>
        <p:spPr>
          <a:xfrm>
            <a:off x="155448" y="2761488"/>
            <a:ext cx="5940552" cy="2916936"/>
          </a:xfrm>
          <a:prstGeom prst="rect">
            <a:avLst/>
          </a:prstGeom>
        </p:spPr>
        <p:txBody>
          <a:bodyPr vert="horz" wrap="square" lIns="91440" tIns="45720" rIns="91440" bIns="45720" rtlCol="0" anchor="t">
            <a:normAutofit/>
          </a:bodyPr>
          <a:lstStyle/>
          <a:p>
            <a:pPr algn="l">
              <a:lnSpc>
                <a:spcPct val="100000"/>
              </a:lnSpc>
            </a:pPr>
            <a:endParaRPr lang="en-US" sz="1800" b="0"/>
          </a:p>
        </p:txBody>
      </p:sp>
      <p:sp>
        <p:nvSpPr>
          <p:cNvPr id="5" name="TextBox 4">
            <a:extLst>
              <a:ext uri="{FF2B5EF4-FFF2-40B4-BE49-F238E27FC236}">
                <a16:creationId xmlns:a16="http://schemas.microsoft.com/office/drawing/2014/main" id="{46E8B57D-C8EB-7C6D-FF51-62A11C510262}"/>
              </a:ext>
            </a:extLst>
          </p:cNvPr>
          <p:cNvSpPr txBox="1"/>
          <p:nvPr userDrawn="1"/>
        </p:nvSpPr>
        <p:spPr>
          <a:xfrm>
            <a:off x="6227064" y="2167128"/>
            <a:ext cx="2834640" cy="1618488"/>
          </a:xfrm>
          <a:prstGeom prst="rect">
            <a:avLst/>
          </a:prstGeom>
        </p:spPr>
        <p:txBody>
          <a:bodyPr vert="horz" wrap="square" lIns="91440" tIns="45720" rIns="91440" bIns="45720" rtlCol="0" anchor="t">
            <a:normAutofit/>
          </a:bodyPr>
          <a:lstStyle/>
          <a:p>
            <a:pPr algn="l">
              <a:lnSpc>
                <a:spcPct val="100000"/>
              </a:lnSpc>
            </a:pPr>
            <a:endParaRPr lang="en-US" sz="1800" b="0"/>
          </a:p>
        </p:txBody>
      </p:sp>
    </p:spTree>
    <p:extLst>
      <p:ext uri="{BB962C8B-B14F-4D97-AF65-F5344CB8AC3E}">
        <p14:creationId xmlns:p14="http://schemas.microsoft.com/office/powerpoint/2010/main" val="708259127"/>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Lst>
  <p:hf hdr="0" ftr="0" dt="0"/>
  <p:txStyles>
    <p:titleStyle>
      <a:lvl1pPr algn="l" defTabSz="914400" rtl="0" eaLnBrk="1" latinLnBrk="0" hangingPunct="1">
        <a:lnSpc>
          <a:spcPct val="80000"/>
        </a:lnSpc>
        <a:spcBef>
          <a:spcPct val="0"/>
        </a:spcBef>
        <a:buNone/>
        <a:defRPr sz="3400" b="1" i="0" kern="1200">
          <a:solidFill>
            <a:schemeClr val="tx1"/>
          </a:solidFill>
          <a:latin typeface="Aptos" panose="020B0004020202020204" pitchFamily="34" charset="0"/>
          <a:ea typeface="Aptos" panose="020B0004020202020204" pitchFamily="34" charset="0"/>
          <a:cs typeface="Arial" charset="0"/>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Aptos" panose="020B0004020202020204" pitchFamily="34" charset="0"/>
          <a:ea typeface="Aptos" panose="020B0004020202020204" pitchFamily="34"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ptos" panose="020B0004020202020204" pitchFamily="34"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360">
          <p15:clr>
            <a:srgbClr val="F26B43"/>
          </p15:clr>
        </p15:guide>
        <p15:guide id="3" orient="horz" pos="4152">
          <p15:clr>
            <a:srgbClr val="F26B43"/>
          </p15:clr>
        </p15:guide>
        <p15:guide id="4" pos="3840">
          <p15:clr>
            <a:srgbClr val="F26B43"/>
          </p15:clr>
        </p15:guide>
        <p15:guide id="5" pos="7320">
          <p15:clr>
            <a:srgbClr val="F26B43"/>
          </p15:clr>
        </p15:guide>
        <p15:guide id="6" orient="horz" pos="4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Slide Number Placeholder 4"/>
          <p:cNvSpPr txBox="1">
            <a:spLocks/>
          </p:cNvSpPr>
          <p:nvPr userDrawn="1"/>
        </p:nvSpPr>
        <p:spPr>
          <a:xfrm>
            <a:off x="706149" y="6488502"/>
            <a:ext cx="616351" cy="194244"/>
          </a:xfrm>
          <a:prstGeom prst="rect">
            <a:avLst/>
          </a:prstGeom>
        </p:spPr>
        <p:txBody>
          <a:bodyPr vert="horz" lIns="121920" tIns="60960" rIns="121920" bIns="60960" rtlCol="0" anchor="b"/>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algn="l"/>
            <a:fld id="{E219BBCF-6562-0F4B-B1E4-C6BFB9DF245D}" type="slidenum">
              <a:rPr lang="en-US" sz="1000" b="0" smtClean="0">
                <a:solidFill>
                  <a:schemeClr val="bg1">
                    <a:lumMod val="75000"/>
                  </a:schemeClr>
                </a:solidFill>
                <a:latin typeface="Aptos" panose="020B0004020202020204" pitchFamily="34" charset="0"/>
              </a:rPr>
              <a:pPr algn="l"/>
              <a:t>‹#›</a:t>
            </a:fld>
            <a:endParaRPr lang="en-US" sz="1000" b="0" dirty="0">
              <a:solidFill>
                <a:schemeClr val="bg1">
                  <a:lumMod val="75000"/>
                </a:schemeClr>
              </a:solidFill>
              <a:latin typeface="Aptos" panose="020B0004020202020204" pitchFamily="34" charset="0"/>
            </a:endParaRPr>
          </a:p>
        </p:txBody>
      </p:sp>
      <p:grpSp>
        <p:nvGrpSpPr>
          <p:cNvPr id="37" name="Group 36">
            <a:extLst>
              <a:ext uri="{FF2B5EF4-FFF2-40B4-BE49-F238E27FC236}">
                <a16:creationId xmlns:a16="http://schemas.microsoft.com/office/drawing/2014/main" id="{DC83C121-E3B8-7AB1-4AA8-AFC4F5DE4E5E}"/>
              </a:ext>
            </a:extLst>
          </p:cNvPr>
          <p:cNvGrpSpPr>
            <a:grpSpLocks noChangeAspect="1"/>
          </p:cNvGrpSpPr>
          <p:nvPr userDrawn="1"/>
        </p:nvGrpSpPr>
        <p:grpSpPr>
          <a:xfrm>
            <a:off x="10927257" y="6488501"/>
            <a:ext cx="720091" cy="109404"/>
            <a:chOff x="8670176" y="6598728"/>
            <a:chExt cx="724928" cy="110139"/>
          </a:xfrm>
        </p:grpSpPr>
        <p:sp>
          <p:nvSpPr>
            <p:cNvPr id="38" name="Freeform 37">
              <a:extLst>
                <a:ext uri="{FF2B5EF4-FFF2-40B4-BE49-F238E27FC236}">
                  <a16:creationId xmlns:a16="http://schemas.microsoft.com/office/drawing/2014/main" id="{9E0FB519-D217-C0B7-5F13-2AD062A13270}"/>
                </a:ext>
              </a:extLst>
            </p:cNvPr>
            <p:cNvSpPr/>
            <p:nvPr/>
          </p:nvSpPr>
          <p:spPr>
            <a:xfrm>
              <a:off x="8774500" y="6630582"/>
              <a:ext cx="85113" cy="78163"/>
            </a:xfrm>
            <a:custGeom>
              <a:avLst/>
              <a:gdLst>
                <a:gd name="connsiteX0" fmla="*/ 41348 w 85113"/>
                <a:gd name="connsiteY0" fmla="*/ 60277 h 78163"/>
                <a:gd name="connsiteX1" fmla="*/ 29771 w 85113"/>
                <a:gd name="connsiteY1" fmla="*/ 44840 h 78163"/>
                <a:gd name="connsiteX2" fmla="*/ 29771 w 85113"/>
                <a:gd name="connsiteY2" fmla="*/ 123 h 78163"/>
                <a:gd name="connsiteX3" fmla="*/ 0 w 85113"/>
                <a:gd name="connsiteY3" fmla="*/ 123 h 78163"/>
                <a:gd name="connsiteX4" fmla="*/ 0 w 85113"/>
                <a:gd name="connsiteY4" fmla="*/ 50966 h 78163"/>
                <a:gd name="connsiteX5" fmla="*/ 29516 w 85113"/>
                <a:gd name="connsiteY5" fmla="*/ 78164 h 78163"/>
                <a:gd name="connsiteX6" fmla="*/ 54325 w 85113"/>
                <a:gd name="connsiteY6" fmla="*/ 67505 h 78163"/>
                <a:gd name="connsiteX7" fmla="*/ 54834 w 85113"/>
                <a:gd name="connsiteY7" fmla="*/ 75958 h 78163"/>
                <a:gd name="connsiteX8" fmla="*/ 85114 w 85113"/>
                <a:gd name="connsiteY8" fmla="*/ 75958 h 78163"/>
                <a:gd name="connsiteX9" fmla="*/ 84096 w 85113"/>
                <a:gd name="connsiteY9" fmla="*/ 56479 h 78163"/>
                <a:gd name="connsiteX10" fmla="*/ 84096 w 85113"/>
                <a:gd name="connsiteY10" fmla="*/ 0 h 78163"/>
                <a:gd name="connsiteX11" fmla="*/ 54325 w 85113"/>
                <a:gd name="connsiteY11" fmla="*/ 0 h 78163"/>
                <a:gd name="connsiteX12" fmla="*/ 54325 w 85113"/>
                <a:gd name="connsiteY12" fmla="*/ 43615 h 78163"/>
                <a:gd name="connsiteX13" fmla="*/ 41475 w 85113"/>
                <a:gd name="connsiteY13" fmla="*/ 60154 h 7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113" h="78163">
                  <a:moveTo>
                    <a:pt x="41348" y="60277"/>
                  </a:moveTo>
                  <a:cubicBezTo>
                    <a:pt x="32061" y="60277"/>
                    <a:pt x="30152" y="52313"/>
                    <a:pt x="29771" y="44840"/>
                  </a:cubicBezTo>
                  <a:lnTo>
                    <a:pt x="29771" y="123"/>
                  </a:lnTo>
                  <a:cubicBezTo>
                    <a:pt x="29771" y="123"/>
                    <a:pt x="0" y="123"/>
                    <a:pt x="0" y="123"/>
                  </a:cubicBezTo>
                  <a:lnTo>
                    <a:pt x="0" y="50966"/>
                  </a:lnTo>
                  <a:cubicBezTo>
                    <a:pt x="0" y="67627"/>
                    <a:pt x="12595" y="78164"/>
                    <a:pt x="29516" y="78164"/>
                  </a:cubicBezTo>
                  <a:cubicBezTo>
                    <a:pt x="39694" y="78164"/>
                    <a:pt x="47455" y="75101"/>
                    <a:pt x="54325" y="67505"/>
                  </a:cubicBezTo>
                  <a:lnTo>
                    <a:pt x="54834" y="75958"/>
                  </a:lnTo>
                  <a:lnTo>
                    <a:pt x="85114" y="75958"/>
                  </a:lnTo>
                  <a:cubicBezTo>
                    <a:pt x="84350" y="67750"/>
                    <a:pt x="84223" y="63217"/>
                    <a:pt x="84096" y="56479"/>
                  </a:cubicBezTo>
                  <a:lnTo>
                    <a:pt x="84096" y="0"/>
                  </a:lnTo>
                  <a:cubicBezTo>
                    <a:pt x="84096" y="0"/>
                    <a:pt x="54325" y="0"/>
                    <a:pt x="54325" y="0"/>
                  </a:cubicBezTo>
                  <a:lnTo>
                    <a:pt x="54325" y="43615"/>
                  </a:lnTo>
                  <a:cubicBezTo>
                    <a:pt x="54325" y="44595"/>
                    <a:pt x="56234" y="60154"/>
                    <a:pt x="41475" y="60154"/>
                  </a:cubicBezTo>
                </a:path>
              </a:pathLst>
            </a:custGeom>
            <a:solidFill>
              <a:srgbClr val="231F20"/>
            </a:solidFill>
            <a:ln w="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C8DD0D45-7BB6-EBDB-1B96-1FC3B9C15EF7}"/>
                </a:ext>
              </a:extLst>
            </p:cNvPr>
            <p:cNvSpPr/>
            <p:nvPr/>
          </p:nvSpPr>
          <p:spPr>
            <a:xfrm>
              <a:off x="8866866" y="6628620"/>
              <a:ext cx="139311" cy="78042"/>
            </a:xfrm>
            <a:custGeom>
              <a:avLst/>
              <a:gdLst>
                <a:gd name="connsiteX0" fmla="*/ 29389 w 139311"/>
                <a:gd name="connsiteY0" fmla="*/ 2084 h 78042"/>
                <a:gd name="connsiteX1" fmla="*/ 0 w 139311"/>
                <a:gd name="connsiteY1" fmla="*/ 2084 h 78042"/>
                <a:gd name="connsiteX2" fmla="*/ 1018 w 139311"/>
                <a:gd name="connsiteY2" fmla="*/ 21563 h 78042"/>
                <a:gd name="connsiteX3" fmla="*/ 1018 w 139311"/>
                <a:gd name="connsiteY3" fmla="*/ 78042 h 78042"/>
                <a:gd name="connsiteX4" fmla="*/ 30788 w 139311"/>
                <a:gd name="connsiteY4" fmla="*/ 78042 h 78042"/>
                <a:gd name="connsiteX5" fmla="*/ 30788 w 139311"/>
                <a:gd name="connsiteY5" fmla="*/ 34427 h 78042"/>
                <a:gd name="connsiteX6" fmla="*/ 43765 w 139311"/>
                <a:gd name="connsiteY6" fmla="*/ 17888 h 78042"/>
                <a:gd name="connsiteX7" fmla="*/ 55343 w 139311"/>
                <a:gd name="connsiteY7" fmla="*/ 33325 h 78042"/>
                <a:gd name="connsiteX8" fmla="*/ 55343 w 139311"/>
                <a:gd name="connsiteY8" fmla="*/ 78042 h 78042"/>
                <a:gd name="connsiteX9" fmla="*/ 85114 w 139311"/>
                <a:gd name="connsiteY9" fmla="*/ 78042 h 78042"/>
                <a:gd name="connsiteX10" fmla="*/ 85114 w 139311"/>
                <a:gd name="connsiteY10" fmla="*/ 34427 h 78042"/>
                <a:gd name="connsiteX11" fmla="*/ 97963 w 139311"/>
                <a:gd name="connsiteY11" fmla="*/ 18011 h 78042"/>
                <a:gd name="connsiteX12" fmla="*/ 109541 w 139311"/>
                <a:gd name="connsiteY12" fmla="*/ 33447 h 78042"/>
                <a:gd name="connsiteX13" fmla="*/ 109541 w 139311"/>
                <a:gd name="connsiteY13" fmla="*/ 78042 h 78042"/>
                <a:gd name="connsiteX14" fmla="*/ 139312 w 139311"/>
                <a:gd name="connsiteY14" fmla="*/ 78042 h 78042"/>
                <a:gd name="connsiteX15" fmla="*/ 139312 w 139311"/>
                <a:gd name="connsiteY15" fmla="*/ 27322 h 78042"/>
                <a:gd name="connsiteX16" fmla="*/ 109795 w 139311"/>
                <a:gd name="connsiteY16" fmla="*/ 1 h 78042"/>
                <a:gd name="connsiteX17" fmla="*/ 81679 w 139311"/>
                <a:gd name="connsiteY17" fmla="*/ 14580 h 78042"/>
                <a:gd name="connsiteX18" fmla="*/ 58015 w 139311"/>
                <a:gd name="connsiteY18" fmla="*/ 491 h 78042"/>
                <a:gd name="connsiteX19" fmla="*/ 30280 w 139311"/>
                <a:gd name="connsiteY19" fmla="*/ 14948 h 78042"/>
                <a:gd name="connsiteX20" fmla="*/ 30025 w 139311"/>
                <a:gd name="connsiteY20" fmla="*/ 14948 h 78042"/>
                <a:gd name="connsiteX21" fmla="*/ 29516 w 139311"/>
                <a:gd name="connsiteY21" fmla="*/ 2329 h 7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311" h="78042">
                  <a:moveTo>
                    <a:pt x="29389" y="2084"/>
                  </a:moveTo>
                  <a:lnTo>
                    <a:pt x="0" y="2084"/>
                  </a:lnTo>
                  <a:cubicBezTo>
                    <a:pt x="763" y="10292"/>
                    <a:pt x="1018" y="14825"/>
                    <a:pt x="1018" y="21563"/>
                  </a:cubicBezTo>
                  <a:lnTo>
                    <a:pt x="1018" y="78042"/>
                  </a:lnTo>
                  <a:cubicBezTo>
                    <a:pt x="1018" y="78042"/>
                    <a:pt x="30788" y="78042"/>
                    <a:pt x="30788" y="78042"/>
                  </a:cubicBezTo>
                  <a:lnTo>
                    <a:pt x="30788" y="34427"/>
                  </a:lnTo>
                  <a:cubicBezTo>
                    <a:pt x="30788" y="33570"/>
                    <a:pt x="28880" y="17888"/>
                    <a:pt x="43765" y="17888"/>
                  </a:cubicBezTo>
                  <a:cubicBezTo>
                    <a:pt x="53053" y="17888"/>
                    <a:pt x="54961" y="25851"/>
                    <a:pt x="55343" y="33325"/>
                  </a:cubicBezTo>
                  <a:lnTo>
                    <a:pt x="55343" y="78042"/>
                  </a:lnTo>
                  <a:cubicBezTo>
                    <a:pt x="55343" y="78042"/>
                    <a:pt x="85114" y="78042"/>
                    <a:pt x="85114" y="78042"/>
                  </a:cubicBezTo>
                  <a:lnTo>
                    <a:pt x="85114" y="34427"/>
                  </a:lnTo>
                  <a:cubicBezTo>
                    <a:pt x="85114" y="33570"/>
                    <a:pt x="83205" y="18011"/>
                    <a:pt x="97963" y="18011"/>
                  </a:cubicBezTo>
                  <a:cubicBezTo>
                    <a:pt x="107251" y="18011"/>
                    <a:pt x="109159" y="25974"/>
                    <a:pt x="109541" y="33447"/>
                  </a:cubicBezTo>
                  <a:lnTo>
                    <a:pt x="109541" y="78042"/>
                  </a:lnTo>
                  <a:cubicBezTo>
                    <a:pt x="109541" y="78042"/>
                    <a:pt x="139312" y="78042"/>
                    <a:pt x="139312" y="78042"/>
                  </a:cubicBezTo>
                  <a:lnTo>
                    <a:pt x="139312" y="27322"/>
                  </a:lnTo>
                  <a:cubicBezTo>
                    <a:pt x="139312" y="10537"/>
                    <a:pt x="126716" y="-121"/>
                    <a:pt x="109795" y="1"/>
                  </a:cubicBezTo>
                  <a:cubicBezTo>
                    <a:pt x="97963" y="369"/>
                    <a:pt x="87022" y="5514"/>
                    <a:pt x="81679" y="14580"/>
                  </a:cubicBezTo>
                  <a:cubicBezTo>
                    <a:pt x="78371" y="5392"/>
                    <a:pt x="67557" y="491"/>
                    <a:pt x="58015" y="491"/>
                  </a:cubicBezTo>
                  <a:cubicBezTo>
                    <a:pt x="46183" y="491"/>
                    <a:pt x="35750" y="4412"/>
                    <a:pt x="30280" y="14948"/>
                  </a:cubicBezTo>
                  <a:lnTo>
                    <a:pt x="30025" y="14948"/>
                  </a:lnTo>
                  <a:lnTo>
                    <a:pt x="29516" y="2329"/>
                  </a:lnTo>
                  <a:close/>
                </a:path>
              </a:pathLst>
            </a:custGeom>
            <a:solidFill>
              <a:srgbClr val="231F20"/>
            </a:solidFill>
            <a:ln w="0"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F1CECD87-EA09-BF2B-69BC-13107FAB46C1}"/>
                </a:ext>
              </a:extLst>
            </p:cNvPr>
            <p:cNvSpPr/>
            <p:nvPr/>
          </p:nvSpPr>
          <p:spPr>
            <a:xfrm>
              <a:off x="8670176" y="6598728"/>
              <a:ext cx="96691" cy="107934"/>
            </a:xfrm>
            <a:custGeom>
              <a:avLst/>
              <a:gdLst>
                <a:gd name="connsiteX0" fmla="*/ 60686 w 96691"/>
                <a:gd name="connsiteY0" fmla="*/ 30751 h 107934"/>
                <a:gd name="connsiteX1" fmla="*/ 96691 w 96691"/>
                <a:gd name="connsiteY1" fmla="*/ 30751 h 107934"/>
                <a:gd name="connsiteX2" fmla="*/ 96691 w 96691"/>
                <a:gd name="connsiteY2" fmla="*/ 0 h 107934"/>
                <a:gd name="connsiteX3" fmla="*/ 56106 w 96691"/>
                <a:gd name="connsiteY3" fmla="*/ 0 h 107934"/>
                <a:gd name="connsiteX4" fmla="*/ 0 w 96691"/>
                <a:gd name="connsiteY4" fmla="*/ 53906 h 107934"/>
                <a:gd name="connsiteX5" fmla="*/ 55979 w 96691"/>
                <a:gd name="connsiteY5" fmla="*/ 107935 h 107934"/>
                <a:gd name="connsiteX6" fmla="*/ 96691 w 96691"/>
                <a:gd name="connsiteY6" fmla="*/ 107935 h 107934"/>
                <a:gd name="connsiteX7" fmla="*/ 96691 w 96691"/>
                <a:gd name="connsiteY7" fmla="*/ 77184 h 107934"/>
                <a:gd name="connsiteX8" fmla="*/ 60432 w 96691"/>
                <a:gd name="connsiteY8" fmla="*/ 77184 h 107934"/>
                <a:gd name="connsiteX9" fmla="*/ 36386 w 96691"/>
                <a:gd name="connsiteY9" fmla="*/ 53906 h 107934"/>
                <a:gd name="connsiteX10" fmla="*/ 60559 w 96691"/>
                <a:gd name="connsiteY10" fmla="*/ 30751 h 10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691" h="107934">
                  <a:moveTo>
                    <a:pt x="60686" y="30751"/>
                  </a:moveTo>
                  <a:lnTo>
                    <a:pt x="96691" y="30751"/>
                  </a:lnTo>
                  <a:cubicBezTo>
                    <a:pt x="96691" y="30751"/>
                    <a:pt x="96691" y="0"/>
                    <a:pt x="96691" y="0"/>
                  </a:cubicBezTo>
                  <a:lnTo>
                    <a:pt x="56106" y="0"/>
                  </a:lnTo>
                  <a:cubicBezTo>
                    <a:pt x="25191" y="-122"/>
                    <a:pt x="0" y="24013"/>
                    <a:pt x="0" y="53906"/>
                  </a:cubicBezTo>
                  <a:cubicBezTo>
                    <a:pt x="0" y="83677"/>
                    <a:pt x="24936" y="107812"/>
                    <a:pt x="55979" y="107935"/>
                  </a:cubicBezTo>
                  <a:lnTo>
                    <a:pt x="96691" y="107935"/>
                  </a:lnTo>
                  <a:cubicBezTo>
                    <a:pt x="96691" y="107935"/>
                    <a:pt x="96691" y="77184"/>
                    <a:pt x="96691" y="77184"/>
                  </a:cubicBezTo>
                  <a:lnTo>
                    <a:pt x="60432" y="77184"/>
                  </a:lnTo>
                  <a:cubicBezTo>
                    <a:pt x="47073" y="77184"/>
                    <a:pt x="36386" y="66770"/>
                    <a:pt x="36386" y="53906"/>
                  </a:cubicBezTo>
                  <a:cubicBezTo>
                    <a:pt x="36386" y="41042"/>
                    <a:pt x="47201" y="30751"/>
                    <a:pt x="60559" y="30751"/>
                  </a:cubicBezTo>
                </a:path>
              </a:pathLst>
            </a:custGeom>
            <a:solidFill>
              <a:srgbClr val="231F20"/>
            </a:solidFill>
            <a:ln w="0"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4EE7AF8E-204F-FBA4-E2C0-2C66445537DE}"/>
                </a:ext>
              </a:extLst>
            </p:cNvPr>
            <p:cNvSpPr/>
            <p:nvPr/>
          </p:nvSpPr>
          <p:spPr>
            <a:xfrm>
              <a:off x="9016228" y="6628499"/>
              <a:ext cx="139184" cy="78040"/>
            </a:xfrm>
            <a:custGeom>
              <a:avLst/>
              <a:gdLst>
                <a:gd name="connsiteX0" fmla="*/ 29389 w 139184"/>
                <a:gd name="connsiteY0" fmla="*/ 2083 h 78040"/>
                <a:gd name="connsiteX1" fmla="*/ 0 w 139184"/>
                <a:gd name="connsiteY1" fmla="*/ 2083 h 78040"/>
                <a:gd name="connsiteX2" fmla="*/ 1018 w 139184"/>
                <a:gd name="connsiteY2" fmla="*/ 21562 h 78040"/>
                <a:gd name="connsiteX3" fmla="*/ 1018 w 139184"/>
                <a:gd name="connsiteY3" fmla="*/ 78041 h 78040"/>
                <a:gd name="connsiteX4" fmla="*/ 30789 w 139184"/>
                <a:gd name="connsiteY4" fmla="*/ 78041 h 78040"/>
                <a:gd name="connsiteX5" fmla="*/ 30789 w 139184"/>
                <a:gd name="connsiteY5" fmla="*/ 34426 h 78040"/>
                <a:gd name="connsiteX6" fmla="*/ 43638 w 139184"/>
                <a:gd name="connsiteY6" fmla="*/ 17887 h 78040"/>
                <a:gd name="connsiteX7" fmla="*/ 55216 w 139184"/>
                <a:gd name="connsiteY7" fmla="*/ 33324 h 78040"/>
                <a:gd name="connsiteX8" fmla="*/ 55216 w 139184"/>
                <a:gd name="connsiteY8" fmla="*/ 78041 h 78040"/>
                <a:gd name="connsiteX9" fmla="*/ 84986 w 139184"/>
                <a:gd name="connsiteY9" fmla="*/ 78041 h 78040"/>
                <a:gd name="connsiteX10" fmla="*/ 84986 w 139184"/>
                <a:gd name="connsiteY10" fmla="*/ 34426 h 78040"/>
                <a:gd name="connsiteX11" fmla="*/ 97836 w 139184"/>
                <a:gd name="connsiteY11" fmla="*/ 18009 h 78040"/>
                <a:gd name="connsiteX12" fmla="*/ 109414 w 139184"/>
                <a:gd name="connsiteY12" fmla="*/ 33446 h 78040"/>
                <a:gd name="connsiteX13" fmla="*/ 109414 w 139184"/>
                <a:gd name="connsiteY13" fmla="*/ 78041 h 78040"/>
                <a:gd name="connsiteX14" fmla="*/ 139184 w 139184"/>
                <a:gd name="connsiteY14" fmla="*/ 78041 h 78040"/>
                <a:gd name="connsiteX15" fmla="*/ 139184 w 139184"/>
                <a:gd name="connsiteY15" fmla="*/ 27320 h 78040"/>
                <a:gd name="connsiteX16" fmla="*/ 109668 w 139184"/>
                <a:gd name="connsiteY16" fmla="*/ 0 h 78040"/>
                <a:gd name="connsiteX17" fmla="*/ 81551 w 139184"/>
                <a:gd name="connsiteY17" fmla="*/ 14579 h 78040"/>
                <a:gd name="connsiteX18" fmla="*/ 57887 w 139184"/>
                <a:gd name="connsiteY18" fmla="*/ 490 h 78040"/>
                <a:gd name="connsiteX19" fmla="*/ 30152 w 139184"/>
                <a:gd name="connsiteY19" fmla="*/ 14824 h 78040"/>
                <a:gd name="connsiteX20" fmla="*/ 29898 w 139184"/>
                <a:gd name="connsiteY20" fmla="*/ 14824 h 78040"/>
                <a:gd name="connsiteX21" fmla="*/ 29389 w 139184"/>
                <a:gd name="connsiteY21" fmla="*/ 2205 h 7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184" h="78040">
                  <a:moveTo>
                    <a:pt x="29389" y="2083"/>
                  </a:moveTo>
                  <a:lnTo>
                    <a:pt x="0" y="2083"/>
                  </a:lnTo>
                  <a:cubicBezTo>
                    <a:pt x="763" y="10291"/>
                    <a:pt x="891" y="14824"/>
                    <a:pt x="1018" y="21562"/>
                  </a:cubicBezTo>
                  <a:lnTo>
                    <a:pt x="1018" y="78041"/>
                  </a:lnTo>
                  <a:cubicBezTo>
                    <a:pt x="1018" y="78041"/>
                    <a:pt x="30789" y="78041"/>
                    <a:pt x="30789" y="78041"/>
                  </a:cubicBezTo>
                  <a:lnTo>
                    <a:pt x="30789" y="34426"/>
                  </a:lnTo>
                  <a:cubicBezTo>
                    <a:pt x="30789" y="33569"/>
                    <a:pt x="28880" y="17887"/>
                    <a:pt x="43638" y="17887"/>
                  </a:cubicBezTo>
                  <a:cubicBezTo>
                    <a:pt x="52926" y="17887"/>
                    <a:pt x="54834" y="25850"/>
                    <a:pt x="55216" y="33324"/>
                  </a:cubicBezTo>
                  <a:lnTo>
                    <a:pt x="55216" y="78041"/>
                  </a:lnTo>
                  <a:cubicBezTo>
                    <a:pt x="55216" y="78041"/>
                    <a:pt x="84986" y="78041"/>
                    <a:pt x="84986" y="78041"/>
                  </a:cubicBezTo>
                  <a:lnTo>
                    <a:pt x="84986" y="34426"/>
                  </a:lnTo>
                  <a:cubicBezTo>
                    <a:pt x="84986" y="33569"/>
                    <a:pt x="83078" y="18009"/>
                    <a:pt x="97836" y="18009"/>
                  </a:cubicBezTo>
                  <a:cubicBezTo>
                    <a:pt x="107124" y="18009"/>
                    <a:pt x="109032" y="25973"/>
                    <a:pt x="109414" y="33446"/>
                  </a:cubicBezTo>
                  <a:lnTo>
                    <a:pt x="109414" y="78041"/>
                  </a:lnTo>
                  <a:cubicBezTo>
                    <a:pt x="109414" y="78041"/>
                    <a:pt x="139184" y="78041"/>
                    <a:pt x="139184" y="78041"/>
                  </a:cubicBezTo>
                  <a:lnTo>
                    <a:pt x="139184" y="27320"/>
                  </a:lnTo>
                  <a:cubicBezTo>
                    <a:pt x="139184" y="10536"/>
                    <a:pt x="126589" y="0"/>
                    <a:pt x="109668" y="0"/>
                  </a:cubicBezTo>
                  <a:cubicBezTo>
                    <a:pt x="97836" y="368"/>
                    <a:pt x="86895" y="5513"/>
                    <a:pt x="81551" y="14579"/>
                  </a:cubicBezTo>
                  <a:cubicBezTo>
                    <a:pt x="78243" y="5391"/>
                    <a:pt x="67429" y="490"/>
                    <a:pt x="57887" y="490"/>
                  </a:cubicBezTo>
                  <a:cubicBezTo>
                    <a:pt x="46056" y="490"/>
                    <a:pt x="35623" y="4410"/>
                    <a:pt x="30152" y="14824"/>
                  </a:cubicBezTo>
                  <a:lnTo>
                    <a:pt x="29898" y="14824"/>
                  </a:lnTo>
                  <a:lnTo>
                    <a:pt x="29389" y="2205"/>
                  </a:lnTo>
                  <a:close/>
                </a:path>
              </a:pathLst>
            </a:custGeom>
            <a:solidFill>
              <a:srgbClr val="231F20"/>
            </a:solidFill>
            <a:ln w="0"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047B016F-7253-A2E1-FA29-7A430D8D7CFF}"/>
                </a:ext>
              </a:extLst>
            </p:cNvPr>
            <p:cNvSpPr/>
            <p:nvPr/>
          </p:nvSpPr>
          <p:spPr>
            <a:xfrm>
              <a:off x="9164700" y="6599096"/>
              <a:ext cx="30025" cy="20214"/>
            </a:xfrm>
            <a:custGeom>
              <a:avLst/>
              <a:gdLst>
                <a:gd name="connsiteX0" fmla="*/ 0 w 30025"/>
                <a:gd name="connsiteY0" fmla="*/ 0 h 20214"/>
                <a:gd name="connsiteX1" fmla="*/ 30025 w 30025"/>
                <a:gd name="connsiteY1" fmla="*/ 0 h 20214"/>
                <a:gd name="connsiteX2" fmla="*/ 30025 w 30025"/>
                <a:gd name="connsiteY2" fmla="*/ 20215 h 20214"/>
                <a:gd name="connsiteX3" fmla="*/ 0 w 30025"/>
                <a:gd name="connsiteY3" fmla="*/ 20215 h 20214"/>
              </a:gdLst>
              <a:ahLst/>
              <a:cxnLst>
                <a:cxn ang="0">
                  <a:pos x="connsiteX0" y="connsiteY0"/>
                </a:cxn>
                <a:cxn ang="0">
                  <a:pos x="connsiteX1" y="connsiteY1"/>
                </a:cxn>
                <a:cxn ang="0">
                  <a:pos x="connsiteX2" y="connsiteY2"/>
                </a:cxn>
                <a:cxn ang="0">
                  <a:pos x="connsiteX3" y="connsiteY3"/>
                </a:cxn>
              </a:cxnLst>
              <a:rect l="l" t="t" r="r" b="b"/>
              <a:pathLst>
                <a:path w="30025" h="20214">
                  <a:moveTo>
                    <a:pt x="0" y="0"/>
                  </a:moveTo>
                  <a:lnTo>
                    <a:pt x="30025" y="0"/>
                  </a:lnTo>
                  <a:lnTo>
                    <a:pt x="30025" y="20215"/>
                  </a:lnTo>
                  <a:lnTo>
                    <a:pt x="0" y="20215"/>
                  </a:lnTo>
                  <a:close/>
                </a:path>
              </a:pathLst>
            </a:custGeom>
            <a:solidFill>
              <a:srgbClr val="231F20"/>
            </a:solidFill>
            <a:ln w="0"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2C13A689-E2E9-F54C-4712-D7F2D7D3F0E4}"/>
                </a:ext>
              </a:extLst>
            </p:cNvPr>
            <p:cNvSpPr/>
            <p:nvPr/>
          </p:nvSpPr>
          <p:spPr>
            <a:xfrm>
              <a:off x="9203249" y="6628375"/>
              <a:ext cx="85113" cy="78287"/>
            </a:xfrm>
            <a:custGeom>
              <a:avLst/>
              <a:gdLst>
                <a:gd name="connsiteX0" fmla="*/ 43765 w 85113"/>
                <a:gd name="connsiteY0" fmla="*/ 17888 h 78287"/>
                <a:gd name="connsiteX1" fmla="*/ 55343 w 85113"/>
                <a:gd name="connsiteY1" fmla="*/ 33325 h 78287"/>
                <a:gd name="connsiteX2" fmla="*/ 55343 w 85113"/>
                <a:gd name="connsiteY2" fmla="*/ 78042 h 78287"/>
                <a:gd name="connsiteX3" fmla="*/ 85114 w 85113"/>
                <a:gd name="connsiteY3" fmla="*/ 78042 h 78287"/>
                <a:gd name="connsiteX4" fmla="*/ 85114 w 85113"/>
                <a:gd name="connsiteY4" fmla="*/ 27199 h 78287"/>
                <a:gd name="connsiteX5" fmla="*/ 55597 w 85113"/>
                <a:gd name="connsiteY5" fmla="*/ 1 h 78287"/>
                <a:gd name="connsiteX6" fmla="*/ 30788 w 85113"/>
                <a:gd name="connsiteY6" fmla="*/ 10660 h 78287"/>
                <a:gd name="connsiteX7" fmla="*/ 30280 w 85113"/>
                <a:gd name="connsiteY7" fmla="*/ 2329 h 78287"/>
                <a:gd name="connsiteX8" fmla="*/ 0 w 85113"/>
                <a:gd name="connsiteY8" fmla="*/ 2329 h 78287"/>
                <a:gd name="connsiteX9" fmla="*/ 1018 w 85113"/>
                <a:gd name="connsiteY9" fmla="*/ 21808 h 78287"/>
                <a:gd name="connsiteX10" fmla="*/ 1018 w 85113"/>
                <a:gd name="connsiteY10" fmla="*/ 78287 h 78287"/>
                <a:gd name="connsiteX11" fmla="*/ 30788 w 85113"/>
                <a:gd name="connsiteY11" fmla="*/ 78287 h 78287"/>
                <a:gd name="connsiteX12" fmla="*/ 30788 w 85113"/>
                <a:gd name="connsiteY12" fmla="*/ 34672 h 78287"/>
                <a:gd name="connsiteX13" fmla="*/ 43638 w 85113"/>
                <a:gd name="connsiteY13" fmla="*/ 18133 h 7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113" h="78287">
                  <a:moveTo>
                    <a:pt x="43765" y="17888"/>
                  </a:moveTo>
                  <a:cubicBezTo>
                    <a:pt x="53053" y="17888"/>
                    <a:pt x="54961" y="25974"/>
                    <a:pt x="55343" y="33325"/>
                  </a:cubicBezTo>
                  <a:lnTo>
                    <a:pt x="55343" y="78042"/>
                  </a:lnTo>
                  <a:cubicBezTo>
                    <a:pt x="55343" y="78042"/>
                    <a:pt x="85114" y="78042"/>
                    <a:pt x="85114" y="78042"/>
                  </a:cubicBezTo>
                  <a:lnTo>
                    <a:pt x="85114" y="27199"/>
                  </a:lnTo>
                  <a:cubicBezTo>
                    <a:pt x="85114" y="10537"/>
                    <a:pt x="72518" y="-121"/>
                    <a:pt x="55597" y="1"/>
                  </a:cubicBezTo>
                  <a:cubicBezTo>
                    <a:pt x="45547" y="1"/>
                    <a:pt x="37659" y="3064"/>
                    <a:pt x="30788" y="10660"/>
                  </a:cubicBezTo>
                  <a:lnTo>
                    <a:pt x="30280" y="2329"/>
                  </a:lnTo>
                  <a:lnTo>
                    <a:pt x="0" y="2329"/>
                  </a:lnTo>
                  <a:cubicBezTo>
                    <a:pt x="763" y="10537"/>
                    <a:pt x="1018" y="15070"/>
                    <a:pt x="1018" y="21808"/>
                  </a:cubicBezTo>
                  <a:lnTo>
                    <a:pt x="1018" y="78287"/>
                  </a:lnTo>
                  <a:cubicBezTo>
                    <a:pt x="1018" y="78287"/>
                    <a:pt x="30788" y="78287"/>
                    <a:pt x="30788" y="78287"/>
                  </a:cubicBezTo>
                  <a:lnTo>
                    <a:pt x="30788" y="34672"/>
                  </a:lnTo>
                  <a:cubicBezTo>
                    <a:pt x="30788" y="33815"/>
                    <a:pt x="28880" y="18133"/>
                    <a:pt x="43638" y="18133"/>
                  </a:cubicBezTo>
                </a:path>
              </a:pathLst>
            </a:custGeom>
            <a:solidFill>
              <a:srgbClr val="231F20"/>
            </a:solidFill>
            <a:ln w="0"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3C0291B6-93C7-0CEB-3591-979B19A2080C}"/>
                </a:ext>
              </a:extLst>
            </p:cNvPr>
            <p:cNvSpPr/>
            <p:nvPr/>
          </p:nvSpPr>
          <p:spPr>
            <a:xfrm>
              <a:off x="9164954" y="6630459"/>
              <a:ext cx="29770" cy="75958"/>
            </a:xfrm>
            <a:custGeom>
              <a:avLst/>
              <a:gdLst>
                <a:gd name="connsiteX0" fmla="*/ 0 w 29770"/>
                <a:gd name="connsiteY0" fmla="*/ 0 h 75958"/>
                <a:gd name="connsiteX1" fmla="*/ 29771 w 29770"/>
                <a:gd name="connsiteY1" fmla="*/ 0 h 75958"/>
                <a:gd name="connsiteX2" fmla="*/ 29771 w 29770"/>
                <a:gd name="connsiteY2" fmla="*/ 75958 h 75958"/>
                <a:gd name="connsiteX3" fmla="*/ 0 w 29770"/>
                <a:gd name="connsiteY3" fmla="*/ 75958 h 75958"/>
              </a:gdLst>
              <a:ahLst/>
              <a:cxnLst>
                <a:cxn ang="0">
                  <a:pos x="connsiteX0" y="connsiteY0"/>
                </a:cxn>
                <a:cxn ang="0">
                  <a:pos x="connsiteX1" y="connsiteY1"/>
                </a:cxn>
                <a:cxn ang="0">
                  <a:pos x="connsiteX2" y="connsiteY2"/>
                </a:cxn>
                <a:cxn ang="0">
                  <a:pos x="connsiteX3" y="connsiteY3"/>
                </a:cxn>
              </a:cxnLst>
              <a:rect l="l" t="t" r="r" b="b"/>
              <a:pathLst>
                <a:path w="29770" h="75958">
                  <a:moveTo>
                    <a:pt x="0" y="0"/>
                  </a:moveTo>
                  <a:lnTo>
                    <a:pt x="29771" y="0"/>
                  </a:lnTo>
                  <a:lnTo>
                    <a:pt x="29771" y="75958"/>
                  </a:lnTo>
                  <a:lnTo>
                    <a:pt x="0" y="75958"/>
                  </a:lnTo>
                  <a:close/>
                </a:path>
              </a:pathLst>
            </a:custGeom>
            <a:solidFill>
              <a:srgbClr val="231F20"/>
            </a:solidFill>
            <a:ln w="0"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517692F0-B4A3-8AD2-DF6E-131D93F1009C}"/>
                </a:ext>
              </a:extLst>
            </p:cNvPr>
            <p:cNvSpPr/>
            <p:nvPr/>
          </p:nvSpPr>
          <p:spPr>
            <a:xfrm>
              <a:off x="9294087" y="6628866"/>
              <a:ext cx="74554" cy="79511"/>
            </a:xfrm>
            <a:custGeom>
              <a:avLst/>
              <a:gdLst>
                <a:gd name="connsiteX0" fmla="*/ 45547 w 74554"/>
                <a:gd name="connsiteY0" fmla="*/ 25360 h 79511"/>
                <a:gd name="connsiteX1" fmla="*/ 43639 w 74554"/>
                <a:gd name="connsiteY1" fmla="*/ 19112 h 79511"/>
                <a:gd name="connsiteX2" fmla="*/ 35624 w 74554"/>
                <a:gd name="connsiteY2" fmla="*/ 16417 h 79511"/>
                <a:gd name="connsiteX3" fmla="*/ 28626 w 74554"/>
                <a:gd name="connsiteY3" fmla="*/ 23155 h 79511"/>
                <a:gd name="connsiteX4" fmla="*/ 58906 w 74554"/>
                <a:gd name="connsiteY4" fmla="*/ 33936 h 79511"/>
                <a:gd name="connsiteX5" fmla="*/ 74555 w 74554"/>
                <a:gd name="connsiteY5" fmla="*/ 54518 h 79511"/>
                <a:gd name="connsiteX6" fmla="*/ 37405 w 74554"/>
                <a:gd name="connsiteY6" fmla="*/ 79511 h 79511"/>
                <a:gd name="connsiteX7" fmla="*/ 1 w 74554"/>
                <a:gd name="connsiteY7" fmla="*/ 52926 h 79511"/>
                <a:gd name="connsiteX8" fmla="*/ 27863 w 74554"/>
                <a:gd name="connsiteY8" fmla="*/ 52926 h 79511"/>
                <a:gd name="connsiteX9" fmla="*/ 29899 w 74554"/>
                <a:gd name="connsiteY9" fmla="*/ 59664 h 79511"/>
                <a:gd name="connsiteX10" fmla="*/ 36896 w 74554"/>
                <a:gd name="connsiteY10" fmla="*/ 63094 h 79511"/>
                <a:gd name="connsiteX11" fmla="*/ 46820 w 74554"/>
                <a:gd name="connsiteY11" fmla="*/ 56234 h 79511"/>
                <a:gd name="connsiteX12" fmla="*/ 891 w 74554"/>
                <a:gd name="connsiteY12" fmla="*/ 23645 h 79511"/>
                <a:gd name="connsiteX13" fmla="*/ 36769 w 74554"/>
                <a:gd name="connsiteY13" fmla="*/ 0 h 79511"/>
                <a:gd name="connsiteX14" fmla="*/ 73410 w 74554"/>
                <a:gd name="connsiteY14" fmla="*/ 25360 h 79511"/>
                <a:gd name="connsiteX15" fmla="*/ 45547 w 74554"/>
                <a:gd name="connsiteY15" fmla="*/ 25360 h 7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54" h="79511">
                  <a:moveTo>
                    <a:pt x="45547" y="25360"/>
                  </a:moveTo>
                  <a:cubicBezTo>
                    <a:pt x="45547" y="22787"/>
                    <a:pt x="45038" y="20582"/>
                    <a:pt x="43639" y="19112"/>
                  </a:cubicBezTo>
                  <a:cubicBezTo>
                    <a:pt x="42112" y="17519"/>
                    <a:pt x="39568" y="16417"/>
                    <a:pt x="35624" y="16417"/>
                  </a:cubicBezTo>
                  <a:cubicBezTo>
                    <a:pt x="31298" y="16417"/>
                    <a:pt x="28626" y="18745"/>
                    <a:pt x="28626" y="23155"/>
                  </a:cubicBezTo>
                  <a:cubicBezTo>
                    <a:pt x="28626" y="28668"/>
                    <a:pt x="40585" y="28423"/>
                    <a:pt x="58906" y="33936"/>
                  </a:cubicBezTo>
                  <a:cubicBezTo>
                    <a:pt x="68193" y="36754"/>
                    <a:pt x="74555" y="42267"/>
                    <a:pt x="74555" y="54518"/>
                  </a:cubicBezTo>
                  <a:cubicBezTo>
                    <a:pt x="74555" y="74366"/>
                    <a:pt x="55216" y="79511"/>
                    <a:pt x="37405" y="79511"/>
                  </a:cubicBezTo>
                  <a:cubicBezTo>
                    <a:pt x="18448" y="79511"/>
                    <a:pt x="-127" y="75836"/>
                    <a:pt x="1" y="52926"/>
                  </a:cubicBezTo>
                  <a:lnTo>
                    <a:pt x="27863" y="52926"/>
                  </a:lnTo>
                  <a:cubicBezTo>
                    <a:pt x="27354" y="55131"/>
                    <a:pt x="28245" y="57704"/>
                    <a:pt x="29899" y="59664"/>
                  </a:cubicBezTo>
                  <a:cubicBezTo>
                    <a:pt x="31553" y="61624"/>
                    <a:pt x="34097" y="63094"/>
                    <a:pt x="36896" y="63094"/>
                  </a:cubicBezTo>
                  <a:cubicBezTo>
                    <a:pt x="42621" y="63094"/>
                    <a:pt x="46820" y="61012"/>
                    <a:pt x="46820" y="56234"/>
                  </a:cubicBezTo>
                  <a:cubicBezTo>
                    <a:pt x="46820" y="42880"/>
                    <a:pt x="891" y="50843"/>
                    <a:pt x="891" y="23645"/>
                  </a:cubicBezTo>
                  <a:cubicBezTo>
                    <a:pt x="891" y="5146"/>
                    <a:pt x="21247" y="0"/>
                    <a:pt x="36769" y="0"/>
                  </a:cubicBezTo>
                  <a:cubicBezTo>
                    <a:pt x="55216" y="0"/>
                    <a:pt x="72137" y="4656"/>
                    <a:pt x="73410" y="25360"/>
                  </a:cubicBezTo>
                  <a:lnTo>
                    <a:pt x="45547" y="25360"/>
                  </a:lnTo>
                  <a:close/>
                </a:path>
              </a:pathLst>
            </a:custGeom>
            <a:solidFill>
              <a:srgbClr val="231F20"/>
            </a:solidFill>
            <a:ln w="0"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ECA95176-E550-2050-4F71-B86F039D85EA}"/>
                </a:ext>
              </a:extLst>
            </p:cNvPr>
            <p:cNvSpPr/>
            <p:nvPr/>
          </p:nvSpPr>
          <p:spPr>
            <a:xfrm>
              <a:off x="9372204" y="6686938"/>
              <a:ext cx="22900" cy="21929"/>
            </a:xfrm>
            <a:custGeom>
              <a:avLst/>
              <a:gdLst>
                <a:gd name="connsiteX0" fmla="*/ 9033 w 22900"/>
                <a:gd name="connsiteY0" fmla="*/ 10414 h 21929"/>
                <a:gd name="connsiteX1" fmla="*/ 9033 w 22900"/>
                <a:gd name="connsiteY1" fmla="*/ 6003 h 21929"/>
                <a:gd name="connsiteX2" fmla="*/ 11959 w 22900"/>
                <a:gd name="connsiteY2" fmla="*/ 6003 h 21929"/>
                <a:gd name="connsiteX3" fmla="*/ 15013 w 22900"/>
                <a:gd name="connsiteY3" fmla="*/ 8208 h 21929"/>
                <a:gd name="connsiteX4" fmla="*/ 11069 w 22900"/>
                <a:gd name="connsiteY4" fmla="*/ 10414 h 21929"/>
                <a:gd name="connsiteX5" fmla="*/ 8906 w 22900"/>
                <a:gd name="connsiteY5" fmla="*/ 10414 h 21929"/>
                <a:gd name="connsiteX6" fmla="*/ 9033 w 22900"/>
                <a:gd name="connsiteY6" fmla="*/ 11639 h 21929"/>
                <a:gd name="connsiteX7" fmla="*/ 11705 w 22900"/>
                <a:gd name="connsiteY7" fmla="*/ 11639 h 21929"/>
                <a:gd name="connsiteX8" fmla="*/ 15394 w 22900"/>
                <a:gd name="connsiteY8" fmla="*/ 17274 h 21929"/>
                <a:gd name="connsiteX9" fmla="*/ 17303 w 22900"/>
                <a:gd name="connsiteY9" fmla="*/ 17274 h 21929"/>
                <a:gd name="connsiteX10" fmla="*/ 13359 w 22900"/>
                <a:gd name="connsiteY10" fmla="*/ 11639 h 21929"/>
                <a:gd name="connsiteX11" fmla="*/ 16667 w 22900"/>
                <a:gd name="connsiteY11" fmla="*/ 8086 h 21929"/>
                <a:gd name="connsiteX12" fmla="*/ 12341 w 22900"/>
                <a:gd name="connsiteY12" fmla="*/ 4533 h 21929"/>
                <a:gd name="connsiteX13" fmla="*/ 7252 w 22900"/>
                <a:gd name="connsiteY13" fmla="*/ 4533 h 21929"/>
                <a:gd name="connsiteX14" fmla="*/ 7252 w 22900"/>
                <a:gd name="connsiteY14" fmla="*/ 17274 h 21929"/>
                <a:gd name="connsiteX15" fmla="*/ 8906 w 22900"/>
                <a:gd name="connsiteY15" fmla="*/ 17274 h 21929"/>
                <a:gd name="connsiteX16" fmla="*/ 8906 w 22900"/>
                <a:gd name="connsiteY16" fmla="*/ 11639 h 21929"/>
                <a:gd name="connsiteX17" fmla="*/ 11450 w 22900"/>
                <a:gd name="connsiteY17" fmla="*/ 1593 h 21929"/>
                <a:gd name="connsiteX18" fmla="*/ 20992 w 22900"/>
                <a:gd name="connsiteY18" fmla="*/ 11026 h 21929"/>
                <a:gd name="connsiteX19" fmla="*/ 11450 w 22900"/>
                <a:gd name="connsiteY19" fmla="*/ 20460 h 21929"/>
                <a:gd name="connsiteX20" fmla="*/ 1781 w 22900"/>
                <a:gd name="connsiteY20" fmla="*/ 11026 h 21929"/>
                <a:gd name="connsiteX21" fmla="*/ 11450 w 22900"/>
                <a:gd name="connsiteY21" fmla="*/ 1593 h 21929"/>
                <a:gd name="connsiteX22" fmla="*/ 11450 w 22900"/>
                <a:gd name="connsiteY22" fmla="*/ 0 h 21929"/>
                <a:gd name="connsiteX23" fmla="*/ 0 w 22900"/>
                <a:gd name="connsiteY23" fmla="*/ 10904 h 21929"/>
                <a:gd name="connsiteX24" fmla="*/ 11450 w 22900"/>
                <a:gd name="connsiteY24" fmla="*/ 21930 h 21929"/>
                <a:gd name="connsiteX25" fmla="*/ 22901 w 22900"/>
                <a:gd name="connsiteY25" fmla="*/ 10904 h 21929"/>
                <a:gd name="connsiteX26" fmla="*/ 11450 w 22900"/>
                <a:gd name="connsiteY26" fmla="*/ 0 h 2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900" h="21929">
                  <a:moveTo>
                    <a:pt x="9033" y="10414"/>
                  </a:moveTo>
                  <a:lnTo>
                    <a:pt x="9033" y="6003"/>
                  </a:lnTo>
                  <a:lnTo>
                    <a:pt x="11959" y="6003"/>
                  </a:lnTo>
                  <a:cubicBezTo>
                    <a:pt x="13486" y="6003"/>
                    <a:pt x="15013" y="6371"/>
                    <a:pt x="15013" y="8208"/>
                  </a:cubicBezTo>
                  <a:cubicBezTo>
                    <a:pt x="15013" y="10414"/>
                    <a:pt x="13104" y="10414"/>
                    <a:pt x="11069" y="10414"/>
                  </a:cubicBezTo>
                  <a:lnTo>
                    <a:pt x="8906" y="10414"/>
                  </a:lnTo>
                  <a:close/>
                  <a:moveTo>
                    <a:pt x="9033" y="11639"/>
                  </a:moveTo>
                  <a:lnTo>
                    <a:pt x="11705" y="11639"/>
                  </a:lnTo>
                  <a:lnTo>
                    <a:pt x="15394" y="17274"/>
                  </a:lnTo>
                  <a:lnTo>
                    <a:pt x="17303" y="17274"/>
                  </a:lnTo>
                  <a:lnTo>
                    <a:pt x="13359" y="11639"/>
                  </a:lnTo>
                  <a:cubicBezTo>
                    <a:pt x="15140" y="11394"/>
                    <a:pt x="16667" y="10291"/>
                    <a:pt x="16667" y="8086"/>
                  </a:cubicBezTo>
                  <a:cubicBezTo>
                    <a:pt x="16667" y="5881"/>
                    <a:pt x="15394" y="4533"/>
                    <a:pt x="12341" y="4533"/>
                  </a:cubicBezTo>
                  <a:lnTo>
                    <a:pt x="7252" y="4533"/>
                  </a:lnTo>
                  <a:lnTo>
                    <a:pt x="7252" y="17274"/>
                  </a:lnTo>
                  <a:lnTo>
                    <a:pt x="8906" y="17274"/>
                  </a:lnTo>
                  <a:lnTo>
                    <a:pt x="8906" y="11639"/>
                  </a:lnTo>
                  <a:close/>
                  <a:moveTo>
                    <a:pt x="11450" y="1593"/>
                  </a:moveTo>
                  <a:cubicBezTo>
                    <a:pt x="16921" y="1593"/>
                    <a:pt x="20992" y="5758"/>
                    <a:pt x="20992" y="11026"/>
                  </a:cubicBezTo>
                  <a:cubicBezTo>
                    <a:pt x="20992" y="16294"/>
                    <a:pt x="16921" y="20460"/>
                    <a:pt x="11450" y="20460"/>
                  </a:cubicBezTo>
                  <a:cubicBezTo>
                    <a:pt x="5980" y="20460"/>
                    <a:pt x="1781" y="16294"/>
                    <a:pt x="1781" y="11026"/>
                  </a:cubicBezTo>
                  <a:cubicBezTo>
                    <a:pt x="1781" y="5758"/>
                    <a:pt x="5852" y="1593"/>
                    <a:pt x="11450" y="1593"/>
                  </a:cubicBezTo>
                  <a:moveTo>
                    <a:pt x="11450" y="0"/>
                  </a:moveTo>
                  <a:cubicBezTo>
                    <a:pt x="5089" y="0"/>
                    <a:pt x="0" y="4778"/>
                    <a:pt x="0" y="10904"/>
                  </a:cubicBezTo>
                  <a:cubicBezTo>
                    <a:pt x="0" y="17029"/>
                    <a:pt x="4962" y="21930"/>
                    <a:pt x="11450" y="21930"/>
                  </a:cubicBezTo>
                  <a:cubicBezTo>
                    <a:pt x="17939" y="21930"/>
                    <a:pt x="22901" y="17152"/>
                    <a:pt x="22901" y="10904"/>
                  </a:cubicBezTo>
                  <a:cubicBezTo>
                    <a:pt x="22901" y="4656"/>
                    <a:pt x="17939" y="0"/>
                    <a:pt x="11450" y="0"/>
                  </a:cubicBezTo>
                </a:path>
              </a:pathLst>
            </a:custGeom>
            <a:solidFill>
              <a:srgbClr val="231F20"/>
            </a:solidFill>
            <a:ln w="0" cap="flat">
              <a:noFill/>
              <a:prstDash val="solid"/>
              <a:miter/>
            </a:ln>
          </p:spPr>
          <p:txBody>
            <a:bodyPr rtlCol="0" anchor="ctr"/>
            <a:lstStyle/>
            <a:p>
              <a:endParaRPr lang="en-US"/>
            </a:p>
          </p:txBody>
        </p:sp>
      </p:grpSp>
      <p:sp>
        <p:nvSpPr>
          <p:cNvPr id="4" name="TextBox 3">
            <a:extLst>
              <a:ext uri="{FF2B5EF4-FFF2-40B4-BE49-F238E27FC236}">
                <a16:creationId xmlns:a16="http://schemas.microsoft.com/office/drawing/2014/main" id="{EA56FB13-A388-2199-2A8B-E8B293E4642C}"/>
              </a:ext>
            </a:extLst>
          </p:cNvPr>
          <p:cNvSpPr txBox="1"/>
          <p:nvPr userDrawn="1"/>
        </p:nvSpPr>
        <p:spPr>
          <a:xfrm>
            <a:off x="155448" y="2761488"/>
            <a:ext cx="5940552" cy="2916936"/>
          </a:xfrm>
          <a:prstGeom prst="rect">
            <a:avLst/>
          </a:prstGeom>
        </p:spPr>
        <p:txBody>
          <a:bodyPr vert="horz" wrap="square" lIns="91440" tIns="45720" rIns="91440" bIns="45720" rtlCol="0" anchor="t">
            <a:normAutofit/>
          </a:bodyPr>
          <a:lstStyle/>
          <a:p>
            <a:pPr algn="l">
              <a:lnSpc>
                <a:spcPct val="100000"/>
              </a:lnSpc>
            </a:pPr>
            <a:endParaRPr lang="en-US" sz="1800" b="0"/>
          </a:p>
        </p:txBody>
      </p:sp>
      <p:sp>
        <p:nvSpPr>
          <p:cNvPr id="5" name="TextBox 4">
            <a:extLst>
              <a:ext uri="{FF2B5EF4-FFF2-40B4-BE49-F238E27FC236}">
                <a16:creationId xmlns:a16="http://schemas.microsoft.com/office/drawing/2014/main" id="{46E8B57D-C8EB-7C6D-FF51-62A11C510262}"/>
              </a:ext>
            </a:extLst>
          </p:cNvPr>
          <p:cNvSpPr txBox="1"/>
          <p:nvPr userDrawn="1"/>
        </p:nvSpPr>
        <p:spPr>
          <a:xfrm>
            <a:off x="6227064" y="2167128"/>
            <a:ext cx="2834640" cy="1618488"/>
          </a:xfrm>
          <a:prstGeom prst="rect">
            <a:avLst/>
          </a:prstGeom>
        </p:spPr>
        <p:txBody>
          <a:bodyPr vert="horz" wrap="square" lIns="91440" tIns="45720" rIns="91440" bIns="45720" rtlCol="0" anchor="t">
            <a:normAutofit/>
          </a:bodyPr>
          <a:lstStyle/>
          <a:p>
            <a:pPr algn="l">
              <a:lnSpc>
                <a:spcPct val="100000"/>
              </a:lnSpc>
            </a:pPr>
            <a:endParaRPr lang="en-US" sz="1800" b="0"/>
          </a:p>
        </p:txBody>
      </p:sp>
      <p:sp>
        <p:nvSpPr>
          <p:cNvPr id="3" name="Text Placeholder 2">
            <a:extLst>
              <a:ext uri="{FF2B5EF4-FFF2-40B4-BE49-F238E27FC236}">
                <a16:creationId xmlns:a16="http://schemas.microsoft.com/office/drawing/2014/main" id="{242E579A-7DBB-EF65-44D7-EEFCB400B5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Tree>
    <p:extLst>
      <p:ext uri="{BB962C8B-B14F-4D97-AF65-F5344CB8AC3E}">
        <p14:creationId xmlns:p14="http://schemas.microsoft.com/office/powerpoint/2010/main" val="364837968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Lst>
  <p:hf hdr="0" ftr="0" dt="0"/>
  <p:txStyles>
    <p:titleStyle>
      <a:lvl1pPr algn="l" defTabSz="914400" rtl="0" eaLnBrk="1" latinLnBrk="0" hangingPunct="1">
        <a:lnSpc>
          <a:spcPct val="80000"/>
        </a:lnSpc>
        <a:spcBef>
          <a:spcPct val="0"/>
        </a:spcBef>
        <a:buNone/>
        <a:defRPr sz="3400" b="1" i="0" kern="1200">
          <a:solidFill>
            <a:schemeClr val="tx1"/>
          </a:solidFill>
          <a:latin typeface="Aptos" panose="020B0004020202020204" pitchFamily="34" charset="0"/>
          <a:ea typeface="Aptos" panose="020B0004020202020204" pitchFamily="34" charset="0"/>
          <a:cs typeface="Arial" charset="0"/>
        </a:defRPr>
      </a:lvl1pPr>
    </p:titleStyle>
    <p:bodyStyle>
      <a:lvl1pPr marL="0" indent="0" algn="l" defTabSz="914400" rtl="0" eaLnBrk="1" latinLnBrk="0" hangingPunct="1">
        <a:lnSpc>
          <a:spcPct val="90000"/>
        </a:lnSpc>
        <a:spcBef>
          <a:spcPts val="1000"/>
        </a:spcBef>
        <a:buFontTx/>
        <a:buNone/>
        <a:tabLst>
          <a:tab pos="449263" algn="l"/>
          <a:tab pos="795338" algn="l"/>
          <a:tab pos="1141413" algn="l"/>
        </a:tabLst>
        <a:defRPr sz="1800" b="0" i="0" kern="1200">
          <a:solidFill>
            <a:schemeClr val="tx1"/>
          </a:solidFill>
          <a:latin typeface="Aptos" panose="020B0004020202020204" pitchFamily="34" charset="0"/>
          <a:ea typeface="Aptos" panose="020B0004020202020204" pitchFamily="34" charset="0"/>
          <a:cs typeface="Arial" charset="0"/>
        </a:defRPr>
      </a:lvl1pPr>
      <a:lvl2pPr marL="448056" indent="-381000" algn="l" defTabSz="914400" rtl="0" eaLnBrk="1" latinLnBrk="0" hangingPunct="1">
        <a:lnSpc>
          <a:spcPct val="90000"/>
        </a:lnSpc>
        <a:spcBef>
          <a:spcPts val="500"/>
        </a:spcBef>
        <a:buFont typeface="System Font Regular"/>
        <a:buChar char="—"/>
        <a:tabLst/>
        <a:defRPr sz="1800" b="0" i="0" kern="1200">
          <a:solidFill>
            <a:schemeClr val="tx1"/>
          </a:solidFill>
          <a:latin typeface="Aptos" panose="020B0004020202020204" pitchFamily="34" charset="0"/>
          <a:ea typeface="Aptos" panose="020B0004020202020204" pitchFamily="34" charset="0"/>
          <a:cs typeface="Arial" charset="0"/>
        </a:defRPr>
      </a:lvl2pPr>
      <a:lvl3pPr marL="795528" indent="-349250" algn="l" defTabSz="914400" rtl="0" eaLnBrk="1" latinLnBrk="0" hangingPunct="1">
        <a:lnSpc>
          <a:spcPct val="90000"/>
        </a:lnSpc>
        <a:spcBef>
          <a:spcPts val="500"/>
        </a:spcBef>
        <a:buFont typeface="Courier New" panose="02070309020205020404" pitchFamily="49" charset="0"/>
        <a:buChar char="o"/>
        <a:tabLst/>
        <a:defRPr sz="1800" b="0" i="0" kern="1200">
          <a:solidFill>
            <a:schemeClr val="tx1"/>
          </a:solidFill>
          <a:latin typeface="Aptos" panose="020B0004020202020204" pitchFamily="34" charset="0"/>
          <a:ea typeface="Aptos" panose="020B0004020202020204" pitchFamily="34" charset="0"/>
          <a:cs typeface="Arial" charset="0"/>
        </a:defRPr>
      </a:lvl3pPr>
      <a:lvl4pPr marL="1143000" indent="-344488" algn="l" defTabSz="914400" rtl="0" eaLnBrk="1" latinLnBrk="0" hangingPunct="1">
        <a:lnSpc>
          <a:spcPct val="90000"/>
        </a:lnSpc>
        <a:spcBef>
          <a:spcPts val="500"/>
        </a:spcBef>
        <a:buSzPct val="100000"/>
        <a:buFont typeface="Arial" panose="020B0604020202020204" pitchFamily="34" charset="0"/>
        <a:buChar char="•"/>
        <a:tabLst/>
        <a:defRPr sz="1400" b="0" i="0" kern="1200">
          <a:solidFill>
            <a:schemeClr val="tx1"/>
          </a:solidFill>
          <a:latin typeface="Aptos" panose="020B0004020202020204" pitchFamily="34" charset="0"/>
          <a:ea typeface="Aptos" panose="020B0004020202020204" pitchFamily="34" charset="0"/>
          <a:cs typeface="Arial" charset="0"/>
        </a:defRPr>
      </a:lvl4pPr>
      <a:lvl5pPr marL="1485900" indent="-3429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Aptos" panose="020B0004020202020204" pitchFamily="34" charset="0"/>
          <a:ea typeface="Aptos" panose="020B0004020202020204" pitchFamily="34"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360">
          <p15:clr>
            <a:srgbClr val="F26B43"/>
          </p15:clr>
        </p15:guide>
        <p15:guide id="3" orient="horz" pos="4152">
          <p15:clr>
            <a:srgbClr val="F26B43"/>
          </p15:clr>
        </p15:guide>
        <p15:guide id="4" pos="3840">
          <p15:clr>
            <a:srgbClr val="F26B43"/>
          </p15:clr>
        </p15:guide>
        <p15:guide id="5" pos="7320">
          <p15:clr>
            <a:srgbClr val="F26B43"/>
          </p15:clr>
        </p15:guide>
        <p15:guide id="6" orient="horz" pos="4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1.xml"/><Relationship Id="rId1" Type="http://schemas.openxmlformats.org/officeDocument/2006/relationships/tags" Target="../tags/tag21.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77.xml"/><Relationship Id="rId5" Type="http://schemas.openxmlformats.org/officeDocument/2006/relationships/image" Target="../media/image65.svg"/><Relationship Id="rId4" Type="http://schemas.openxmlformats.org/officeDocument/2006/relationships/image" Target="../media/image64.png"/></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chart" Target="../charts/chart3.xml"/><Relationship Id="rId1" Type="http://schemas.openxmlformats.org/officeDocument/2006/relationships/slideLayout" Target="../slideLayouts/slideLayout277.xml"/><Relationship Id="rId4" Type="http://schemas.openxmlformats.org/officeDocument/2006/relationships/image" Target="../media/image65.svg"/></Relationships>
</file>

<file path=ppt/slides/_rels/slide1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277.xml"/><Relationship Id="rId4" Type="http://schemas.openxmlformats.org/officeDocument/2006/relationships/image" Target="../media/image71.svg"/></Relationships>
</file>

<file path=ppt/slides/_rels/slide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xml"/><Relationship Id="rId1" Type="http://schemas.openxmlformats.org/officeDocument/2006/relationships/slideLayout" Target="../slideLayouts/slideLayout277.xml"/><Relationship Id="rId5" Type="http://schemas.openxmlformats.org/officeDocument/2006/relationships/image" Target="../media/image71.svg"/><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3.jpeg"/><Relationship Id="rId1" Type="http://schemas.openxmlformats.org/officeDocument/2006/relationships/slideLayout" Target="../slideLayouts/slideLayout277.xml"/><Relationship Id="rId4" Type="http://schemas.openxmlformats.org/officeDocument/2006/relationships/image" Target="../media/image71.svg"/></Relationships>
</file>

<file path=ppt/slides/_rels/slide1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5.xml"/><Relationship Id="rId1" Type="http://schemas.openxmlformats.org/officeDocument/2006/relationships/slideLayout" Target="../slideLayouts/slideLayout277.xml"/><Relationship Id="rId6" Type="http://schemas.openxmlformats.org/officeDocument/2006/relationships/image" Target="../media/image71.svg"/><Relationship Id="rId5" Type="http://schemas.openxmlformats.org/officeDocument/2006/relationships/image" Target="../media/image64.png"/><Relationship Id="rId4" Type="http://schemas.openxmlformats.org/officeDocument/2006/relationships/image" Target="../media/image75.jpeg"/></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6.png"/><Relationship Id="rId1" Type="http://schemas.openxmlformats.org/officeDocument/2006/relationships/slideLayout" Target="../slideLayouts/slideLayout277.xml"/><Relationship Id="rId4" Type="http://schemas.openxmlformats.org/officeDocument/2006/relationships/image" Target="../media/image71.svg"/></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7.jpeg"/><Relationship Id="rId1" Type="http://schemas.openxmlformats.org/officeDocument/2006/relationships/slideLayout" Target="../slideLayouts/slideLayout277.xml"/><Relationship Id="rId4" Type="http://schemas.openxmlformats.org/officeDocument/2006/relationships/image" Target="../media/image71.svg"/></Relationships>
</file>

<file path=ppt/slides/_rels/slide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1.png"/><Relationship Id="rId1" Type="http://schemas.openxmlformats.org/officeDocument/2006/relationships/slideLayout" Target="../slideLayouts/slideLayout277.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8.png"/><Relationship Id="rId18" Type="http://schemas.openxmlformats.org/officeDocument/2006/relationships/image" Target="../media/image93.svg"/><Relationship Id="rId3" Type="http://schemas.openxmlformats.org/officeDocument/2006/relationships/image" Target="../media/image79.png"/><Relationship Id="rId21" Type="http://schemas.openxmlformats.org/officeDocument/2006/relationships/image" Target="../media/image96.png"/><Relationship Id="rId7" Type="http://schemas.openxmlformats.org/officeDocument/2006/relationships/image" Target="../media/image83.svg"/><Relationship Id="rId12" Type="http://schemas.openxmlformats.org/officeDocument/2006/relationships/chart" Target="../charts/chart4.xml"/><Relationship Id="rId17" Type="http://schemas.openxmlformats.org/officeDocument/2006/relationships/image" Target="../media/image92.png"/><Relationship Id="rId2" Type="http://schemas.openxmlformats.org/officeDocument/2006/relationships/notesSlide" Target="../notesSlides/notesSlide6.xml"/><Relationship Id="rId16" Type="http://schemas.openxmlformats.org/officeDocument/2006/relationships/image" Target="../media/image91.svg"/><Relationship Id="rId20" Type="http://schemas.openxmlformats.org/officeDocument/2006/relationships/image" Target="../media/image95.svg"/><Relationship Id="rId1" Type="http://schemas.openxmlformats.org/officeDocument/2006/relationships/slideLayout" Target="../slideLayouts/slideLayout277.xml"/><Relationship Id="rId6" Type="http://schemas.openxmlformats.org/officeDocument/2006/relationships/image" Target="../media/image82.png"/><Relationship Id="rId11" Type="http://schemas.openxmlformats.org/officeDocument/2006/relationships/image" Target="../media/image87.svg"/><Relationship Id="rId24" Type="http://schemas.openxmlformats.org/officeDocument/2006/relationships/image" Target="../media/image65.svg"/><Relationship Id="rId5" Type="http://schemas.openxmlformats.org/officeDocument/2006/relationships/image" Target="../media/image81.svg"/><Relationship Id="rId15" Type="http://schemas.openxmlformats.org/officeDocument/2006/relationships/image" Target="../media/image90.png"/><Relationship Id="rId23" Type="http://schemas.openxmlformats.org/officeDocument/2006/relationships/image" Target="../media/image64.png"/><Relationship Id="rId10" Type="http://schemas.openxmlformats.org/officeDocument/2006/relationships/image" Target="../media/image86.png"/><Relationship Id="rId19" Type="http://schemas.openxmlformats.org/officeDocument/2006/relationships/image" Target="../media/image94.png"/><Relationship Id="rId4" Type="http://schemas.openxmlformats.org/officeDocument/2006/relationships/image" Target="../media/image80.png"/><Relationship Id="rId9" Type="http://schemas.openxmlformats.org/officeDocument/2006/relationships/image" Target="../media/image85.svg"/><Relationship Id="rId14" Type="http://schemas.openxmlformats.org/officeDocument/2006/relationships/image" Target="../media/image89.svg"/><Relationship Id="rId22" Type="http://schemas.openxmlformats.org/officeDocument/2006/relationships/image" Target="../media/image9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4.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98.png"/><Relationship Id="rId1" Type="http://schemas.openxmlformats.org/officeDocument/2006/relationships/slideLayout" Target="../slideLayouts/slideLayout277.xml"/><Relationship Id="rId4" Type="http://schemas.openxmlformats.org/officeDocument/2006/relationships/image" Target="../media/image71.svg"/></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chart" Target="../charts/chart5.xml"/><Relationship Id="rId1" Type="http://schemas.openxmlformats.org/officeDocument/2006/relationships/slideLayout" Target="../slideLayouts/slideLayout277.xml"/><Relationship Id="rId4" Type="http://schemas.openxmlformats.org/officeDocument/2006/relationships/image" Target="../media/image71.svg"/></Relationships>
</file>

<file path=ppt/slides/_rels/slide2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100.svg"/><Relationship Id="rId7" Type="http://schemas.openxmlformats.org/officeDocument/2006/relationships/image" Target="../media/image104.png"/><Relationship Id="rId2" Type="http://schemas.openxmlformats.org/officeDocument/2006/relationships/image" Target="../media/image99.png"/><Relationship Id="rId1" Type="http://schemas.openxmlformats.org/officeDocument/2006/relationships/slideLayout" Target="../slideLayouts/slideLayout277.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 Id="rId9" Type="http://schemas.openxmlformats.org/officeDocument/2006/relationships/image" Target="../media/image71.svg"/></Relationships>
</file>

<file path=ppt/slides/_rels/slide23.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71.sv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64.png"/><Relationship Id="rId2" Type="http://schemas.openxmlformats.org/officeDocument/2006/relationships/image" Target="../media/image105.png"/><Relationship Id="rId16" Type="http://schemas.openxmlformats.org/officeDocument/2006/relationships/image" Target="../media/image119.svg"/><Relationship Id="rId1" Type="http://schemas.openxmlformats.org/officeDocument/2006/relationships/slideLayout" Target="../slideLayouts/slideLayout277.xml"/><Relationship Id="rId6" Type="http://schemas.openxmlformats.org/officeDocument/2006/relationships/image" Target="../media/image109.png"/><Relationship Id="rId11" Type="http://schemas.openxmlformats.org/officeDocument/2006/relationships/image" Target="../media/image114.png"/><Relationship Id="rId5" Type="http://schemas.openxmlformats.org/officeDocument/2006/relationships/image" Target="../media/image108.svg"/><Relationship Id="rId15" Type="http://schemas.openxmlformats.org/officeDocument/2006/relationships/image" Target="../media/image118.png"/><Relationship Id="rId10" Type="http://schemas.openxmlformats.org/officeDocument/2006/relationships/image" Target="../media/image113.svg"/><Relationship Id="rId4" Type="http://schemas.openxmlformats.org/officeDocument/2006/relationships/image" Target="../media/image107.png"/><Relationship Id="rId9" Type="http://schemas.openxmlformats.org/officeDocument/2006/relationships/image" Target="../media/image112.png"/><Relationship Id="rId14" Type="http://schemas.openxmlformats.org/officeDocument/2006/relationships/image" Target="../media/image117.jpeg"/></Relationships>
</file>

<file path=ppt/slides/_rels/slide24.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71.svg"/><Relationship Id="rId2" Type="http://schemas.openxmlformats.org/officeDocument/2006/relationships/image" Target="../media/image120.png"/><Relationship Id="rId1" Type="http://schemas.openxmlformats.org/officeDocument/2006/relationships/slideLayout" Target="../slideLayouts/slideLayout277.xml"/><Relationship Id="rId6" Type="http://schemas.openxmlformats.org/officeDocument/2006/relationships/image" Target="../media/image64.png"/><Relationship Id="rId5" Type="http://schemas.openxmlformats.org/officeDocument/2006/relationships/image" Target="../media/image123.png"/><Relationship Id="rId4" Type="http://schemas.openxmlformats.org/officeDocument/2006/relationships/image" Target="../media/image12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4.xml"/></Relationships>
</file>

<file path=ppt/slides/_rels/slide2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xml"/><Relationship Id="rId1" Type="http://schemas.openxmlformats.org/officeDocument/2006/relationships/slideLayout" Target="../slideLayouts/slideLayout235.xml"/></Relationships>
</file>

<file path=ppt/slides/_rels/slide2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xml"/><Relationship Id="rId1" Type="http://schemas.openxmlformats.org/officeDocument/2006/relationships/slideLayout" Target="../slideLayouts/slideLayout235.xml"/></Relationships>
</file>

<file path=ppt/slides/_rels/slide2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xml"/><Relationship Id="rId1" Type="http://schemas.openxmlformats.org/officeDocument/2006/relationships/slideLayout" Target="../slideLayouts/slideLayout236.xml"/><Relationship Id="rId4" Type="http://schemas.openxmlformats.org/officeDocument/2006/relationships/image" Target="../media/image127.png"/></Relationships>
</file>

<file path=ppt/slides/_rels/slide29.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236.xml"/></Relationships>
</file>

<file path=ppt/slides/_rels/slide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77.xml"/></Relationships>
</file>

<file path=ppt/slides/_rels/slide3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0.xml"/><Relationship Id="rId1" Type="http://schemas.openxmlformats.org/officeDocument/2006/relationships/slideLayout" Target="../slideLayouts/slideLayout23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5.xml"/></Relationships>
</file>

<file path=ppt/slides/_rels/slide3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2.xml"/><Relationship Id="rId1" Type="http://schemas.openxmlformats.org/officeDocument/2006/relationships/slideLayout" Target="../slideLayouts/slideLayout221.xml"/></Relationships>
</file>

<file path=ppt/slides/_rels/slide3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13.xml"/><Relationship Id="rId1" Type="http://schemas.openxmlformats.org/officeDocument/2006/relationships/slideLayout" Target="../slideLayouts/slideLayout221.xml"/></Relationships>
</file>

<file path=ppt/slides/_rels/slide3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4.xml"/><Relationship Id="rId1" Type="http://schemas.openxmlformats.org/officeDocument/2006/relationships/slideLayout" Target="../slideLayouts/slideLayout221.xml"/></Relationships>
</file>

<file path=ppt/slides/_rels/slide3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5.xml"/><Relationship Id="rId1" Type="http://schemas.openxmlformats.org/officeDocument/2006/relationships/slideLayout" Target="../slideLayouts/slideLayout221.xml"/></Relationships>
</file>

<file path=ppt/slides/_rels/slide3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6.xml"/><Relationship Id="rId1" Type="http://schemas.openxmlformats.org/officeDocument/2006/relationships/slideLayout" Target="../slideLayouts/slideLayout221.xml"/></Relationships>
</file>

<file path=ppt/slides/_rels/slide3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7.xml"/><Relationship Id="rId1" Type="http://schemas.openxmlformats.org/officeDocument/2006/relationships/slideLayout" Target="../slideLayouts/slideLayout221.xml"/></Relationships>
</file>

<file path=ppt/slides/_rels/slide3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8.xml"/><Relationship Id="rId1" Type="http://schemas.openxmlformats.org/officeDocument/2006/relationships/slideLayout" Target="../slideLayouts/slideLayout221.xml"/></Relationships>
</file>

<file path=ppt/slides/_rels/slide39.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36.xml"/></Relationships>
</file>

<file path=ppt/slides/_rels/slide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77.xml"/></Relationships>
</file>

<file path=ppt/slides/_rels/slide4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jpeg"/><Relationship Id="rId1" Type="http://schemas.openxmlformats.org/officeDocument/2006/relationships/slideLayout" Target="../slideLayouts/slideLayout236.xml"/></Relationships>
</file>

<file path=ppt/slides/_rels/slide41.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diagramLayout" Target="../diagrams/layout1.xml"/><Relationship Id="rId7" Type="http://schemas.openxmlformats.org/officeDocument/2006/relationships/image" Target="../media/image140.png"/><Relationship Id="rId2" Type="http://schemas.openxmlformats.org/officeDocument/2006/relationships/diagramData" Target="../diagrams/data1.xml"/><Relationship Id="rId1" Type="http://schemas.openxmlformats.org/officeDocument/2006/relationships/slideLayout" Target="../slideLayouts/slideLayout23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4.xml"/></Relationships>
</file>

<file path=ppt/slides/_rels/slide4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9.xml"/><Relationship Id="rId1" Type="http://schemas.openxmlformats.org/officeDocument/2006/relationships/slideLayout" Target="../slideLayouts/slideLayout22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4.xml"/></Relationships>
</file>

<file path=ppt/slides/_rels/slide4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0.xml"/><Relationship Id="rId1" Type="http://schemas.openxmlformats.org/officeDocument/2006/relationships/slideLayout" Target="../slideLayouts/slideLayout224.xml"/></Relationships>
</file>

<file path=ppt/slides/_rels/slide4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257.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4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257.xml"/></Relationships>
</file>

<file path=ppt/slides/_rels/slide4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25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27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58.png"/></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277.xml"/><Relationship Id="rId4" Type="http://schemas.openxmlformats.org/officeDocument/2006/relationships/image" Target="../media/image60.svg"/></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77.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png"/></Relationships>
</file>

<file path=ppt/slides/_rels/slide8.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65.svg"/><Relationship Id="rId2" Type="http://schemas.openxmlformats.org/officeDocument/2006/relationships/image" Target="../media/image66.png"/><Relationship Id="rId1" Type="http://schemas.openxmlformats.org/officeDocument/2006/relationships/slideLayout" Target="../slideLayouts/slideLayout277.xml"/><Relationship Id="rId6" Type="http://schemas.openxmlformats.org/officeDocument/2006/relationships/image" Target="../media/image64.png"/><Relationship Id="rId5" Type="http://schemas.openxmlformats.org/officeDocument/2006/relationships/image" Target="../media/image69.png"/><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65.svg"/><Relationship Id="rId2" Type="http://schemas.openxmlformats.org/officeDocument/2006/relationships/image" Target="../media/image66.png"/><Relationship Id="rId1" Type="http://schemas.openxmlformats.org/officeDocument/2006/relationships/slideLayout" Target="../slideLayouts/slideLayout277.xml"/><Relationship Id="rId6" Type="http://schemas.openxmlformats.org/officeDocument/2006/relationships/image" Target="../media/image64.png"/><Relationship Id="rId5" Type="http://schemas.openxmlformats.org/officeDocument/2006/relationships/image" Target="../media/image68.png"/><Relationship Id="rId4"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FF11B-68E4-736B-B91D-586448288B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C3EFF11B-68E4-736B-B91D-586448288B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AC7C4903-7BC2-056E-D367-A3BB274F402E}"/>
              </a:ext>
            </a:extLst>
          </p:cNvPr>
          <p:cNvSpPr>
            <a:spLocks noGrp="1"/>
          </p:cNvSpPr>
          <p:nvPr>
            <p:ph type="ctrTitle"/>
          </p:nvPr>
        </p:nvSpPr>
        <p:spPr/>
        <p:txBody>
          <a:bodyPr vert="horz"/>
          <a:lstStyle/>
          <a:p>
            <a:br>
              <a:rPr lang="en-US" dirty="0"/>
            </a:br>
            <a:r>
              <a:rPr lang="en-US" dirty="0"/>
              <a:t>Cummins Update</a:t>
            </a:r>
          </a:p>
        </p:txBody>
      </p:sp>
      <p:sp>
        <p:nvSpPr>
          <p:cNvPr id="14" name="Text Placeholder 13">
            <a:extLst>
              <a:ext uri="{FF2B5EF4-FFF2-40B4-BE49-F238E27FC236}">
                <a16:creationId xmlns:a16="http://schemas.microsoft.com/office/drawing/2014/main" id="{F5245A52-5696-7379-8325-F324C65CA522}"/>
              </a:ext>
            </a:extLst>
          </p:cNvPr>
          <p:cNvSpPr>
            <a:spLocks noGrp="1"/>
          </p:cNvSpPr>
          <p:nvPr>
            <p:ph type="body" sz="quarter" idx="16"/>
          </p:nvPr>
        </p:nvSpPr>
        <p:spPr/>
        <p:txBody>
          <a:bodyPr/>
          <a:lstStyle/>
          <a:p>
            <a:r>
              <a:rPr lang="en-US" dirty="0"/>
              <a:t>Greg Bohn</a:t>
            </a:r>
          </a:p>
          <a:p>
            <a:r>
              <a:rPr lang="en-US" dirty="0"/>
              <a:t>Account Executive On-Highway Business</a:t>
            </a:r>
          </a:p>
          <a:p>
            <a:r>
              <a:rPr lang="en-US" dirty="0"/>
              <a:t>Rob Craig</a:t>
            </a:r>
          </a:p>
          <a:p>
            <a:r>
              <a:rPr lang="en-US" dirty="0"/>
              <a:t>Technical Support Manager</a:t>
            </a:r>
          </a:p>
        </p:txBody>
      </p:sp>
      <p:sp>
        <p:nvSpPr>
          <p:cNvPr id="16" name="Text Placeholder 15">
            <a:extLst>
              <a:ext uri="{FF2B5EF4-FFF2-40B4-BE49-F238E27FC236}">
                <a16:creationId xmlns:a16="http://schemas.microsoft.com/office/drawing/2014/main" id="{25EA4004-032A-8DE2-7230-9F235C039251}"/>
              </a:ext>
            </a:extLst>
          </p:cNvPr>
          <p:cNvSpPr>
            <a:spLocks noGrp="1"/>
          </p:cNvSpPr>
          <p:nvPr>
            <p:ph type="body" sz="quarter" idx="18"/>
          </p:nvPr>
        </p:nvSpPr>
        <p:spPr/>
        <p:txBody>
          <a:bodyPr/>
          <a:lstStyle/>
          <a:p>
            <a:r>
              <a:rPr lang="en-US" dirty="0" err="1"/>
              <a:t>RedBox</a:t>
            </a:r>
            <a:r>
              <a:rPr lang="en-US" dirty="0"/>
              <a:t> Maintenance Academy</a:t>
            </a:r>
          </a:p>
        </p:txBody>
      </p:sp>
      <p:sp>
        <p:nvSpPr>
          <p:cNvPr id="7" name="Rounded Rectangle 6">
            <a:extLst>
              <a:ext uri="{FF2B5EF4-FFF2-40B4-BE49-F238E27FC236}">
                <a16:creationId xmlns:a16="http://schemas.microsoft.com/office/drawing/2014/main" id="{8E2E79DC-453C-D3F8-FE9E-70B5B4EA6364}"/>
              </a:ext>
            </a:extLst>
          </p:cNvPr>
          <p:cNvSpPr/>
          <p:nvPr/>
        </p:nvSpPr>
        <p:spPr>
          <a:xfrm>
            <a:off x="10281424" y="6151365"/>
            <a:ext cx="1608145" cy="390284"/>
          </a:xfrm>
          <a:prstGeom prst="roundRect">
            <a:avLst>
              <a:gd name="adj" fmla="val 50000"/>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2880" r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110004020202020204"/>
                <a:ea typeface="+mn-ea"/>
                <a:cs typeface="+mn-cs"/>
              </a:rPr>
              <a:t>ON-HIGHWAY L9</a:t>
            </a:r>
          </a:p>
        </p:txBody>
      </p:sp>
      <p:pic>
        <p:nvPicPr>
          <p:cNvPr id="5" name="Picture Placeholder 4" descr="A red engine with black background&#10;&#10;Description automatically generated">
            <a:extLst>
              <a:ext uri="{FF2B5EF4-FFF2-40B4-BE49-F238E27FC236}">
                <a16:creationId xmlns:a16="http://schemas.microsoft.com/office/drawing/2014/main" id="{C554E1ED-02FD-3821-910D-6B237D65C573}"/>
              </a:ext>
            </a:extLst>
          </p:cNvPr>
          <p:cNvPicPr>
            <a:picLocks noGrp="1" noChangeAspect="1"/>
          </p:cNvPicPr>
          <p:nvPr>
            <p:ph type="pic" sz="quarter" idx="14"/>
          </p:nvPr>
        </p:nvPicPr>
        <p:blipFill>
          <a:blip r:embed="rId6">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456510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042B8-9131-02E8-C782-D012EE8794D9}"/>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E17A826A-8B09-8F9E-088C-07003661F98A}"/>
              </a:ext>
            </a:extLst>
          </p:cNvPr>
          <p:cNvSpPr/>
          <p:nvPr/>
        </p:nvSpPr>
        <p:spPr>
          <a:xfrm>
            <a:off x="1403498" y="1247695"/>
            <a:ext cx="10001361"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8" name="TextBox 137">
            <a:extLst>
              <a:ext uri="{FF2B5EF4-FFF2-40B4-BE49-F238E27FC236}">
                <a16:creationId xmlns:a16="http://schemas.microsoft.com/office/drawing/2014/main" id="{06E95C51-9DCC-96BA-BA05-F4628F66A136}"/>
              </a:ext>
            </a:extLst>
          </p:cNvPr>
          <p:cNvSpPr txBox="1"/>
          <p:nvPr/>
        </p:nvSpPr>
        <p:spPr>
          <a:xfrm>
            <a:off x="1798714" y="1780490"/>
            <a:ext cx="4037136" cy="2400657"/>
          </a:xfrm>
          <a:prstGeom prst="rect">
            <a:avLst/>
          </a:prstGeom>
          <a:noFill/>
        </p:spPr>
        <p:txBody>
          <a:bodyPr wrap="square" lIns="0" tIns="0" rIns="0" bIns="0" rtlCol="0" anchor="t">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Vocational customers demand having the right PTO capabilities to meet their daily needs</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mn-cs"/>
              </a:rPr>
              <a:t>The X10 builds on REPTO capabilities and carries similar FEPTO capabilities from the L9 </a:t>
            </a:r>
            <a:r>
              <a:rPr kumimoji="0" lang="en-US" sz="12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amp; X12 that have been proven in the market</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X10 REPTO capability is a valued advantage for the vocational market and provides several advantages over FEPTO</a:t>
            </a:r>
          </a:p>
          <a:p>
            <a:pPr marL="252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No need for extended frame or bumper</a:t>
            </a:r>
          </a:p>
          <a:p>
            <a:pPr marL="252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Extended wheelbase without exceeding length restrictions which leads to improved maneuverability, visibility and drivability</a:t>
            </a:r>
          </a:p>
          <a:p>
            <a:pPr marL="252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Simplified hydraulic system for increased reliability</a:t>
            </a:r>
          </a:p>
        </p:txBody>
      </p:sp>
      <p:graphicFrame>
        <p:nvGraphicFramePr>
          <p:cNvPr id="12" name="Chart 34">
            <a:extLst>
              <a:ext uri="{FF2B5EF4-FFF2-40B4-BE49-F238E27FC236}">
                <a16:creationId xmlns:a16="http://schemas.microsoft.com/office/drawing/2014/main" id="{FA7133B7-9739-3D4A-1C5B-A290F6B19989}"/>
              </a:ext>
            </a:extLst>
          </p:cNvPr>
          <p:cNvGraphicFramePr>
            <a:graphicFrameLocks noGrp="1"/>
          </p:cNvGraphicFramePr>
          <p:nvPr/>
        </p:nvGraphicFramePr>
        <p:xfrm>
          <a:off x="6172873" y="1426373"/>
          <a:ext cx="3595605" cy="2164585"/>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37">
            <a:extLst>
              <a:ext uri="{FF2B5EF4-FFF2-40B4-BE49-F238E27FC236}">
                <a16:creationId xmlns:a16="http://schemas.microsoft.com/office/drawing/2014/main" id="{4E7B11F1-3176-05D9-E2FA-A6A4623AABD0}"/>
              </a:ext>
            </a:extLst>
          </p:cNvPr>
          <p:cNvSpPr txBox="1"/>
          <p:nvPr/>
        </p:nvSpPr>
        <p:spPr>
          <a:xfrm>
            <a:off x="7379411" y="1526057"/>
            <a:ext cx="2366692" cy="1692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Front Engine PTO</a:t>
            </a:r>
          </a:p>
        </p:txBody>
      </p:sp>
      <p:graphicFrame>
        <p:nvGraphicFramePr>
          <p:cNvPr id="14" name="Chart 35">
            <a:extLst>
              <a:ext uri="{FF2B5EF4-FFF2-40B4-BE49-F238E27FC236}">
                <a16:creationId xmlns:a16="http://schemas.microsoft.com/office/drawing/2014/main" id="{9E6B0D2F-F446-A9B3-A80F-23622E30C331}"/>
              </a:ext>
            </a:extLst>
          </p:cNvPr>
          <p:cNvGraphicFramePr>
            <a:graphicFrameLocks noGrp="1"/>
          </p:cNvGraphicFramePr>
          <p:nvPr/>
        </p:nvGraphicFramePr>
        <p:xfrm>
          <a:off x="6096001" y="3558581"/>
          <a:ext cx="3672478" cy="2064901"/>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37">
            <a:extLst>
              <a:ext uri="{FF2B5EF4-FFF2-40B4-BE49-F238E27FC236}">
                <a16:creationId xmlns:a16="http://schemas.microsoft.com/office/drawing/2014/main" id="{B0E5CCF7-BBF3-6D85-0CD6-ACDB3A5854BE}"/>
              </a:ext>
            </a:extLst>
          </p:cNvPr>
          <p:cNvSpPr txBox="1"/>
          <p:nvPr/>
        </p:nvSpPr>
        <p:spPr>
          <a:xfrm>
            <a:off x="7346353" y="3792776"/>
            <a:ext cx="2161975" cy="1692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Rear Engine PTO</a:t>
            </a:r>
          </a:p>
        </p:txBody>
      </p:sp>
      <p:sp>
        <p:nvSpPr>
          <p:cNvPr id="61" name="Espaço Reservado para Conteúdo 60">
            <a:extLst>
              <a:ext uri="{FF2B5EF4-FFF2-40B4-BE49-F238E27FC236}">
                <a16:creationId xmlns:a16="http://schemas.microsoft.com/office/drawing/2014/main" id="{5AF6350F-48B9-4ED7-C4CC-B273B9F4E0B2}"/>
              </a:ext>
            </a:extLst>
          </p:cNvPr>
          <p:cNvSpPr>
            <a:spLocks noGrp="1"/>
          </p:cNvSpPr>
          <p:nvPr>
            <p:ph idx="1"/>
          </p:nvPr>
        </p:nvSpPr>
        <p:spPr/>
        <p:txBody>
          <a:bodyPr/>
          <a:lstStyle/>
          <a:p>
            <a:r>
              <a:rPr lang="en-US" sz="2400" b="1" noProof="0">
                <a:solidFill>
                  <a:schemeClr val="accent1"/>
                </a:solidFill>
                <a:latin typeface="Aptos" panose="020B0004020202020204" pitchFamily="34" charset="0"/>
              </a:rPr>
              <a:t>Winning With POWER TAKE-OFF</a:t>
            </a:r>
          </a:p>
        </p:txBody>
      </p:sp>
      <p:sp>
        <p:nvSpPr>
          <p:cNvPr id="2" name="Rounded Rectangle 56">
            <a:extLst>
              <a:ext uri="{FF2B5EF4-FFF2-40B4-BE49-F238E27FC236}">
                <a16:creationId xmlns:a16="http://schemas.microsoft.com/office/drawing/2014/main" id="{8EAEC918-E496-76EA-8618-48A690497079}"/>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3" name="Conector Reto 31">
            <a:extLst>
              <a:ext uri="{FF2B5EF4-FFF2-40B4-BE49-F238E27FC236}">
                <a16:creationId xmlns:a16="http://schemas.microsoft.com/office/drawing/2014/main" id="{4F44001D-47D5-5408-1583-1A60FBA33EB6}"/>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 name="Conector Reto 75">
            <a:extLst>
              <a:ext uri="{FF2B5EF4-FFF2-40B4-BE49-F238E27FC236}">
                <a16:creationId xmlns:a16="http://schemas.microsoft.com/office/drawing/2014/main" id="{A2BA4AEF-4F1D-6E72-4F39-5740963542BE}"/>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 name="Conector Reto 31">
            <a:extLst>
              <a:ext uri="{FF2B5EF4-FFF2-40B4-BE49-F238E27FC236}">
                <a16:creationId xmlns:a16="http://schemas.microsoft.com/office/drawing/2014/main" id="{58B48E49-C2D3-7FCA-029A-8D1D87BA25DA}"/>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 name="Conector Reto 31">
            <a:extLst>
              <a:ext uri="{FF2B5EF4-FFF2-40B4-BE49-F238E27FC236}">
                <a16:creationId xmlns:a16="http://schemas.microsoft.com/office/drawing/2014/main" id="{C488902E-D1E6-1D4D-6F36-898EB3050E58}"/>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 name="Conector Reto 78">
            <a:extLst>
              <a:ext uri="{FF2B5EF4-FFF2-40B4-BE49-F238E27FC236}">
                <a16:creationId xmlns:a16="http://schemas.microsoft.com/office/drawing/2014/main" id="{D6E67D9E-AD6F-4726-69FC-1B01C9F2D340}"/>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Conector Reto 31">
            <a:extLst>
              <a:ext uri="{FF2B5EF4-FFF2-40B4-BE49-F238E27FC236}">
                <a16:creationId xmlns:a16="http://schemas.microsoft.com/office/drawing/2014/main" id="{8E700542-BBD8-51EB-0CE8-E0FD32FDC25E}"/>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2" name="CaixaDeTexto 80">
            <a:extLst>
              <a:ext uri="{FF2B5EF4-FFF2-40B4-BE49-F238E27FC236}">
                <a16:creationId xmlns:a16="http://schemas.microsoft.com/office/drawing/2014/main" id="{3C79CCF0-E289-7E58-0835-3464A7839A52}"/>
              </a:ext>
            </a:extLst>
          </p:cNvPr>
          <p:cNvSpPr txBox="1"/>
          <p:nvPr/>
        </p:nvSpPr>
        <p:spPr>
          <a:xfrm>
            <a:off x="783241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Features</a:t>
            </a:r>
          </a:p>
        </p:txBody>
      </p:sp>
      <p:sp>
        <p:nvSpPr>
          <p:cNvPr id="23" name="CaixaDeTexto 81">
            <a:extLst>
              <a:ext uri="{FF2B5EF4-FFF2-40B4-BE49-F238E27FC236}">
                <a16:creationId xmlns:a16="http://schemas.microsoft.com/office/drawing/2014/main" id="{61D51302-6934-6AB7-B846-104AEE99357E}"/>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24" name="CaixaDeTexto 82">
            <a:extLst>
              <a:ext uri="{FF2B5EF4-FFF2-40B4-BE49-F238E27FC236}">
                <a16:creationId xmlns:a16="http://schemas.microsoft.com/office/drawing/2014/main" id="{833C6942-5C7A-4CE5-22F9-813FA031A76E}"/>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25" name="CaixaDeTexto 83">
            <a:extLst>
              <a:ext uri="{FF2B5EF4-FFF2-40B4-BE49-F238E27FC236}">
                <a16:creationId xmlns:a16="http://schemas.microsoft.com/office/drawing/2014/main" id="{862CCA9E-114C-7180-A5A7-6EC752B1682E}"/>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26" name="CaixaDeTexto 84">
            <a:extLst>
              <a:ext uri="{FF2B5EF4-FFF2-40B4-BE49-F238E27FC236}">
                <a16:creationId xmlns:a16="http://schemas.microsoft.com/office/drawing/2014/main" id="{21D5092B-04C0-7CE2-60D3-49C09A0018CE}"/>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27" name="CaixaDeTexto 85">
            <a:extLst>
              <a:ext uri="{FF2B5EF4-FFF2-40B4-BE49-F238E27FC236}">
                <a16:creationId xmlns:a16="http://schemas.microsoft.com/office/drawing/2014/main" id="{FEFF5CCF-47DE-B1DE-21E7-64DAAF96D2B5}"/>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28" name="CaixaDeTexto 86">
            <a:extLst>
              <a:ext uri="{FF2B5EF4-FFF2-40B4-BE49-F238E27FC236}">
                <a16:creationId xmlns:a16="http://schemas.microsoft.com/office/drawing/2014/main" id="{EBCE63C6-0C7E-83EE-259D-36AA01D47888}"/>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29" name="CaixaDeTexto 87">
            <a:extLst>
              <a:ext uri="{FF2B5EF4-FFF2-40B4-BE49-F238E27FC236}">
                <a16:creationId xmlns:a16="http://schemas.microsoft.com/office/drawing/2014/main" id="{352D0651-11BC-BA9B-FF12-BB7384FD8C23}"/>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30" name="Conector Reto 31">
            <a:extLst>
              <a:ext uri="{FF2B5EF4-FFF2-40B4-BE49-F238E27FC236}">
                <a16:creationId xmlns:a16="http://schemas.microsoft.com/office/drawing/2014/main" id="{1BEB2A21-7990-51BA-5676-9B5ABD047FC2}"/>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1" name="Conector Reto 31">
            <a:extLst>
              <a:ext uri="{FF2B5EF4-FFF2-40B4-BE49-F238E27FC236}">
                <a16:creationId xmlns:a16="http://schemas.microsoft.com/office/drawing/2014/main" id="{BC5F72FF-CD8E-1A61-5D92-BAFDB7BB2781}"/>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2" name="Conector Reto 17">
            <a:extLst>
              <a:ext uri="{FF2B5EF4-FFF2-40B4-BE49-F238E27FC236}">
                <a16:creationId xmlns:a16="http://schemas.microsoft.com/office/drawing/2014/main" id="{E6CAEFC6-6060-B323-4396-FFFA75D13CF3}"/>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3" name="Rounded Rectangle 141">
            <a:extLst>
              <a:ext uri="{FF2B5EF4-FFF2-40B4-BE49-F238E27FC236}">
                <a16:creationId xmlns:a16="http://schemas.microsoft.com/office/drawing/2014/main" id="{9649DFA0-F941-E9BE-522B-D4ED28E6D423}"/>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34" name="CaixaDeTexto 89">
            <a:extLst>
              <a:ext uri="{FF2B5EF4-FFF2-40B4-BE49-F238E27FC236}">
                <a16:creationId xmlns:a16="http://schemas.microsoft.com/office/drawing/2014/main" id="{0C759A75-38A8-B11C-16EA-68819394C882}"/>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57" name="Retângulo Arredondado 56">
            <a:extLst>
              <a:ext uri="{FF2B5EF4-FFF2-40B4-BE49-F238E27FC236}">
                <a16:creationId xmlns:a16="http://schemas.microsoft.com/office/drawing/2014/main" id="{B4B583FF-A994-18BF-3402-0C327BB18209}"/>
              </a:ext>
            </a:extLst>
          </p:cNvPr>
          <p:cNvSpPr/>
          <p:nvPr/>
        </p:nvSpPr>
        <p:spPr>
          <a:xfrm>
            <a:off x="8052996"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58" name="TextBox 60">
            <a:extLst>
              <a:ext uri="{FF2B5EF4-FFF2-40B4-BE49-F238E27FC236}">
                <a16:creationId xmlns:a16="http://schemas.microsoft.com/office/drawing/2014/main" id="{B8D615CF-9742-28AF-9702-22CFD7219CDF}"/>
              </a:ext>
            </a:extLst>
          </p:cNvPr>
          <p:cNvSpPr txBox="1"/>
          <p:nvPr/>
        </p:nvSpPr>
        <p:spPr>
          <a:xfrm>
            <a:off x="7993856"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1/2</a:t>
            </a:r>
          </a:p>
        </p:txBody>
      </p:sp>
      <p:pic>
        <p:nvPicPr>
          <p:cNvPr id="59" name="Gráfico 58" descr="Acento Circunflexo à Direita com preenchimento sólido">
            <a:extLst>
              <a:ext uri="{FF2B5EF4-FFF2-40B4-BE49-F238E27FC236}">
                <a16:creationId xmlns:a16="http://schemas.microsoft.com/office/drawing/2014/main" id="{12E496AB-D5AF-4965-58E5-8F2E719591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32347" y="6546689"/>
            <a:ext cx="156462" cy="156462"/>
          </a:xfrm>
          <a:prstGeom prst="rect">
            <a:avLst/>
          </a:prstGeom>
        </p:spPr>
      </p:pic>
    </p:spTree>
    <p:extLst>
      <p:ext uri="{BB962C8B-B14F-4D97-AF65-F5344CB8AC3E}">
        <p14:creationId xmlns:p14="http://schemas.microsoft.com/office/powerpoint/2010/main" val="10381921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3D3FA95-A292-FACD-2FEE-48EC16422BBA}"/>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7E051FD3-1812-C4AF-20D0-A8BFB5D08F99}"/>
              </a:ext>
            </a:extLst>
          </p:cNvPr>
          <p:cNvSpPr/>
          <p:nvPr/>
        </p:nvSpPr>
        <p:spPr>
          <a:xfrm>
            <a:off x="1450848" y="1247695"/>
            <a:ext cx="9954011"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45" name="TextBox 36">
            <a:extLst>
              <a:ext uri="{FF2B5EF4-FFF2-40B4-BE49-F238E27FC236}">
                <a16:creationId xmlns:a16="http://schemas.microsoft.com/office/drawing/2014/main" id="{EF8234BF-0985-B5E6-0406-C64B8B0F8CF8}"/>
              </a:ext>
            </a:extLst>
          </p:cNvPr>
          <p:cNvSpPr txBox="1"/>
          <p:nvPr/>
        </p:nvSpPr>
        <p:spPr>
          <a:xfrm>
            <a:off x="2266692" y="2236404"/>
            <a:ext cx="3951227" cy="295465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8000" marR="0" lvl="0" indent="-108000" algn="l" defTabSz="914400" rtl="0" eaLnBrk="1" fontAlgn="auto" latinLnBrk="0" hangingPunct="1">
              <a:lnSpc>
                <a:spcPct val="100000"/>
              </a:lnSpc>
              <a:spcBef>
                <a:spcPts val="0"/>
              </a:spcBef>
              <a:spcAft>
                <a:spcPts val="600"/>
              </a:spcAft>
              <a:buClr>
                <a:srgbClr val="DA281C"/>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Protects Your Investment: Engine braking helps reduce wear on mechanical brakes, lowering maintenance costs and improving total cost of ownership (TCO)</a:t>
            </a:r>
          </a:p>
          <a:p>
            <a:pPr marL="108000" marR="0" lvl="0" indent="-108000" algn="l" defTabSz="914400" rtl="0" eaLnBrk="1" fontAlgn="auto" latinLnBrk="0" hangingPunct="1">
              <a:lnSpc>
                <a:spcPct val="100000"/>
              </a:lnSpc>
              <a:spcBef>
                <a:spcPts val="0"/>
              </a:spcBef>
              <a:spcAft>
                <a:spcPts val="600"/>
              </a:spcAft>
              <a:buClr>
                <a:srgbClr val="DA281C"/>
              </a:buClr>
              <a:buSzTx/>
              <a:buFont typeface="Wingdings" pitchFamily="2" charset="2"/>
              <a:buChar char="§"/>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endParaRPr>
          </a:p>
          <a:p>
            <a:pPr marL="108000" marR="0" lvl="0" indent="-108000" algn="l" defTabSz="914400" rtl="0" eaLnBrk="1" fontAlgn="auto" latinLnBrk="0" hangingPunct="1">
              <a:lnSpc>
                <a:spcPct val="100000"/>
              </a:lnSpc>
              <a:spcBef>
                <a:spcPts val="0"/>
              </a:spcBef>
              <a:spcAft>
                <a:spcPts val="600"/>
              </a:spcAft>
              <a:buClr>
                <a:srgbClr val="DA281C"/>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dvanced Braking Power: The X10 features the new High Power Density brake from Jacobs Cummins Drive and Braking Systems – delivering up to:</a:t>
            </a:r>
          </a:p>
          <a:p>
            <a:pPr marL="252000" marR="0" lvl="2" indent="-108000" algn="l" defTabSz="914400" rtl="0" eaLnBrk="1" fontAlgn="auto" latinLnBrk="0" hangingPunct="1">
              <a:lnSpc>
                <a:spcPct val="100000"/>
              </a:lnSpc>
              <a:spcBef>
                <a:spcPts val="0"/>
              </a:spcBef>
              <a:spcAft>
                <a:spcPts val="600"/>
              </a:spcAft>
              <a:buClr>
                <a:srgbClr val="DA281C"/>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Up to 475 hp of braking power for heavy-duty </a:t>
            </a:r>
          </a:p>
          <a:p>
            <a:pPr marL="252000" marR="0" lvl="2" indent="-108000" algn="l" defTabSz="914400" rtl="0" eaLnBrk="1" fontAlgn="auto" latinLnBrk="0" hangingPunct="1">
              <a:lnSpc>
                <a:spcPct val="100000"/>
              </a:lnSpc>
              <a:spcBef>
                <a:spcPts val="0"/>
              </a:spcBef>
              <a:spcAft>
                <a:spcPts val="600"/>
              </a:spcAft>
              <a:buClr>
                <a:srgbClr val="DA281C"/>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350 hp for medium-duty</a:t>
            </a:r>
          </a:p>
          <a:p>
            <a:pPr marL="565200" marR="0" lvl="2" indent="-108000" algn="l" defTabSz="914400" rtl="0" eaLnBrk="1" fontAlgn="auto" latinLnBrk="0" hangingPunct="1">
              <a:lnSpc>
                <a:spcPct val="100000"/>
              </a:lnSpc>
              <a:spcBef>
                <a:spcPts val="0"/>
              </a:spcBef>
              <a:spcAft>
                <a:spcPts val="600"/>
              </a:spcAft>
              <a:buClr>
                <a:srgbClr val="DA281C"/>
              </a:buClr>
              <a:buSzTx/>
              <a:buFont typeface="Wingdings" pitchFamily="2" charset="2"/>
              <a:buChar char="§"/>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endParaRPr>
          </a:p>
          <a:p>
            <a:pPr marL="108000" marR="0" lvl="0" indent="-108000" algn="l" defTabSz="914400" rtl="0" eaLnBrk="1" fontAlgn="auto" latinLnBrk="0" hangingPunct="1">
              <a:lnSpc>
                <a:spcPct val="100000"/>
              </a:lnSpc>
              <a:spcBef>
                <a:spcPts val="0"/>
              </a:spcBef>
              <a:spcAft>
                <a:spcPts val="600"/>
              </a:spcAft>
              <a:buClr>
                <a:srgbClr val="DA281C"/>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Engineered to Lead: With enhanced braking performance, the X10 raises the standard in the mid-bore market, providing even more value to customers</a:t>
            </a:r>
          </a:p>
        </p:txBody>
      </p:sp>
      <p:sp>
        <p:nvSpPr>
          <p:cNvPr id="46" name="Espaço Reservado para Conteúdo 45">
            <a:extLst>
              <a:ext uri="{FF2B5EF4-FFF2-40B4-BE49-F238E27FC236}">
                <a16:creationId xmlns:a16="http://schemas.microsoft.com/office/drawing/2014/main" id="{F93C58DC-06E0-86DD-F8AD-8F8758BAE287}"/>
              </a:ext>
            </a:extLst>
          </p:cNvPr>
          <p:cNvSpPr>
            <a:spLocks noGrp="1"/>
          </p:cNvSpPr>
          <p:nvPr>
            <p:ph idx="1"/>
          </p:nvPr>
        </p:nvSpPr>
        <p:spPr/>
        <p:txBody>
          <a:bodyPr/>
          <a:lstStyle/>
          <a:p>
            <a:r>
              <a:rPr lang="en-US" sz="2400" b="1" noProof="0">
                <a:solidFill>
                  <a:schemeClr val="accent1"/>
                </a:solidFill>
                <a:latin typeface="Aptos" panose="020B0004020202020204" pitchFamily="34" charset="0"/>
              </a:rPr>
              <a:t>Winning With Engine Braking</a:t>
            </a:r>
          </a:p>
        </p:txBody>
      </p:sp>
      <p:graphicFrame>
        <p:nvGraphicFramePr>
          <p:cNvPr id="4" name="Chart 3">
            <a:extLst>
              <a:ext uri="{FF2B5EF4-FFF2-40B4-BE49-F238E27FC236}">
                <a16:creationId xmlns:a16="http://schemas.microsoft.com/office/drawing/2014/main" id="{3D11A46D-FA84-CB7E-692C-14E16A3CECD8}"/>
              </a:ext>
            </a:extLst>
          </p:cNvPr>
          <p:cNvGraphicFramePr>
            <a:graphicFrameLocks noGrp="1"/>
          </p:cNvGraphicFramePr>
          <p:nvPr/>
        </p:nvGraphicFramePr>
        <p:xfrm>
          <a:off x="7479062" y="1335997"/>
          <a:ext cx="3289804" cy="4421649"/>
        </p:xfrm>
        <a:graphic>
          <a:graphicData uri="http://schemas.openxmlformats.org/drawingml/2006/chart">
            <c:chart xmlns:c="http://schemas.openxmlformats.org/drawingml/2006/chart" xmlns:r="http://schemas.openxmlformats.org/officeDocument/2006/relationships" r:id="rId2"/>
          </a:graphicData>
        </a:graphic>
      </p:graphicFrame>
      <p:sp>
        <p:nvSpPr>
          <p:cNvPr id="2" name="Rounded Rectangle 56">
            <a:extLst>
              <a:ext uri="{FF2B5EF4-FFF2-40B4-BE49-F238E27FC236}">
                <a16:creationId xmlns:a16="http://schemas.microsoft.com/office/drawing/2014/main" id="{DDCE27E7-5B92-5583-487E-6422A99422A4}"/>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13" name="Conector Reto 31">
            <a:extLst>
              <a:ext uri="{FF2B5EF4-FFF2-40B4-BE49-F238E27FC236}">
                <a16:creationId xmlns:a16="http://schemas.microsoft.com/office/drawing/2014/main" id="{E0E1BEB0-0802-4D20-B7BB-D78A6A55551A}"/>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Conector Reto 75">
            <a:extLst>
              <a:ext uri="{FF2B5EF4-FFF2-40B4-BE49-F238E27FC236}">
                <a16:creationId xmlns:a16="http://schemas.microsoft.com/office/drawing/2014/main" id="{677BD127-A3AD-E71B-DC4E-BEB28494104E}"/>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 name="Conector Reto 31">
            <a:extLst>
              <a:ext uri="{FF2B5EF4-FFF2-40B4-BE49-F238E27FC236}">
                <a16:creationId xmlns:a16="http://schemas.microsoft.com/office/drawing/2014/main" id="{026DCCAB-6B8A-48F0-8F3C-8112093676F9}"/>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 name="Conector Reto 31">
            <a:extLst>
              <a:ext uri="{FF2B5EF4-FFF2-40B4-BE49-F238E27FC236}">
                <a16:creationId xmlns:a16="http://schemas.microsoft.com/office/drawing/2014/main" id="{4928ED21-82FE-44F3-7CA5-6607EA12F6D0}"/>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 name="Conector Reto 78">
            <a:extLst>
              <a:ext uri="{FF2B5EF4-FFF2-40B4-BE49-F238E27FC236}">
                <a16:creationId xmlns:a16="http://schemas.microsoft.com/office/drawing/2014/main" id="{8A229BF2-4DB9-3751-4186-342414D05EBD}"/>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Conector Reto 31">
            <a:extLst>
              <a:ext uri="{FF2B5EF4-FFF2-40B4-BE49-F238E27FC236}">
                <a16:creationId xmlns:a16="http://schemas.microsoft.com/office/drawing/2014/main" id="{65BB5E02-3553-D791-A831-1680CE50299F}"/>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2" name="CaixaDeTexto 80">
            <a:extLst>
              <a:ext uri="{FF2B5EF4-FFF2-40B4-BE49-F238E27FC236}">
                <a16:creationId xmlns:a16="http://schemas.microsoft.com/office/drawing/2014/main" id="{EE137638-18CC-3002-D0D5-9EDEC9390099}"/>
              </a:ext>
            </a:extLst>
          </p:cNvPr>
          <p:cNvSpPr txBox="1"/>
          <p:nvPr/>
        </p:nvSpPr>
        <p:spPr>
          <a:xfrm>
            <a:off x="783241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Features</a:t>
            </a:r>
          </a:p>
        </p:txBody>
      </p:sp>
      <p:sp>
        <p:nvSpPr>
          <p:cNvPr id="23" name="CaixaDeTexto 81">
            <a:extLst>
              <a:ext uri="{FF2B5EF4-FFF2-40B4-BE49-F238E27FC236}">
                <a16:creationId xmlns:a16="http://schemas.microsoft.com/office/drawing/2014/main" id="{2DB0A9E5-0D02-2BDE-547A-3FF66FBF3DE4}"/>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24" name="CaixaDeTexto 82">
            <a:extLst>
              <a:ext uri="{FF2B5EF4-FFF2-40B4-BE49-F238E27FC236}">
                <a16:creationId xmlns:a16="http://schemas.microsoft.com/office/drawing/2014/main" id="{325E2FCE-62B3-C691-FEF4-6875B4238349}"/>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25" name="CaixaDeTexto 83">
            <a:extLst>
              <a:ext uri="{FF2B5EF4-FFF2-40B4-BE49-F238E27FC236}">
                <a16:creationId xmlns:a16="http://schemas.microsoft.com/office/drawing/2014/main" id="{B48A49C9-D998-B014-4CD6-93BCE1C66F3E}"/>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26" name="CaixaDeTexto 84">
            <a:extLst>
              <a:ext uri="{FF2B5EF4-FFF2-40B4-BE49-F238E27FC236}">
                <a16:creationId xmlns:a16="http://schemas.microsoft.com/office/drawing/2014/main" id="{451F44FA-89AF-7A88-7FD0-7B07C29CD4DD}"/>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27" name="CaixaDeTexto 85">
            <a:extLst>
              <a:ext uri="{FF2B5EF4-FFF2-40B4-BE49-F238E27FC236}">
                <a16:creationId xmlns:a16="http://schemas.microsoft.com/office/drawing/2014/main" id="{7F630AC0-97E0-5413-0828-C8012DA61FBA}"/>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28" name="CaixaDeTexto 86">
            <a:extLst>
              <a:ext uri="{FF2B5EF4-FFF2-40B4-BE49-F238E27FC236}">
                <a16:creationId xmlns:a16="http://schemas.microsoft.com/office/drawing/2014/main" id="{5BF085C4-5D64-C05B-A133-9455F205FA8C}"/>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29" name="CaixaDeTexto 87">
            <a:extLst>
              <a:ext uri="{FF2B5EF4-FFF2-40B4-BE49-F238E27FC236}">
                <a16:creationId xmlns:a16="http://schemas.microsoft.com/office/drawing/2014/main" id="{4E29B278-6714-25FC-EB62-19583E3F18CF}"/>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30" name="Conector Reto 31">
            <a:extLst>
              <a:ext uri="{FF2B5EF4-FFF2-40B4-BE49-F238E27FC236}">
                <a16:creationId xmlns:a16="http://schemas.microsoft.com/office/drawing/2014/main" id="{5961E913-2CA2-CD9B-EE96-D8F444EF4CFB}"/>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1" name="Conector Reto 31">
            <a:extLst>
              <a:ext uri="{FF2B5EF4-FFF2-40B4-BE49-F238E27FC236}">
                <a16:creationId xmlns:a16="http://schemas.microsoft.com/office/drawing/2014/main" id="{98424CDB-1DFE-E187-60E9-6156D8111FBD}"/>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2" name="Conector Reto 17">
            <a:extLst>
              <a:ext uri="{FF2B5EF4-FFF2-40B4-BE49-F238E27FC236}">
                <a16:creationId xmlns:a16="http://schemas.microsoft.com/office/drawing/2014/main" id="{BCDA71F1-1816-9243-3EA9-62B135E50867}"/>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3" name="Rounded Rectangle 141">
            <a:extLst>
              <a:ext uri="{FF2B5EF4-FFF2-40B4-BE49-F238E27FC236}">
                <a16:creationId xmlns:a16="http://schemas.microsoft.com/office/drawing/2014/main" id="{D0C3A04A-E56B-3A05-1E85-8FB58FA5B0BB}"/>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34" name="CaixaDeTexto 89">
            <a:extLst>
              <a:ext uri="{FF2B5EF4-FFF2-40B4-BE49-F238E27FC236}">
                <a16:creationId xmlns:a16="http://schemas.microsoft.com/office/drawing/2014/main" id="{1885B7C9-47FD-B9C9-C24F-463674D0BAD6}"/>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47" name="Retângulo Arredondado 46">
            <a:extLst>
              <a:ext uri="{FF2B5EF4-FFF2-40B4-BE49-F238E27FC236}">
                <a16:creationId xmlns:a16="http://schemas.microsoft.com/office/drawing/2014/main" id="{E3B1E8F7-7741-76BC-6BB5-02EF0B4DF241}"/>
              </a:ext>
            </a:extLst>
          </p:cNvPr>
          <p:cNvSpPr/>
          <p:nvPr/>
        </p:nvSpPr>
        <p:spPr>
          <a:xfrm>
            <a:off x="8014083"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48" name="TextBox 60">
            <a:extLst>
              <a:ext uri="{FF2B5EF4-FFF2-40B4-BE49-F238E27FC236}">
                <a16:creationId xmlns:a16="http://schemas.microsoft.com/office/drawing/2014/main" id="{3A4D8406-4F5C-39B7-806A-D14E838B8C80}"/>
              </a:ext>
            </a:extLst>
          </p:cNvPr>
          <p:cNvSpPr txBox="1"/>
          <p:nvPr/>
        </p:nvSpPr>
        <p:spPr>
          <a:xfrm>
            <a:off x="7954943"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2/2</a:t>
            </a:r>
          </a:p>
        </p:txBody>
      </p:sp>
      <p:pic>
        <p:nvPicPr>
          <p:cNvPr id="50" name="Gráfico 49" descr="Acento Circunflexo à Direita com preenchimento sólido">
            <a:extLst>
              <a:ext uri="{FF2B5EF4-FFF2-40B4-BE49-F238E27FC236}">
                <a16:creationId xmlns:a16="http://schemas.microsoft.com/office/drawing/2014/main" id="{94638AE4-ECE3-816A-562A-C77E22D5B7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7878128" y="6546689"/>
            <a:ext cx="156462" cy="156462"/>
          </a:xfrm>
          <a:prstGeom prst="rect">
            <a:avLst/>
          </a:prstGeom>
        </p:spPr>
      </p:pic>
    </p:spTree>
    <p:extLst>
      <p:ext uri="{BB962C8B-B14F-4D97-AF65-F5344CB8AC3E}">
        <p14:creationId xmlns:p14="http://schemas.microsoft.com/office/powerpoint/2010/main" val="4060721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39F2979-3A46-4A78-EB10-B497A2493922}"/>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2253FACE-5CC7-69D1-8F2C-28C562B8FBD9}"/>
              </a:ext>
            </a:extLst>
          </p:cNvPr>
          <p:cNvSpPr/>
          <p:nvPr/>
        </p:nvSpPr>
        <p:spPr>
          <a:xfrm>
            <a:off x="1350335" y="1247695"/>
            <a:ext cx="10054524"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8" name="TextBox 19">
            <a:extLst>
              <a:ext uri="{FF2B5EF4-FFF2-40B4-BE49-F238E27FC236}">
                <a16:creationId xmlns:a16="http://schemas.microsoft.com/office/drawing/2014/main" id="{54A2D8CB-5F7D-EC71-448C-7A71CA39D7BC}"/>
              </a:ext>
            </a:extLst>
          </p:cNvPr>
          <p:cNvSpPr txBox="1"/>
          <p:nvPr/>
        </p:nvSpPr>
        <p:spPr>
          <a:xfrm>
            <a:off x="1613189" y="1512953"/>
            <a:ext cx="922138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mn-cs"/>
              </a:rPr>
              <a:t>Perform efficiently in diverse applications and duty cycles across the medium and heavy-duty markets. </a:t>
            </a:r>
            <a:endParaRPr kumimoji="0" lang="en-US" sz="1400" b="1"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 name="Retângulo Arredondado 125">
            <a:extLst>
              <a:ext uri="{FF2B5EF4-FFF2-40B4-BE49-F238E27FC236}">
                <a16:creationId xmlns:a16="http://schemas.microsoft.com/office/drawing/2014/main" id="{3725A045-4C3F-D4A3-5FE1-D6D43FFAC436}"/>
              </a:ext>
            </a:extLst>
          </p:cNvPr>
          <p:cNvSpPr/>
          <p:nvPr/>
        </p:nvSpPr>
        <p:spPr>
          <a:xfrm>
            <a:off x="5317332" y="2041374"/>
            <a:ext cx="2033924" cy="1597589"/>
          </a:xfrm>
          <a:prstGeom prst="roundRect">
            <a:avLst>
              <a:gd name="adj" fmla="val 6419"/>
            </a:avLst>
          </a:prstGeom>
          <a:solidFill>
            <a:schemeClr val="bg1"/>
          </a:solidFill>
          <a:ln>
            <a:noFill/>
          </a:ln>
          <a:effectLst>
            <a:outerShdw blurRad="191239" dir="5400000" sx="95058" sy="95058" algn="ctr" rotWithShape="0">
              <a:srgbClr val="000000">
                <a:alpha val="3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2" name="Retângulo Arredondado 125">
            <a:extLst>
              <a:ext uri="{FF2B5EF4-FFF2-40B4-BE49-F238E27FC236}">
                <a16:creationId xmlns:a16="http://schemas.microsoft.com/office/drawing/2014/main" id="{F308E516-DD25-5AD6-5724-777A74ADEA06}"/>
              </a:ext>
            </a:extLst>
          </p:cNvPr>
          <p:cNvSpPr/>
          <p:nvPr/>
        </p:nvSpPr>
        <p:spPr>
          <a:xfrm>
            <a:off x="7610402" y="2041374"/>
            <a:ext cx="2033924" cy="1597589"/>
          </a:xfrm>
          <a:prstGeom prst="roundRect">
            <a:avLst>
              <a:gd name="adj" fmla="val 6419"/>
            </a:avLst>
          </a:prstGeom>
          <a:solidFill>
            <a:schemeClr val="bg1"/>
          </a:solidFill>
          <a:ln>
            <a:noFill/>
          </a:ln>
          <a:effectLst>
            <a:outerShdw blurRad="191239" dir="5400000" sx="95058" sy="95058" algn="ctr" rotWithShape="0">
              <a:srgbClr val="000000">
                <a:alpha val="3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3" name="Retângulo Arredondado 125">
            <a:extLst>
              <a:ext uri="{FF2B5EF4-FFF2-40B4-BE49-F238E27FC236}">
                <a16:creationId xmlns:a16="http://schemas.microsoft.com/office/drawing/2014/main" id="{C18F35FC-27AC-15BF-FDC1-FF417BC12583}"/>
              </a:ext>
            </a:extLst>
          </p:cNvPr>
          <p:cNvSpPr/>
          <p:nvPr/>
        </p:nvSpPr>
        <p:spPr>
          <a:xfrm>
            <a:off x="6433462" y="3943171"/>
            <a:ext cx="2033924" cy="1597589"/>
          </a:xfrm>
          <a:prstGeom prst="roundRect">
            <a:avLst>
              <a:gd name="adj" fmla="val 6419"/>
            </a:avLst>
          </a:prstGeom>
          <a:solidFill>
            <a:schemeClr val="bg1"/>
          </a:solidFill>
          <a:ln>
            <a:noFill/>
          </a:ln>
          <a:effectLst>
            <a:outerShdw blurRad="191239" dir="5400000" sx="95058" sy="95058" algn="ctr" rotWithShape="0">
              <a:srgbClr val="000000">
                <a:alpha val="3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4" name="Retângulo Arredondado 125">
            <a:extLst>
              <a:ext uri="{FF2B5EF4-FFF2-40B4-BE49-F238E27FC236}">
                <a16:creationId xmlns:a16="http://schemas.microsoft.com/office/drawing/2014/main" id="{4599F537-1DDE-4D25-043C-B69C423989C1}"/>
              </a:ext>
            </a:extLst>
          </p:cNvPr>
          <p:cNvSpPr/>
          <p:nvPr/>
        </p:nvSpPr>
        <p:spPr>
          <a:xfrm>
            <a:off x="4128526" y="3943171"/>
            <a:ext cx="2033924" cy="1597589"/>
          </a:xfrm>
          <a:prstGeom prst="roundRect">
            <a:avLst>
              <a:gd name="adj" fmla="val 6419"/>
            </a:avLst>
          </a:prstGeom>
          <a:solidFill>
            <a:schemeClr val="bg1"/>
          </a:solidFill>
          <a:ln>
            <a:noFill/>
          </a:ln>
          <a:effectLst>
            <a:outerShdw blurRad="191239" dir="5400000" sx="95058" sy="95058" algn="ctr" rotWithShape="0">
              <a:srgbClr val="000000">
                <a:alpha val="3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5" name="Retângulo Arredondado 125">
            <a:extLst>
              <a:ext uri="{FF2B5EF4-FFF2-40B4-BE49-F238E27FC236}">
                <a16:creationId xmlns:a16="http://schemas.microsoft.com/office/drawing/2014/main" id="{F86196D8-6D5E-5B7A-D33B-500256E9A080}"/>
              </a:ext>
            </a:extLst>
          </p:cNvPr>
          <p:cNvSpPr/>
          <p:nvPr/>
        </p:nvSpPr>
        <p:spPr>
          <a:xfrm>
            <a:off x="3015954" y="2041374"/>
            <a:ext cx="2033924" cy="1597589"/>
          </a:xfrm>
          <a:prstGeom prst="roundRect">
            <a:avLst>
              <a:gd name="adj" fmla="val 6419"/>
            </a:avLst>
          </a:prstGeom>
          <a:solidFill>
            <a:schemeClr val="bg1"/>
          </a:solidFill>
          <a:ln>
            <a:noFill/>
          </a:ln>
          <a:effectLst>
            <a:outerShdw blurRad="191239" dir="5400000" sx="95058" sy="95058" algn="ctr" rotWithShape="0">
              <a:srgbClr val="000000">
                <a:alpha val="3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6" name="TextBox 22">
            <a:extLst>
              <a:ext uri="{FF2B5EF4-FFF2-40B4-BE49-F238E27FC236}">
                <a16:creationId xmlns:a16="http://schemas.microsoft.com/office/drawing/2014/main" id="{56024889-BFBD-CA70-D1F4-54F017394AB4}"/>
              </a:ext>
            </a:extLst>
          </p:cNvPr>
          <p:cNvSpPr txBox="1"/>
          <p:nvPr/>
        </p:nvSpPr>
        <p:spPr>
          <a:xfrm>
            <a:off x="3603087" y="2752025"/>
            <a:ext cx="782587" cy="246221"/>
          </a:xfrm>
          <a:prstGeom prst="rect">
            <a:avLst/>
          </a:prstGeom>
          <a:noFill/>
        </p:spPr>
        <p:txBody>
          <a:bodyPr wrap="non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DA281C"/>
                </a:solidFill>
                <a:effectLst/>
                <a:uLnTx/>
                <a:uFillTx/>
                <a:latin typeface="Aptos" panose="020B0004020202020204" pitchFamily="34" charset="0"/>
                <a:ea typeface="Arial" charset="0"/>
                <a:cs typeface="Arial" charset="0"/>
              </a:rPr>
              <a:t>Vocational</a:t>
            </a:r>
          </a:p>
        </p:txBody>
      </p:sp>
      <p:grpSp>
        <p:nvGrpSpPr>
          <p:cNvPr id="17" name="Group 23">
            <a:extLst>
              <a:ext uri="{FF2B5EF4-FFF2-40B4-BE49-F238E27FC236}">
                <a16:creationId xmlns:a16="http://schemas.microsoft.com/office/drawing/2014/main" id="{90A5557E-73B6-ED0F-B1FD-B0257B94D076}"/>
              </a:ext>
            </a:extLst>
          </p:cNvPr>
          <p:cNvGrpSpPr>
            <a:grpSpLocks noChangeAspect="1"/>
          </p:cNvGrpSpPr>
          <p:nvPr/>
        </p:nvGrpSpPr>
        <p:grpSpPr>
          <a:xfrm>
            <a:off x="3548639" y="2184965"/>
            <a:ext cx="871292" cy="452216"/>
            <a:chOff x="7386797" y="5552395"/>
            <a:chExt cx="1293813" cy="671513"/>
          </a:xfrm>
        </p:grpSpPr>
        <p:sp>
          <p:nvSpPr>
            <p:cNvPr id="18" name="Rectangle 1821">
              <a:extLst>
                <a:ext uri="{FF2B5EF4-FFF2-40B4-BE49-F238E27FC236}">
                  <a16:creationId xmlns:a16="http://schemas.microsoft.com/office/drawing/2014/main" id="{8A5A0EBE-E58E-653E-FBAD-DB39912C01ED}"/>
                </a:ext>
              </a:extLst>
            </p:cNvPr>
            <p:cNvSpPr>
              <a:spLocks noChangeArrowheads="1"/>
            </p:cNvSpPr>
            <p:nvPr/>
          </p:nvSpPr>
          <p:spPr bwMode="auto">
            <a:xfrm>
              <a:off x="7651909" y="5903233"/>
              <a:ext cx="331788" cy="134938"/>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 name="Rectangle 1822">
              <a:extLst>
                <a:ext uri="{FF2B5EF4-FFF2-40B4-BE49-F238E27FC236}">
                  <a16:creationId xmlns:a16="http://schemas.microsoft.com/office/drawing/2014/main" id="{88C1905B-CE21-1D13-76F4-4698431427B3}"/>
                </a:ext>
              </a:extLst>
            </p:cNvPr>
            <p:cNvSpPr>
              <a:spLocks noChangeArrowheads="1"/>
            </p:cNvSpPr>
            <p:nvPr/>
          </p:nvSpPr>
          <p:spPr bwMode="auto">
            <a:xfrm>
              <a:off x="7651909" y="5903233"/>
              <a:ext cx="331788" cy="134938"/>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5" name="Freeform 1823">
              <a:extLst>
                <a:ext uri="{FF2B5EF4-FFF2-40B4-BE49-F238E27FC236}">
                  <a16:creationId xmlns:a16="http://schemas.microsoft.com/office/drawing/2014/main" id="{496C80F4-5BF7-C9B1-EFAD-0EC2D7B8E14A}"/>
                </a:ext>
              </a:extLst>
            </p:cNvPr>
            <p:cNvSpPr>
              <a:spLocks/>
            </p:cNvSpPr>
            <p:nvPr/>
          </p:nvSpPr>
          <p:spPr bwMode="auto">
            <a:xfrm>
              <a:off x="8164672" y="5777820"/>
              <a:ext cx="134938" cy="201613"/>
            </a:xfrm>
            <a:custGeom>
              <a:avLst/>
              <a:gdLst>
                <a:gd name="T0" fmla="*/ 71 w 85"/>
                <a:gd name="T1" fmla="*/ 0 h 127"/>
                <a:gd name="T2" fmla="*/ 45 w 85"/>
                <a:gd name="T3" fmla="*/ 0 h 127"/>
                <a:gd name="T4" fmla="*/ 0 w 85"/>
                <a:gd name="T5" fmla="*/ 127 h 127"/>
                <a:gd name="T6" fmla="*/ 85 w 85"/>
                <a:gd name="T7" fmla="*/ 127 h 127"/>
                <a:gd name="T8" fmla="*/ 71 w 85"/>
                <a:gd name="T9" fmla="*/ 0 h 127"/>
              </a:gdLst>
              <a:ahLst/>
              <a:cxnLst>
                <a:cxn ang="0">
                  <a:pos x="T0" y="T1"/>
                </a:cxn>
                <a:cxn ang="0">
                  <a:pos x="T2" y="T3"/>
                </a:cxn>
                <a:cxn ang="0">
                  <a:pos x="T4" y="T5"/>
                </a:cxn>
                <a:cxn ang="0">
                  <a:pos x="T6" y="T7"/>
                </a:cxn>
                <a:cxn ang="0">
                  <a:pos x="T8" y="T9"/>
                </a:cxn>
              </a:cxnLst>
              <a:rect l="0" t="0" r="r" b="b"/>
              <a:pathLst>
                <a:path w="85" h="127">
                  <a:moveTo>
                    <a:pt x="71" y="0"/>
                  </a:moveTo>
                  <a:lnTo>
                    <a:pt x="45" y="0"/>
                  </a:lnTo>
                  <a:lnTo>
                    <a:pt x="0" y="127"/>
                  </a:lnTo>
                  <a:lnTo>
                    <a:pt x="85" y="127"/>
                  </a:lnTo>
                  <a:lnTo>
                    <a:pt x="71"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6" name="Freeform 1824">
              <a:extLst>
                <a:ext uri="{FF2B5EF4-FFF2-40B4-BE49-F238E27FC236}">
                  <a16:creationId xmlns:a16="http://schemas.microsoft.com/office/drawing/2014/main" id="{13108D3F-6371-0269-4CF3-171BDDFD4F8B}"/>
                </a:ext>
              </a:extLst>
            </p:cNvPr>
            <p:cNvSpPr>
              <a:spLocks/>
            </p:cNvSpPr>
            <p:nvPr/>
          </p:nvSpPr>
          <p:spPr bwMode="auto">
            <a:xfrm>
              <a:off x="8164672" y="5777820"/>
              <a:ext cx="134938" cy="201613"/>
            </a:xfrm>
            <a:custGeom>
              <a:avLst/>
              <a:gdLst>
                <a:gd name="T0" fmla="*/ 71 w 85"/>
                <a:gd name="T1" fmla="*/ 0 h 127"/>
                <a:gd name="T2" fmla="*/ 45 w 85"/>
                <a:gd name="T3" fmla="*/ 0 h 127"/>
                <a:gd name="T4" fmla="*/ 0 w 85"/>
                <a:gd name="T5" fmla="*/ 127 h 127"/>
                <a:gd name="T6" fmla="*/ 85 w 85"/>
                <a:gd name="T7" fmla="*/ 127 h 127"/>
                <a:gd name="T8" fmla="*/ 71 w 85"/>
                <a:gd name="T9" fmla="*/ 0 h 127"/>
              </a:gdLst>
              <a:ahLst/>
              <a:cxnLst>
                <a:cxn ang="0">
                  <a:pos x="T0" y="T1"/>
                </a:cxn>
                <a:cxn ang="0">
                  <a:pos x="T2" y="T3"/>
                </a:cxn>
                <a:cxn ang="0">
                  <a:pos x="T4" y="T5"/>
                </a:cxn>
                <a:cxn ang="0">
                  <a:pos x="T6" y="T7"/>
                </a:cxn>
                <a:cxn ang="0">
                  <a:pos x="T8" y="T9"/>
                </a:cxn>
              </a:cxnLst>
              <a:rect l="0" t="0" r="r" b="b"/>
              <a:pathLst>
                <a:path w="85" h="127">
                  <a:moveTo>
                    <a:pt x="71" y="0"/>
                  </a:moveTo>
                  <a:lnTo>
                    <a:pt x="45" y="0"/>
                  </a:lnTo>
                  <a:lnTo>
                    <a:pt x="0" y="127"/>
                  </a:lnTo>
                  <a:lnTo>
                    <a:pt x="85" y="127"/>
                  </a:lnTo>
                  <a:lnTo>
                    <a:pt x="71"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7" name="Rectangle 1825">
              <a:extLst>
                <a:ext uri="{FF2B5EF4-FFF2-40B4-BE49-F238E27FC236}">
                  <a16:creationId xmlns:a16="http://schemas.microsoft.com/office/drawing/2014/main" id="{27866F2E-3244-E6FE-83DE-7730A9970512}"/>
                </a:ext>
              </a:extLst>
            </p:cNvPr>
            <p:cNvSpPr>
              <a:spLocks noChangeArrowheads="1"/>
            </p:cNvSpPr>
            <p:nvPr/>
          </p:nvSpPr>
          <p:spPr bwMode="auto">
            <a:xfrm>
              <a:off x="7461409" y="5998483"/>
              <a:ext cx="133350" cy="61913"/>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8" name="Rectangle 1826">
              <a:extLst>
                <a:ext uri="{FF2B5EF4-FFF2-40B4-BE49-F238E27FC236}">
                  <a16:creationId xmlns:a16="http://schemas.microsoft.com/office/drawing/2014/main" id="{7EE86AFF-B25C-64E0-48B4-D9E30A208BA7}"/>
                </a:ext>
              </a:extLst>
            </p:cNvPr>
            <p:cNvSpPr>
              <a:spLocks noChangeArrowheads="1"/>
            </p:cNvSpPr>
            <p:nvPr/>
          </p:nvSpPr>
          <p:spPr bwMode="auto">
            <a:xfrm>
              <a:off x="7461409" y="5998483"/>
              <a:ext cx="133350" cy="61913"/>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9" name="Freeform 1827">
              <a:extLst>
                <a:ext uri="{FF2B5EF4-FFF2-40B4-BE49-F238E27FC236}">
                  <a16:creationId xmlns:a16="http://schemas.microsoft.com/office/drawing/2014/main" id="{15839C7C-4F11-8F01-CB6F-57A94AC1FF36}"/>
                </a:ext>
              </a:extLst>
            </p:cNvPr>
            <p:cNvSpPr>
              <a:spLocks/>
            </p:cNvSpPr>
            <p:nvPr/>
          </p:nvSpPr>
          <p:spPr bwMode="auto">
            <a:xfrm>
              <a:off x="7531259" y="5982608"/>
              <a:ext cx="773113" cy="160338"/>
            </a:xfrm>
            <a:custGeom>
              <a:avLst/>
              <a:gdLst>
                <a:gd name="T0" fmla="*/ 487 w 487"/>
                <a:gd name="T1" fmla="*/ 101 h 101"/>
                <a:gd name="T2" fmla="*/ 0 w 487"/>
                <a:gd name="T3" fmla="*/ 101 h 101"/>
                <a:gd name="T4" fmla="*/ 45 w 487"/>
                <a:gd name="T5" fmla="*/ 0 h 101"/>
                <a:gd name="T6" fmla="*/ 487 w 487"/>
                <a:gd name="T7" fmla="*/ 0 h 101"/>
                <a:gd name="T8" fmla="*/ 487 w 487"/>
                <a:gd name="T9" fmla="*/ 101 h 101"/>
              </a:gdLst>
              <a:ahLst/>
              <a:cxnLst>
                <a:cxn ang="0">
                  <a:pos x="T0" y="T1"/>
                </a:cxn>
                <a:cxn ang="0">
                  <a:pos x="T2" y="T3"/>
                </a:cxn>
                <a:cxn ang="0">
                  <a:pos x="T4" y="T5"/>
                </a:cxn>
                <a:cxn ang="0">
                  <a:pos x="T6" y="T7"/>
                </a:cxn>
                <a:cxn ang="0">
                  <a:pos x="T8" y="T9"/>
                </a:cxn>
              </a:cxnLst>
              <a:rect l="0" t="0" r="r" b="b"/>
              <a:pathLst>
                <a:path w="487" h="101">
                  <a:moveTo>
                    <a:pt x="487" y="101"/>
                  </a:moveTo>
                  <a:lnTo>
                    <a:pt x="0" y="101"/>
                  </a:lnTo>
                  <a:lnTo>
                    <a:pt x="45" y="0"/>
                  </a:lnTo>
                  <a:lnTo>
                    <a:pt x="487" y="0"/>
                  </a:lnTo>
                  <a:lnTo>
                    <a:pt x="487" y="101"/>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30" name="Freeform 1828">
              <a:extLst>
                <a:ext uri="{FF2B5EF4-FFF2-40B4-BE49-F238E27FC236}">
                  <a16:creationId xmlns:a16="http://schemas.microsoft.com/office/drawing/2014/main" id="{17E87C30-BFEB-3340-601F-A77FF3D88BD5}"/>
                </a:ext>
              </a:extLst>
            </p:cNvPr>
            <p:cNvSpPr>
              <a:spLocks/>
            </p:cNvSpPr>
            <p:nvPr/>
          </p:nvSpPr>
          <p:spPr bwMode="auto">
            <a:xfrm>
              <a:off x="7531259" y="5982608"/>
              <a:ext cx="773113" cy="160338"/>
            </a:xfrm>
            <a:custGeom>
              <a:avLst/>
              <a:gdLst>
                <a:gd name="T0" fmla="*/ 487 w 487"/>
                <a:gd name="T1" fmla="*/ 101 h 101"/>
                <a:gd name="T2" fmla="*/ 0 w 487"/>
                <a:gd name="T3" fmla="*/ 101 h 101"/>
                <a:gd name="T4" fmla="*/ 45 w 487"/>
                <a:gd name="T5" fmla="*/ 0 h 101"/>
                <a:gd name="T6" fmla="*/ 487 w 487"/>
                <a:gd name="T7" fmla="*/ 0 h 101"/>
                <a:gd name="T8" fmla="*/ 487 w 487"/>
                <a:gd name="T9" fmla="*/ 101 h 101"/>
              </a:gdLst>
              <a:ahLst/>
              <a:cxnLst>
                <a:cxn ang="0">
                  <a:pos x="T0" y="T1"/>
                </a:cxn>
                <a:cxn ang="0">
                  <a:pos x="T2" y="T3"/>
                </a:cxn>
                <a:cxn ang="0">
                  <a:pos x="T4" y="T5"/>
                </a:cxn>
                <a:cxn ang="0">
                  <a:pos x="T6" y="T7"/>
                </a:cxn>
                <a:cxn ang="0">
                  <a:pos x="T8" y="T9"/>
                </a:cxn>
              </a:cxnLst>
              <a:rect l="0" t="0" r="r" b="b"/>
              <a:pathLst>
                <a:path w="487" h="101">
                  <a:moveTo>
                    <a:pt x="487" y="101"/>
                  </a:moveTo>
                  <a:lnTo>
                    <a:pt x="0" y="101"/>
                  </a:lnTo>
                  <a:lnTo>
                    <a:pt x="45" y="0"/>
                  </a:lnTo>
                  <a:lnTo>
                    <a:pt x="487" y="0"/>
                  </a:lnTo>
                  <a:lnTo>
                    <a:pt x="487" y="101"/>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31" name="Rectangle 1829">
              <a:extLst>
                <a:ext uri="{FF2B5EF4-FFF2-40B4-BE49-F238E27FC236}">
                  <a16:creationId xmlns:a16="http://schemas.microsoft.com/office/drawing/2014/main" id="{6125743B-482C-21B3-C737-0A60B21CD2F8}"/>
                </a:ext>
              </a:extLst>
            </p:cNvPr>
            <p:cNvSpPr>
              <a:spLocks noChangeArrowheads="1"/>
            </p:cNvSpPr>
            <p:nvPr/>
          </p:nvSpPr>
          <p:spPr bwMode="auto">
            <a:xfrm>
              <a:off x="7531259" y="6100083"/>
              <a:ext cx="1149350" cy="42863"/>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32" name="Rectangle 1830">
              <a:extLst>
                <a:ext uri="{FF2B5EF4-FFF2-40B4-BE49-F238E27FC236}">
                  <a16:creationId xmlns:a16="http://schemas.microsoft.com/office/drawing/2014/main" id="{CE6CCA16-F7BC-DE34-9CE8-1B77D7574FEB}"/>
                </a:ext>
              </a:extLst>
            </p:cNvPr>
            <p:cNvSpPr>
              <a:spLocks noChangeArrowheads="1"/>
            </p:cNvSpPr>
            <p:nvPr/>
          </p:nvSpPr>
          <p:spPr bwMode="auto">
            <a:xfrm>
              <a:off x="7531259" y="6100083"/>
              <a:ext cx="1149350" cy="42863"/>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33" name="Freeform 1831">
              <a:extLst>
                <a:ext uri="{FF2B5EF4-FFF2-40B4-BE49-F238E27FC236}">
                  <a16:creationId xmlns:a16="http://schemas.microsoft.com/office/drawing/2014/main" id="{D7CCF915-7597-6C4D-0AA7-C081ACA9F67F}"/>
                </a:ext>
              </a:extLst>
            </p:cNvPr>
            <p:cNvSpPr>
              <a:spLocks/>
            </p:cNvSpPr>
            <p:nvPr/>
          </p:nvSpPr>
          <p:spPr bwMode="auto">
            <a:xfrm>
              <a:off x="8272622" y="5660345"/>
              <a:ext cx="407988" cy="439738"/>
            </a:xfrm>
            <a:custGeom>
              <a:avLst/>
              <a:gdLst>
                <a:gd name="T0" fmla="*/ 180 w 257"/>
                <a:gd name="T1" fmla="*/ 0 h 277"/>
                <a:gd name="T2" fmla="*/ 0 w 257"/>
                <a:gd name="T3" fmla="*/ 0 h 277"/>
                <a:gd name="T4" fmla="*/ 0 w 257"/>
                <a:gd name="T5" fmla="*/ 277 h 277"/>
                <a:gd name="T6" fmla="*/ 257 w 257"/>
                <a:gd name="T7" fmla="*/ 277 h 277"/>
                <a:gd name="T8" fmla="*/ 257 w 257"/>
                <a:gd name="T9" fmla="*/ 128 h 277"/>
                <a:gd name="T10" fmla="*/ 180 w 257"/>
                <a:gd name="T11" fmla="*/ 0 h 277"/>
              </a:gdLst>
              <a:ahLst/>
              <a:cxnLst>
                <a:cxn ang="0">
                  <a:pos x="T0" y="T1"/>
                </a:cxn>
                <a:cxn ang="0">
                  <a:pos x="T2" y="T3"/>
                </a:cxn>
                <a:cxn ang="0">
                  <a:pos x="T4" y="T5"/>
                </a:cxn>
                <a:cxn ang="0">
                  <a:pos x="T6" y="T7"/>
                </a:cxn>
                <a:cxn ang="0">
                  <a:pos x="T8" y="T9"/>
                </a:cxn>
                <a:cxn ang="0">
                  <a:pos x="T10" y="T11"/>
                </a:cxn>
              </a:cxnLst>
              <a:rect l="0" t="0" r="r" b="b"/>
              <a:pathLst>
                <a:path w="257" h="277">
                  <a:moveTo>
                    <a:pt x="180" y="0"/>
                  </a:moveTo>
                  <a:lnTo>
                    <a:pt x="0" y="0"/>
                  </a:lnTo>
                  <a:lnTo>
                    <a:pt x="0" y="277"/>
                  </a:lnTo>
                  <a:lnTo>
                    <a:pt x="257" y="277"/>
                  </a:lnTo>
                  <a:lnTo>
                    <a:pt x="257" y="128"/>
                  </a:lnTo>
                  <a:lnTo>
                    <a:pt x="180"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34" name="Freeform 1832">
              <a:extLst>
                <a:ext uri="{FF2B5EF4-FFF2-40B4-BE49-F238E27FC236}">
                  <a16:creationId xmlns:a16="http://schemas.microsoft.com/office/drawing/2014/main" id="{EB874592-E789-D318-0C43-57AEF94DBE9B}"/>
                </a:ext>
              </a:extLst>
            </p:cNvPr>
            <p:cNvSpPr>
              <a:spLocks/>
            </p:cNvSpPr>
            <p:nvPr/>
          </p:nvSpPr>
          <p:spPr bwMode="auto">
            <a:xfrm>
              <a:off x="8272622" y="5660345"/>
              <a:ext cx="407988" cy="439738"/>
            </a:xfrm>
            <a:custGeom>
              <a:avLst/>
              <a:gdLst>
                <a:gd name="T0" fmla="*/ 180 w 257"/>
                <a:gd name="T1" fmla="*/ 0 h 277"/>
                <a:gd name="T2" fmla="*/ 0 w 257"/>
                <a:gd name="T3" fmla="*/ 0 h 277"/>
                <a:gd name="T4" fmla="*/ 0 w 257"/>
                <a:gd name="T5" fmla="*/ 277 h 277"/>
                <a:gd name="T6" fmla="*/ 257 w 257"/>
                <a:gd name="T7" fmla="*/ 277 h 277"/>
                <a:gd name="T8" fmla="*/ 257 w 257"/>
                <a:gd name="T9" fmla="*/ 128 h 277"/>
                <a:gd name="T10" fmla="*/ 180 w 257"/>
                <a:gd name="T11" fmla="*/ 0 h 277"/>
              </a:gdLst>
              <a:ahLst/>
              <a:cxnLst>
                <a:cxn ang="0">
                  <a:pos x="T0" y="T1"/>
                </a:cxn>
                <a:cxn ang="0">
                  <a:pos x="T2" y="T3"/>
                </a:cxn>
                <a:cxn ang="0">
                  <a:pos x="T4" y="T5"/>
                </a:cxn>
                <a:cxn ang="0">
                  <a:pos x="T6" y="T7"/>
                </a:cxn>
                <a:cxn ang="0">
                  <a:pos x="T8" y="T9"/>
                </a:cxn>
                <a:cxn ang="0">
                  <a:pos x="T10" y="T11"/>
                </a:cxn>
              </a:cxnLst>
              <a:rect l="0" t="0" r="r" b="b"/>
              <a:pathLst>
                <a:path w="257" h="277">
                  <a:moveTo>
                    <a:pt x="180" y="0"/>
                  </a:moveTo>
                  <a:lnTo>
                    <a:pt x="0" y="0"/>
                  </a:lnTo>
                  <a:lnTo>
                    <a:pt x="0" y="277"/>
                  </a:lnTo>
                  <a:lnTo>
                    <a:pt x="257" y="277"/>
                  </a:lnTo>
                  <a:lnTo>
                    <a:pt x="257" y="128"/>
                  </a:lnTo>
                  <a:lnTo>
                    <a:pt x="180"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35" name="Freeform 1833">
              <a:extLst>
                <a:ext uri="{FF2B5EF4-FFF2-40B4-BE49-F238E27FC236}">
                  <a16:creationId xmlns:a16="http://schemas.microsoft.com/office/drawing/2014/main" id="{538B73AD-FEDF-CAE8-A1D1-3962AA0E9534}"/>
                </a:ext>
              </a:extLst>
            </p:cNvPr>
            <p:cNvSpPr>
              <a:spLocks/>
            </p:cNvSpPr>
            <p:nvPr/>
          </p:nvSpPr>
          <p:spPr bwMode="auto">
            <a:xfrm>
              <a:off x="8345647" y="5725433"/>
              <a:ext cx="247650" cy="127000"/>
            </a:xfrm>
            <a:custGeom>
              <a:avLst/>
              <a:gdLst>
                <a:gd name="T0" fmla="*/ 156 w 156"/>
                <a:gd name="T1" fmla="*/ 80 h 80"/>
                <a:gd name="T2" fmla="*/ 107 w 156"/>
                <a:gd name="T3" fmla="*/ 0 h 80"/>
                <a:gd name="T4" fmla="*/ 0 w 156"/>
                <a:gd name="T5" fmla="*/ 0 h 80"/>
                <a:gd name="T6" fmla="*/ 0 w 156"/>
                <a:gd name="T7" fmla="*/ 80 h 80"/>
                <a:gd name="T8" fmla="*/ 156 w 156"/>
                <a:gd name="T9" fmla="*/ 80 h 80"/>
              </a:gdLst>
              <a:ahLst/>
              <a:cxnLst>
                <a:cxn ang="0">
                  <a:pos x="T0" y="T1"/>
                </a:cxn>
                <a:cxn ang="0">
                  <a:pos x="T2" y="T3"/>
                </a:cxn>
                <a:cxn ang="0">
                  <a:pos x="T4" y="T5"/>
                </a:cxn>
                <a:cxn ang="0">
                  <a:pos x="T6" y="T7"/>
                </a:cxn>
                <a:cxn ang="0">
                  <a:pos x="T8" y="T9"/>
                </a:cxn>
              </a:cxnLst>
              <a:rect l="0" t="0" r="r" b="b"/>
              <a:pathLst>
                <a:path w="156" h="80">
                  <a:moveTo>
                    <a:pt x="156" y="80"/>
                  </a:moveTo>
                  <a:lnTo>
                    <a:pt x="107" y="0"/>
                  </a:lnTo>
                  <a:lnTo>
                    <a:pt x="0" y="0"/>
                  </a:lnTo>
                  <a:lnTo>
                    <a:pt x="0" y="80"/>
                  </a:lnTo>
                  <a:lnTo>
                    <a:pt x="156" y="8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3" name="Freeform 1834">
              <a:extLst>
                <a:ext uri="{FF2B5EF4-FFF2-40B4-BE49-F238E27FC236}">
                  <a16:creationId xmlns:a16="http://schemas.microsoft.com/office/drawing/2014/main" id="{C466B642-2F86-86DB-38C3-7982C63EF2A7}"/>
                </a:ext>
              </a:extLst>
            </p:cNvPr>
            <p:cNvSpPr>
              <a:spLocks/>
            </p:cNvSpPr>
            <p:nvPr/>
          </p:nvSpPr>
          <p:spPr bwMode="auto">
            <a:xfrm>
              <a:off x="8345647" y="5725433"/>
              <a:ext cx="247650" cy="127000"/>
            </a:xfrm>
            <a:custGeom>
              <a:avLst/>
              <a:gdLst>
                <a:gd name="T0" fmla="*/ 156 w 156"/>
                <a:gd name="T1" fmla="*/ 80 h 80"/>
                <a:gd name="T2" fmla="*/ 107 w 156"/>
                <a:gd name="T3" fmla="*/ 0 h 80"/>
                <a:gd name="T4" fmla="*/ 0 w 156"/>
                <a:gd name="T5" fmla="*/ 0 h 80"/>
                <a:gd name="T6" fmla="*/ 0 w 156"/>
                <a:gd name="T7" fmla="*/ 80 h 80"/>
                <a:gd name="T8" fmla="*/ 156 w 156"/>
                <a:gd name="T9" fmla="*/ 80 h 80"/>
              </a:gdLst>
              <a:ahLst/>
              <a:cxnLst>
                <a:cxn ang="0">
                  <a:pos x="T0" y="T1"/>
                </a:cxn>
                <a:cxn ang="0">
                  <a:pos x="T2" y="T3"/>
                </a:cxn>
                <a:cxn ang="0">
                  <a:pos x="T4" y="T5"/>
                </a:cxn>
                <a:cxn ang="0">
                  <a:pos x="T6" y="T7"/>
                </a:cxn>
                <a:cxn ang="0">
                  <a:pos x="T8" y="T9"/>
                </a:cxn>
              </a:cxnLst>
              <a:rect l="0" t="0" r="r" b="b"/>
              <a:pathLst>
                <a:path w="156" h="80">
                  <a:moveTo>
                    <a:pt x="156" y="80"/>
                  </a:moveTo>
                  <a:lnTo>
                    <a:pt x="107" y="0"/>
                  </a:lnTo>
                  <a:lnTo>
                    <a:pt x="0" y="0"/>
                  </a:lnTo>
                  <a:lnTo>
                    <a:pt x="0" y="80"/>
                  </a:lnTo>
                  <a:lnTo>
                    <a:pt x="156" y="8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4" name="Line 1835">
              <a:extLst>
                <a:ext uri="{FF2B5EF4-FFF2-40B4-BE49-F238E27FC236}">
                  <a16:creationId xmlns:a16="http://schemas.microsoft.com/office/drawing/2014/main" id="{6CDAD770-CC97-6065-8EA9-CBE78CA3CC7D}"/>
                </a:ext>
              </a:extLst>
            </p:cNvPr>
            <p:cNvSpPr>
              <a:spLocks noChangeShapeType="1"/>
            </p:cNvSpPr>
            <p:nvPr/>
          </p:nvSpPr>
          <p:spPr bwMode="auto">
            <a:xfrm>
              <a:off x="8332947" y="5923870"/>
              <a:ext cx="73025" cy="0"/>
            </a:xfrm>
            <a:prstGeom prst="line">
              <a:avLst/>
            </a:prstGeom>
            <a:noFill/>
            <a:ln w="1270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5" name="Line 1836">
              <a:extLst>
                <a:ext uri="{FF2B5EF4-FFF2-40B4-BE49-F238E27FC236}">
                  <a16:creationId xmlns:a16="http://schemas.microsoft.com/office/drawing/2014/main" id="{4888E582-FBBC-4659-FCF9-AAC99560EBE6}"/>
                </a:ext>
              </a:extLst>
            </p:cNvPr>
            <p:cNvSpPr>
              <a:spLocks noChangeShapeType="1"/>
            </p:cNvSpPr>
            <p:nvPr/>
          </p:nvSpPr>
          <p:spPr bwMode="auto">
            <a:xfrm>
              <a:off x="8625047" y="5963558"/>
              <a:ext cx="55563" cy="0"/>
            </a:xfrm>
            <a:prstGeom prst="line">
              <a:avLst/>
            </a:prstGeom>
            <a:noFill/>
            <a:ln w="1270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6" name="Freeform 1837">
              <a:extLst>
                <a:ext uri="{FF2B5EF4-FFF2-40B4-BE49-F238E27FC236}">
                  <a16:creationId xmlns:a16="http://schemas.microsoft.com/office/drawing/2014/main" id="{10E87A64-0730-799B-19BC-398790FC3BCE}"/>
                </a:ext>
              </a:extLst>
            </p:cNvPr>
            <p:cNvSpPr>
              <a:spLocks/>
            </p:cNvSpPr>
            <p:nvPr/>
          </p:nvSpPr>
          <p:spPr bwMode="auto">
            <a:xfrm>
              <a:off x="8382159" y="6009595"/>
              <a:ext cx="250825" cy="128588"/>
            </a:xfrm>
            <a:custGeom>
              <a:avLst/>
              <a:gdLst>
                <a:gd name="T0" fmla="*/ 134 w 134"/>
                <a:gd name="T1" fmla="*/ 68 h 68"/>
                <a:gd name="T2" fmla="*/ 67 w 134"/>
                <a:gd name="T3" fmla="*/ 0 h 68"/>
                <a:gd name="T4" fmla="*/ 0 w 134"/>
                <a:gd name="T5" fmla="*/ 68 h 68"/>
                <a:gd name="T6" fmla="*/ 0 w 134"/>
                <a:gd name="T7" fmla="*/ 68 h 68"/>
                <a:gd name="T8" fmla="*/ 134 w 134"/>
                <a:gd name="T9" fmla="*/ 68 h 68"/>
              </a:gdLst>
              <a:ahLst/>
              <a:cxnLst>
                <a:cxn ang="0">
                  <a:pos x="T0" y="T1"/>
                </a:cxn>
                <a:cxn ang="0">
                  <a:pos x="T2" y="T3"/>
                </a:cxn>
                <a:cxn ang="0">
                  <a:pos x="T4" y="T5"/>
                </a:cxn>
                <a:cxn ang="0">
                  <a:pos x="T6" y="T7"/>
                </a:cxn>
                <a:cxn ang="0">
                  <a:pos x="T8" y="T9"/>
                </a:cxn>
              </a:cxnLst>
              <a:rect l="0" t="0" r="r" b="b"/>
              <a:pathLst>
                <a:path w="134" h="68">
                  <a:moveTo>
                    <a:pt x="134" y="68"/>
                  </a:moveTo>
                  <a:cubicBezTo>
                    <a:pt x="134" y="31"/>
                    <a:pt x="104" y="0"/>
                    <a:pt x="67" y="0"/>
                  </a:cubicBezTo>
                  <a:cubicBezTo>
                    <a:pt x="30" y="0"/>
                    <a:pt x="0" y="31"/>
                    <a:pt x="0" y="68"/>
                  </a:cubicBezTo>
                  <a:cubicBezTo>
                    <a:pt x="0" y="68"/>
                    <a:pt x="0" y="68"/>
                    <a:pt x="0" y="68"/>
                  </a:cubicBezTo>
                  <a:cubicBezTo>
                    <a:pt x="134" y="68"/>
                    <a:pt x="134" y="68"/>
                    <a:pt x="134" y="68"/>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7" name="Freeform 1838">
              <a:extLst>
                <a:ext uri="{FF2B5EF4-FFF2-40B4-BE49-F238E27FC236}">
                  <a16:creationId xmlns:a16="http://schemas.microsoft.com/office/drawing/2014/main" id="{57A4FF5C-6FFC-C542-B7E5-0AE85CB71C9A}"/>
                </a:ext>
              </a:extLst>
            </p:cNvPr>
            <p:cNvSpPr>
              <a:spLocks/>
            </p:cNvSpPr>
            <p:nvPr/>
          </p:nvSpPr>
          <p:spPr bwMode="auto">
            <a:xfrm>
              <a:off x="8382159" y="6009595"/>
              <a:ext cx="250825" cy="128588"/>
            </a:xfrm>
            <a:custGeom>
              <a:avLst/>
              <a:gdLst>
                <a:gd name="T0" fmla="*/ 134 w 134"/>
                <a:gd name="T1" fmla="*/ 68 h 68"/>
                <a:gd name="T2" fmla="*/ 67 w 134"/>
                <a:gd name="T3" fmla="*/ 0 h 68"/>
                <a:gd name="T4" fmla="*/ 0 w 134"/>
                <a:gd name="T5" fmla="*/ 68 h 68"/>
                <a:gd name="T6" fmla="*/ 0 w 134"/>
                <a:gd name="T7" fmla="*/ 68 h 68"/>
                <a:gd name="T8" fmla="*/ 134 w 134"/>
                <a:gd name="T9" fmla="*/ 68 h 68"/>
              </a:gdLst>
              <a:ahLst/>
              <a:cxnLst>
                <a:cxn ang="0">
                  <a:pos x="T0" y="T1"/>
                </a:cxn>
                <a:cxn ang="0">
                  <a:pos x="T2" y="T3"/>
                </a:cxn>
                <a:cxn ang="0">
                  <a:pos x="T4" y="T5"/>
                </a:cxn>
                <a:cxn ang="0">
                  <a:pos x="T6" y="T7"/>
                </a:cxn>
                <a:cxn ang="0">
                  <a:pos x="T8" y="T9"/>
                </a:cxn>
              </a:cxnLst>
              <a:rect l="0" t="0" r="r" b="b"/>
              <a:pathLst>
                <a:path w="134" h="68">
                  <a:moveTo>
                    <a:pt x="134" y="68"/>
                  </a:moveTo>
                  <a:cubicBezTo>
                    <a:pt x="134" y="31"/>
                    <a:pt x="104" y="0"/>
                    <a:pt x="67" y="0"/>
                  </a:cubicBezTo>
                  <a:cubicBezTo>
                    <a:pt x="30" y="0"/>
                    <a:pt x="0" y="31"/>
                    <a:pt x="0" y="68"/>
                  </a:cubicBezTo>
                  <a:cubicBezTo>
                    <a:pt x="0" y="68"/>
                    <a:pt x="0" y="68"/>
                    <a:pt x="0" y="68"/>
                  </a:cubicBezTo>
                  <a:cubicBezTo>
                    <a:pt x="134" y="68"/>
                    <a:pt x="134" y="68"/>
                    <a:pt x="134" y="68"/>
                  </a:cubicBez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8" name="Oval 1839">
              <a:extLst>
                <a:ext uri="{FF2B5EF4-FFF2-40B4-BE49-F238E27FC236}">
                  <a16:creationId xmlns:a16="http://schemas.microsoft.com/office/drawing/2014/main" id="{23837B80-DF70-A0CA-A865-4478ABB9C210}"/>
                </a:ext>
              </a:extLst>
            </p:cNvPr>
            <p:cNvSpPr>
              <a:spLocks noChangeArrowheads="1"/>
            </p:cNvSpPr>
            <p:nvPr/>
          </p:nvSpPr>
          <p:spPr bwMode="auto">
            <a:xfrm>
              <a:off x="8466297" y="6096908"/>
              <a:ext cx="82550" cy="82550"/>
            </a:xfrm>
            <a:prstGeom prst="ellipse">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9" name="Freeform 1840">
              <a:extLst>
                <a:ext uri="{FF2B5EF4-FFF2-40B4-BE49-F238E27FC236}">
                  <a16:creationId xmlns:a16="http://schemas.microsoft.com/office/drawing/2014/main" id="{5F4C97A9-5909-2419-4AB3-0FE765BE1C71}"/>
                </a:ext>
              </a:extLst>
            </p:cNvPr>
            <p:cNvSpPr>
              <a:spLocks noEditPoints="1"/>
            </p:cNvSpPr>
            <p:nvPr/>
          </p:nvSpPr>
          <p:spPr bwMode="auto">
            <a:xfrm>
              <a:off x="8421847" y="6049283"/>
              <a:ext cx="174625" cy="174625"/>
            </a:xfrm>
            <a:custGeom>
              <a:avLst/>
              <a:gdLst>
                <a:gd name="T0" fmla="*/ 46 w 93"/>
                <a:gd name="T1" fmla="*/ 0 h 93"/>
                <a:gd name="T2" fmla="*/ 93 w 93"/>
                <a:gd name="T3" fmla="*/ 47 h 93"/>
                <a:gd name="T4" fmla="*/ 46 w 93"/>
                <a:gd name="T5" fmla="*/ 93 h 93"/>
                <a:gd name="T6" fmla="*/ 0 w 93"/>
                <a:gd name="T7" fmla="*/ 47 h 93"/>
                <a:gd name="T8" fmla="*/ 46 w 93"/>
                <a:gd name="T9" fmla="*/ 0 h 93"/>
                <a:gd name="T10" fmla="*/ 68 w 93"/>
                <a:gd name="T11" fmla="*/ 47 h 93"/>
                <a:gd name="T12" fmla="*/ 46 w 93"/>
                <a:gd name="T13" fmla="*/ 25 h 93"/>
                <a:gd name="T14" fmla="*/ 24 w 93"/>
                <a:gd name="T15" fmla="*/ 47 h 93"/>
                <a:gd name="T16" fmla="*/ 46 w 93"/>
                <a:gd name="T17" fmla="*/ 69 h 93"/>
                <a:gd name="T18" fmla="*/ 68 w 93"/>
                <a:gd name="T1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6" y="0"/>
                  </a:moveTo>
                  <a:cubicBezTo>
                    <a:pt x="72" y="0"/>
                    <a:pt x="93" y="21"/>
                    <a:pt x="93" y="47"/>
                  </a:cubicBezTo>
                  <a:cubicBezTo>
                    <a:pt x="93" y="72"/>
                    <a:pt x="72" y="93"/>
                    <a:pt x="46" y="93"/>
                  </a:cubicBezTo>
                  <a:cubicBezTo>
                    <a:pt x="21" y="93"/>
                    <a:pt x="0" y="72"/>
                    <a:pt x="0" y="47"/>
                  </a:cubicBezTo>
                  <a:cubicBezTo>
                    <a:pt x="0" y="21"/>
                    <a:pt x="21" y="0"/>
                    <a:pt x="46" y="0"/>
                  </a:cubicBezTo>
                  <a:close/>
                  <a:moveTo>
                    <a:pt x="68" y="47"/>
                  </a:moveTo>
                  <a:cubicBezTo>
                    <a:pt x="68" y="34"/>
                    <a:pt x="58" y="25"/>
                    <a:pt x="46" y="25"/>
                  </a:cubicBezTo>
                  <a:cubicBezTo>
                    <a:pt x="34" y="25"/>
                    <a:pt x="24" y="34"/>
                    <a:pt x="24" y="47"/>
                  </a:cubicBezTo>
                  <a:cubicBezTo>
                    <a:pt x="24" y="59"/>
                    <a:pt x="34" y="69"/>
                    <a:pt x="46" y="69"/>
                  </a:cubicBezTo>
                  <a:cubicBezTo>
                    <a:pt x="58" y="69"/>
                    <a:pt x="68" y="59"/>
                    <a:pt x="68" y="47"/>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0" name="Oval 1841">
              <a:extLst>
                <a:ext uri="{FF2B5EF4-FFF2-40B4-BE49-F238E27FC236}">
                  <a16:creationId xmlns:a16="http://schemas.microsoft.com/office/drawing/2014/main" id="{8EFBF191-696B-0D03-68CA-77B9448EA315}"/>
                </a:ext>
              </a:extLst>
            </p:cNvPr>
            <p:cNvSpPr>
              <a:spLocks noChangeArrowheads="1"/>
            </p:cNvSpPr>
            <p:nvPr/>
          </p:nvSpPr>
          <p:spPr bwMode="auto">
            <a:xfrm>
              <a:off x="8421847" y="6049283"/>
              <a:ext cx="174625" cy="174625"/>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1" name="Oval 1842">
              <a:extLst>
                <a:ext uri="{FF2B5EF4-FFF2-40B4-BE49-F238E27FC236}">
                  <a16:creationId xmlns:a16="http://schemas.microsoft.com/office/drawing/2014/main" id="{75CDE3A3-7096-6209-B5AD-D795F6BA446D}"/>
                </a:ext>
              </a:extLst>
            </p:cNvPr>
            <p:cNvSpPr>
              <a:spLocks noChangeArrowheads="1"/>
            </p:cNvSpPr>
            <p:nvPr/>
          </p:nvSpPr>
          <p:spPr bwMode="auto">
            <a:xfrm>
              <a:off x="8466297" y="6096908"/>
              <a:ext cx="82550" cy="82550"/>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2" name="Freeform 1843">
              <a:extLst>
                <a:ext uri="{FF2B5EF4-FFF2-40B4-BE49-F238E27FC236}">
                  <a16:creationId xmlns:a16="http://schemas.microsoft.com/office/drawing/2014/main" id="{FF108E6E-8D71-D0BB-CAA0-FD87F5DC6C05}"/>
                </a:ext>
              </a:extLst>
            </p:cNvPr>
            <p:cNvSpPr>
              <a:spLocks/>
            </p:cNvSpPr>
            <p:nvPr/>
          </p:nvSpPr>
          <p:spPr bwMode="auto">
            <a:xfrm>
              <a:off x="7518559" y="6000070"/>
              <a:ext cx="558800" cy="95250"/>
            </a:xfrm>
            <a:custGeom>
              <a:avLst/>
              <a:gdLst>
                <a:gd name="T0" fmla="*/ 45 w 352"/>
                <a:gd name="T1" fmla="*/ 0 h 60"/>
                <a:gd name="T2" fmla="*/ 0 w 352"/>
                <a:gd name="T3" fmla="*/ 55 h 60"/>
                <a:gd name="T4" fmla="*/ 2 w 352"/>
                <a:gd name="T5" fmla="*/ 60 h 60"/>
                <a:gd name="T6" fmla="*/ 352 w 352"/>
                <a:gd name="T7" fmla="*/ 60 h 60"/>
                <a:gd name="T8" fmla="*/ 305 w 352"/>
                <a:gd name="T9" fmla="*/ 0 h 60"/>
                <a:gd name="T10" fmla="*/ 45 w 352"/>
                <a:gd name="T11" fmla="*/ 0 h 60"/>
              </a:gdLst>
              <a:ahLst/>
              <a:cxnLst>
                <a:cxn ang="0">
                  <a:pos x="T0" y="T1"/>
                </a:cxn>
                <a:cxn ang="0">
                  <a:pos x="T2" y="T3"/>
                </a:cxn>
                <a:cxn ang="0">
                  <a:pos x="T4" y="T5"/>
                </a:cxn>
                <a:cxn ang="0">
                  <a:pos x="T6" y="T7"/>
                </a:cxn>
                <a:cxn ang="0">
                  <a:pos x="T8" y="T9"/>
                </a:cxn>
                <a:cxn ang="0">
                  <a:pos x="T10" y="T11"/>
                </a:cxn>
              </a:cxnLst>
              <a:rect l="0" t="0" r="r" b="b"/>
              <a:pathLst>
                <a:path w="352" h="60">
                  <a:moveTo>
                    <a:pt x="45" y="0"/>
                  </a:moveTo>
                  <a:lnTo>
                    <a:pt x="0" y="55"/>
                  </a:lnTo>
                  <a:lnTo>
                    <a:pt x="2" y="60"/>
                  </a:lnTo>
                  <a:lnTo>
                    <a:pt x="352" y="60"/>
                  </a:lnTo>
                  <a:lnTo>
                    <a:pt x="305" y="0"/>
                  </a:lnTo>
                  <a:lnTo>
                    <a:pt x="45"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3" name="Freeform 1844">
              <a:extLst>
                <a:ext uri="{FF2B5EF4-FFF2-40B4-BE49-F238E27FC236}">
                  <a16:creationId xmlns:a16="http://schemas.microsoft.com/office/drawing/2014/main" id="{4603C202-A154-D266-B428-1CB19B0A2232}"/>
                </a:ext>
              </a:extLst>
            </p:cNvPr>
            <p:cNvSpPr>
              <a:spLocks/>
            </p:cNvSpPr>
            <p:nvPr/>
          </p:nvSpPr>
          <p:spPr bwMode="auto">
            <a:xfrm>
              <a:off x="7386797" y="5647645"/>
              <a:ext cx="779463" cy="293688"/>
            </a:xfrm>
            <a:custGeom>
              <a:avLst/>
              <a:gdLst>
                <a:gd name="T0" fmla="*/ 62 w 491"/>
                <a:gd name="T1" fmla="*/ 0 h 185"/>
                <a:gd name="T2" fmla="*/ 0 w 491"/>
                <a:gd name="T3" fmla="*/ 185 h 185"/>
                <a:gd name="T4" fmla="*/ 49 w 491"/>
                <a:gd name="T5" fmla="*/ 185 h 185"/>
                <a:gd name="T6" fmla="*/ 102 w 491"/>
                <a:gd name="T7" fmla="*/ 36 h 185"/>
                <a:gd name="T8" fmla="*/ 147 w 491"/>
                <a:gd name="T9" fmla="*/ 36 h 185"/>
                <a:gd name="T10" fmla="*/ 95 w 491"/>
                <a:gd name="T11" fmla="*/ 185 h 185"/>
                <a:gd name="T12" fmla="*/ 143 w 491"/>
                <a:gd name="T13" fmla="*/ 185 h 185"/>
                <a:gd name="T14" fmla="*/ 195 w 491"/>
                <a:gd name="T15" fmla="*/ 36 h 185"/>
                <a:gd name="T16" fmla="*/ 241 w 491"/>
                <a:gd name="T17" fmla="*/ 36 h 185"/>
                <a:gd name="T18" fmla="*/ 188 w 491"/>
                <a:gd name="T19" fmla="*/ 185 h 185"/>
                <a:gd name="T20" fmla="*/ 238 w 491"/>
                <a:gd name="T21" fmla="*/ 185 h 185"/>
                <a:gd name="T22" fmla="*/ 290 w 491"/>
                <a:gd name="T23" fmla="*/ 36 h 185"/>
                <a:gd name="T24" fmla="*/ 335 w 491"/>
                <a:gd name="T25" fmla="*/ 36 h 185"/>
                <a:gd name="T26" fmla="*/ 283 w 491"/>
                <a:gd name="T27" fmla="*/ 185 h 185"/>
                <a:gd name="T28" fmla="*/ 331 w 491"/>
                <a:gd name="T29" fmla="*/ 185 h 185"/>
                <a:gd name="T30" fmla="*/ 383 w 491"/>
                <a:gd name="T31" fmla="*/ 36 h 185"/>
                <a:gd name="T32" fmla="*/ 429 w 491"/>
                <a:gd name="T33" fmla="*/ 36 h 185"/>
                <a:gd name="T34" fmla="*/ 376 w 491"/>
                <a:gd name="T35" fmla="*/ 185 h 185"/>
                <a:gd name="T36" fmla="*/ 426 w 491"/>
                <a:gd name="T37" fmla="*/ 185 h 185"/>
                <a:gd name="T38" fmla="*/ 491 w 491"/>
                <a:gd name="T39" fmla="*/ 0 h 185"/>
                <a:gd name="T40" fmla="*/ 62 w 491"/>
                <a:gd name="T4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1" h="185">
                  <a:moveTo>
                    <a:pt x="62" y="0"/>
                  </a:moveTo>
                  <a:lnTo>
                    <a:pt x="0" y="185"/>
                  </a:lnTo>
                  <a:lnTo>
                    <a:pt x="49" y="185"/>
                  </a:lnTo>
                  <a:lnTo>
                    <a:pt x="102" y="36"/>
                  </a:lnTo>
                  <a:lnTo>
                    <a:pt x="147" y="36"/>
                  </a:lnTo>
                  <a:lnTo>
                    <a:pt x="95" y="185"/>
                  </a:lnTo>
                  <a:lnTo>
                    <a:pt x="143" y="185"/>
                  </a:lnTo>
                  <a:lnTo>
                    <a:pt x="195" y="36"/>
                  </a:lnTo>
                  <a:lnTo>
                    <a:pt x="241" y="36"/>
                  </a:lnTo>
                  <a:lnTo>
                    <a:pt x="188" y="185"/>
                  </a:lnTo>
                  <a:lnTo>
                    <a:pt x="238" y="185"/>
                  </a:lnTo>
                  <a:lnTo>
                    <a:pt x="290" y="36"/>
                  </a:lnTo>
                  <a:lnTo>
                    <a:pt x="335" y="36"/>
                  </a:lnTo>
                  <a:lnTo>
                    <a:pt x="283" y="185"/>
                  </a:lnTo>
                  <a:lnTo>
                    <a:pt x="331" y="185"/>
                  </a:lnTo>
                  <a:lnTo>
                    <a:pt x="383" y="36"/>
                  </a:lnTo>
                  <a:lnTo>
                    <a:pt x="429" y="36"/>
                  </a:lnTo>
                  <a:lnTo>
                    <a:pt x="376" y="185"/>
                  </a:lnTo>
                  <a:lnTo>
                    <a:pt x="426" y="185"/>
                  </a:lnTo>
                  <a:lnTo>
                    <a:pt x="491" y="0"/>
                  </a:lnTo>
                  <a:lnTo>
                    <a:pt x="62"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4" name="Freeform 1845">
              <a:extLst>
                <a:ext uri="{FF2B5EF4-FFF2-40B4-BE49-F238E27FC236}">
                  <a16:creationId xmlns:a16="http://schemas.microsoft.com/office/drawing/2014/main" id="{AD3FB9AE-7BC1-5397-080B-2F9A47752BC8}"/>
                </a:ext>
              </a:extLst>
            </p:cNvPr>
            <p:cNvSpPr>
              <a:spLocks/>
            </p:cNvSpPr>
            <p:nvPr/>
          </p:nvSpPr>
          <p:spPr bwMode="auto">
            <a:xfrm>
              <a:off x="7464584" y="5704795"/>
              <a:ext cx="155575" cy="236538"/>
            </a:xfrm>
            <a:custGeom>
              <a:avLst/>
              <a:gdLst>
                <a:gd name="T0" fmla="*/ 53 w 98"/>
                <a:gd name="T1" fmla="*/ 0 h 149"/>
                <a:gd name="T2" fmla="*/ 0 w 98"/>
                <a:gd name="T3" fmla="*/ 149 h 149"/>
                <a:gd name="T4" fmla="*/ 46 w 98"/>
                <a:gd name="T5" fmla="*/ 149 h 149"/>
                <a:gd name="T6" fmla="*/ 98 w 98"/>
                <a:gd name="T7" fmla="*/ 0 h 149"/>
                <a:gd name="T8" fmla="*/ 53 w 98"/>
                <a:gd name="T9" fmla="*/ 0 h 149"/>
              </a:gdLst>
              <a:ahLst/>
              <a:cxnLst>
                <a:cxn ang="0">
                  <a:pos x="T0" y="T1"/>
                </a:cxn>
                <a:cxn ang="0">
                  <a:pos x="T2" y="T3"/>
                </a:cxn>
                <a:cxn ang="0">
                  <a:pos x="T4" y="T5"/>
                </a:cxn>
                <a:cxn ang="0">
                  <a:pos x="T6" y="T7"/>
                </a:cxn>
                <a:cxn ang="0">
                  <a:pos x="T8" y="T9"/>
                </a:cxn>
              </a:cxnLst>
              <a:rect l="0" t="0" r="r" b="b"/>
              <a:pathLst>
                <a:path w="98" h="149">
                  <a:moveTo>
                    <a:pt x="53" y="0"/>
                  </a:moveTo>
                  <a:lnTo>
                    <a:pt x="0" y="149"/>
                  </a:lnTo>
                  <a:lnTo>
                    <a:pt x="46" y="149"/>
                  </a:lnTo>
                  <a:lnTo>
                    <a:pt x="98" y="0"/>
                  </a:lnTo>
                  <a:lnTo>
                    <a:pt x="53"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5" name="Freeform 1846">
              <a:extLst>
                <a:ext uri="{FF2B5EF4-FFF2-40B4-BE49-F238E27FC236}">
                  <a16:creationId xmlns:a16="http://schemas.microsoft.com/office/drawing/2014/main" id="{A0C7D3A0-8F3E-11FC-F356-A6C5BB6B6DFE}"/>
                </a:ext>
              </a:extLst>
            </p:cNvPr>
            <p:cNvSpPr>
              <a:spLocks/>
            </p:cNvSpPr>
            <p:nvPr/>
          </p:nvSpPr>
          <p:spPr bwMode="auto">
            <a:xfrm>
              <a:off x="761380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6" name="Freeform 1847">
              <a:extLst>
                <a:ext uri="{FF2B5EF4-FFF2-40B4-BE49-F238E27FC236}">
                  <a16:creationId xmlns:a16="http://schemas.microsoft.com/office/drawing/2014/main" id="{26FF8C0B-6BB9-9D50-8225-3A81F335481B}"/>
                </a:ext>
              </a:extLst>
            </p:cNvPr>
            <p:cNvSpPr>
              <a:spLocks/>
            </p:cNvSpPr>
            <p:nvPr/>
          </p:nvSpPr>
          <p:spPr bwMode="auto">
            <a:xfrm>
              <a:off x="7764622" y="5704795"/>
              <a:ext cx="153988" cy="236538"/>
            </a:xfrm>
            <a:custGeom>
              <a:avLst/>
              <a:gdLst>
                <a:gd name="T0" fmla="*/ 52 w 97"/>
                <a:gd name="T1" fmla="*/ 0 h 149"/>
                <a:gd name="T2" fmla="*/ 0 w 97"/>
                <a:gd name="T3" fmla="*/ 149 h 149"/>
                <a:gd name="T4" fmla="*/ 45 w 97"/>
                <a:gd name="T5" fmla="*/ 149 h 149"/>
                <a:gd name="T6" fmla="*/ 97 w 97"/>
                <a:gd name="T7" fmla="*/ 0 h 149"/>
                <a:gd name="T8" fmla="*/ 52 w 97"/>
                <a:gd name="T9" fmla="*/ 0 h 149"/>
              </a:gdLst>
              <a:ahLst/>
              <a:cxnLst>
                <a:cxn ang="0">
                  <a:pos x="T0" y="T1"/>
                </a:cxn>
                <a:cxn ang="0">
                  <a:pos x="T2" y="T3"/>
                </a:cxn>
                <a:cxn ang="0">
                  <a:pos x="T4" y="T5"/>
                </a:cxn>
                <a:cxn ang="0">
                  <a:pos x="T6" y="T7"/>
                </a:cxn>
                <a:cxn ang="0">
                  <a:pos x="T8" y="T9"/>
                </a:cxn>
              </a:cxnLst>
              <a:rect l="0" t="0" r="r" b="b"/>
              <a:pathLst>
                <a:path w="97" h="149">
                  <a:moveTo>
                    <a:pt x="52" y="0"/>
                  </a:moveTo>
                  <a:lnTo>
                    <a:pt x="0" y="149"/>
                  </a:lnTo>
                  <a:lnTo>
                    <a:pt x="45" y="149"/>
                  </a:lnTo>
                  <a:lnTo>
                    <a:pt x="97" y="0"/>
                  </a:lnTo>
                  <a:lnTo>
                    <a:pt x="52"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7" name="Freeform 1848">
              <a:extLst>
                <a:ext uri="{FF2B5EF4-FFF2-40B4-BE49-F238E27FC236}">
                  <a16:creationId xmlns:a16="http://schemas.microsoft.com/office/drawing/2014/main" id="{6E83029A-C8EC-7670-8BF6-3306C4265E87}"/>
                </a:ext>
              </a:extLst>
            </p:cNvPr>
            <p:cNvSpPr>
              <a:spLocks/>
            </p:cNvSpPr>
            <p:nvPr/>
          </p:nvSpPr>
          <p:spPr bwMode="auto">
            <a:xfrm>
              <a:off x="791225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8" name="Freeform 1849">
              <a:extLst>
                <a:ext uri="{FF2B5EF4-FFF2-40B4-BE49-F238E27FC236}">
                  <a16:creationId xmlns:a16="http://schemas.microsoft.com/office/drawing/2014/main" id="{BF9329A7-1920-B85A-9A38-FDA65EEEDE3A}"/>
                </a:ext>
              </a:extLst>
            </p:cNvPr>
            <p:cNvSpPr>
              <a:spLocks/>
            </p:cNvSpPr>
            <p:nvPr/>
          </p:nvSpPr>
          <p:spPr bwMode="auto">
            <a:xfrm>
              <a:off x="7386797" y="5647645"/>
              <a:ext cx="779463" cy="293688"/>
            </a:xfrm>
            <a:custGeom>
              <a:avLst/>
              <a:gdLst>
                <a:gd name="T0" fmla="*/ 62 w 491"/>
                <a:gd name="T1" fmla="*/ 0 h 185"/>
                <a:gd name="T2" fmla="*/ 0 w 491"/>
                <a:gd name="T3" fmla="*/ 185 h 185"/>
                <a:gd name="T4" fmla="*/ 49 w 491"/>
                <a:gd name="T5" fmla="*/ 185 h 185"/>
                <a:gd name="T6" fmla="*/ 102 w 491"/>
                <a:gd name="T7" fmla="*/ 36 h 185"/>
                <a:gd name="T8" fmla="*/ 147 w 491"/>
                <a:gd name="T9" fmla="*/ 36 h 185"/>
                <a:gd name="T10" fmla="*/ 95 w 491"/>
                <a:gd name="T11" fmla="*/ 185 h 185"/>
                <a:gd name="T12" fmla="*/ 143 w 491"/>
                <a:gd name="T13" fmla="*/ 185 h 185"/>
                <a:gd name="T14" fmla="*/ 195 w 491"/>
                <a:gd name="T15" fmla="*/ 36 h 185"/>
                <a:gd name="T16" fmla="*/ 241 w 491"/>
                <a:gd name="T17" fmla="*/ 36 h 185"/>
                <a:gd name="T18" fmla="*/ 188 w 491"/>
                <a:gd name="T19" fmla="*/ 185 h 185"/>
                <a:gd name="T20" fmla="*/ 238 w 491"/>
                <a:gd name="T21" fmla="*/ 185 h 185"/>
                <a:gd name="T22" fmla="*/ 290 w 491"/>
                <a:gd name="T23" fmla="*/ 36 h 185"/>
                <a:gd name="T24" fmla="*/ 335 w 491"/>
                <a:gd name="T25" fmla="*/ 36 h 185"/>
                <a:gd name="T26" fmla="*/ 283 w 491"/>
                <a:gd name="T27" fmla="*/ 185 h 185"/>
                <a:gd name="T28" fmla="*/ 331 w 491"/>
                <a:gd name="T29" fmla="*/ 185 h 185"/>
                <a:gd name="T30" fmla="*/ 383 w 491"/>
                <a:gd name="T31" fmla="*/ 36 h 185"/>
                <a:gd name="T32" fmla="*/ 429 w 491"/>
                <a:gd name="T33" fmla="*/ 36 h 185"/>
                <a:gd name="T34" fmla="*/ 376 w 491"/>
                <a:gd name="T35" fmla="*/ 185 h 185"/>
                <a:gd name="T36" fmla="*/ 426 w 491"/>
                <a:gd name="T37" fmla="*/ 185 h 185"/>
                <a:gd name="T38" fmla="*/ 491 w 491"/>
                <a:gd name="T39" fmla="*/ 0 h 185"/>
                <a:gd name="T40" fmla="*/ 62 w 491"/>
                <a:gd name="T4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1" h="185">
                  <a:moveTo>
                    <a:pt x="62" y="0"/>
                  </a:moveTo>
                  <a:lnTo>
                    <a:pt x="0" y="185"/>
                  </a:lnTo>
                  <a:lnTo>
                    <a:pt x="49" y="185"/>
                  </a:lnTo>
                  <a:lnTo>
                    <a:pt x="102" y="36"/>
                  </a:lnTo>
                  <a:lnTo>
                    <a:pt x="147" y="36"/>
                  </a:lnTo>
                  <a:lnTo>
                    <a:pt x="95" y="185"/>
                  </a:lnTo>
                  <a:lnTo>
                    <a:pt x="143" y="185"/>
                  </a:lnTo>
                  <a:lnTo>
                    <a:pt x="195" y="36"/>
                  </a:lnTo>
                  <a:lnTo>
                    <a:pt x="241" y="36"/>
                  </a:lnTo>
                  <a:lnTo>
                    <a:pt x="188" y="185"/>
                  </a:lnTo>
                  <a:lnTo>
                    <a:pt x="238" y="185"/>
                  </a:lnTo>
                  <a:lnTo>
                    <a:pt x="290" y="36"/>
                  </a:lnTo>
                  <a:lnTo>
                    <a:pt x="335" y="36"/>
                  </a:lnTo>
                  <a:lnTo>
                    <a:pt x="283" y="185"/>
                  </a:lnTo>
                  <a:lnTo>
                    <a:pt x="331" y="185"/>
                  </a:lnTo>
                  <a:lnTo>
                    <a:pt x="383" y="36"/>
                  </a:lnTo>
                  <a:lnTo>
                    <a:pt x="429" y="36"/>
                  </a:lnTo>
                  <a:lnTo>
                    <a:pt x="376" y="185"/>
                  </a:lnTo>
                  <a:lnTo>
                    <a:pt x="426" y="185"/>
                  </a:lnTo>
                  <a:lnTo>
                    <a:pt x="491" y="0"/>
                  </a:lnTo>
                  <a:lnTo>
                    <a:pt x="62"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9" name="Freeform 1850">
              <a:extLst>
                <a:ext uri="{FF2B5EF4-FFF2-40B4-BE49-F238E27FC236}">
                  <a16:creationId xmlns:a16="http://schemas.microsoft.com/office/drawing/2014/main" id="{DE26494B-0EAA-2110-DA64-93FB71BAAD6D}"/>
                </a:ext>
              </a:extLst>
            </p:cNvPr>
            <p:cNvSpPr>
              <a:spLocks/>
            </p:cNvSpPr>
            <p:nvPr/>
          </p:nvSpPr>
          <p:spPr bwMode="auto">
            <a:xfrm>
              <a:off x="7464584" y="5704795"/>
              <a:ext cx="155575" cy="236538"/>
            </a:xfrm>
            <a:custGeom>
              <a:avLst/>
              <a:gdLst>
                <a:gd name="T0" fmla="*/ 53 w 98"/>
                <a:gd name="T1" fmla="*/ 0 h 149"/>
                <a:gd name="T2" fmla="*/ 0 w 98"/>
                <a:gd name="T3" fmla="*/ 149 h 149"/>
                <a:gd name="T4" fmla="*/ 46 w 98"/>
                <a:gd name="T5" fmla="*/ 149 h 149"/>
                <a:gd name="T6" fmla="*/ 98 w 98"/>
                <a:gd name="T7" fmla="*/ 0 h 149"/>
                <a:gd name="T8" fmla="*/ 53 w 98"/>
                <a:gd name="T9" fmla="*/ 0 h 149"/>
              </a:gdLst>
              <a:ahLst/>
              <a:cxnLst>
                <a:cxn ang="0">
                  <a:pos x="T0" y="T1"/>
                </a:cxn>
                <a:cxn ang="0">
                  <a:pos x="T2" y="T3"/>
                </a:cxn>
                <a:cxn ang="0">
                  <a:pos x="T4" y="T5"/>
                </a:cxn>
                <a:cxn ang="0">
                  <a:pos x="T6" y="T7"/>
                </a:cxn>
                <a:cxn ang="0">
                  <a:pos x="T8" y="T9"/>
                </a:cxn>
              </a:cxnLst>
              <a:rect l="0" t="0" r="r" b="b"/>
              <a:pathLst>
                <a:path w="98" h="149">
                  <a:moveTo>
                    <a:pt x="53" y="0"/>
                  </a:moveTo>
                  <a:lnTo>
                    <a:pt x="0" y="149"/>
                  </a:lnTo>
                  <a:lnTo>
                    <a:pt x="46" y="149"/>
                  </a:lnTo>
                  <a:lnTo>
                    <a:pt x="98" y="0"/>
                  </a:lnTo>
                  <a:lnTo>
                    <a:pt x="53"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0" name="Freeform 1851">
              <a:extLst>
                <a:ext uri="{FF2B5EF4-FFF2-40B4-BE49-F238E27FC236}">
                  <a16:creationId xmlns:a16="http://schemas.microsoft.com/office/drawing/2014/main" id="{2D0F1C6E-9B76-0F7A-E251-8D5EC3117D5D}"/>
                </a:ext>
              </a:extLst>
            </p:cNvPr>
            <p:cNvSpPr>
              <a:spLocks/>
            </p:cNvSpPr>
            <p:nvPr/>
          </p:nvSpPr>
          <p:spPr bwMode="auto">
            <a:xfrm>
              <a:off x="761380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1" name="Freeform 1852">
              <a:extLst>
                <a:ext uri="{FF2B5EF4-FFF2-40B4-BE49-F238E27FC236}">
                  <a16:creationId xmlns:a16="http://schemas.microsoft.com/office/drawing/2014/main" id="{337F7C68-FBDE-2324-D81D-738FB3D6DC57}"/>
                </a:ext>
              </a:extLst>
            </p:cNvPr>
            <p:cNvSpPr>
              <a:spLocks/>
            </p:cNvSpPr>
            <p:nvPr/>
          </p:nvSpPr>
          <p:spPr bwMode="auto">
            <a:xfrm>
              <a:off x="7764622" y="5704795"/>
              <a:ext cx="153988" cy="236538"/>
            </a:xfrm>
            <a:custGeom>
              <a:avLst/>
              <a:gdLst>
                <a:gd name="T0" fmla="*/ 52 w 97"/>
                <a:gd name="T1" fmla="*/ 0 h 149"/>
                <a:gd name="T2" fmla="*/ 0 w 97"/>
                <a:gd name="T3" fmla="*/ 149 h 149"/>
                <a:gd name="T4" fmla="*/ 45 w 97"/>
                <a:gd name="T5" fmla="*/ 149 h 149"/>
                <a:gd name="T6" fmla="*/ 97 w 97"/>
                <a:gd name="T7" fmla="*/ 0 h 149"/>
                <a:gd name="T8" fmla="*/ 52 w 97"/>
                <a:gd name="T9" fmla="*/ 0 h 149"/>
              </a:gdLst>
              <a:ahLst/>
              <a:cxnLst>
                <a:cxn ang="0">
                  <a:pos x="T0" y="T1"/>
                </a:cxn>
                <a:cxn ang="0">
                  <a:pos x="T2" y="T3"/>
                </a:cxn>
                <a:cxn ang="0">
                  <a:pos x="T4" y="T5"/>
                </a:cxn>
                <a:cxn ang="0">
                  <a:pos x="T6" y="T7"/>
                </a:cxn>
                <a:cxn ang="0">
                  <a:pos x="T8" y="T9"/>
                </a:cxn>
              </a:cxnLst>
              <a:rect l="0" t="0" r="r" b="b"/>
              <a:pathLst>
                <a:path w="97" h="149">
                  <a:moveTo>
                    <a:pt x="52" y="0"/>
                  </a:moveTo>
                  <a:lnTo>
                    <a:pt x="0" y="149"/>
                  </a:lnTo>
                  <a:lnTo>
                    <a:pt x="45" y="149"/>
                  </a:lnTo>
                  <a:lnTo>
                    <a:pt x="97" y="0"/>
                  </a:lnTo>
                  <a:lnTo>
                    <a:pt x="52"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2" name="Freeform 1853">
              <a:extLst>
                <a:ext uri="{FF2B5EF4-FFF2-40B4-BE49-F238E27FC236}">
                  <a16:creationId xmlns:a16="http://schemas.microsoft.com/office/drawing/2014/main" id="{5D00E9F1-A26E-F0A9-6A35-D00206D6AA64}"/>
                </a:ext>
              </a:extLst>
            </p:cNvPr>
            <p:cNvSpPr>
              <a:spLocks/>
            </p:cNvSpPr>
            <p:nvPr/>
          </p:nvSpPr>
          <p:spPr bwMode="auto">
            <a:xfrm>
              <a:off x="791225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3" name="Freeform 1854">
              <a:extLst>
                <a:ext uri="{FF2B5EF4-FFF2-40B4-BE49-F238E27FC236}">
                  <a16:creationId xmlns:a16="http://schemas.microsoft.com/office/drawing/2014/main" id="{BFA66187-F7E0-C2EF-0761-3D1620A61528}"/>
                </a:ext>
              </a:extLst>
            </p:cNvPr>
            <p:cNvSpPr>
              <a:spLocks/>
            </p:cNvSpPr>
            <p:nvPr/>
          </p:nvSpPr>
          <p:spPr bwMode="auto">
            <a:xfrm>
              <a:off x="7413784" y="5607958"/>
              <a:ext cx="777875" cy="58738"/>
            </a:xfrm>
            <a:custGeom>
              <a:avLst/>
              <a:gdLst>
                <a:gd name="T0" fmla="*/ 490 w 490"/>
                <a:gd name="T1" fmla="*/ 37 h 37"/>
                <a:gd name="T2" fmla="*/ 0 w 490"/>
                <a:gd name="T3" fmla="*/ 37 h 37"/>
                <a:gd name="T4" fmla="*/ 16 w 490"/>
                <a:gd name="T5" fmla="*/ 0 h 37"/>
                <a:gd name="T6" fmla="*/ 490 w 490"/>
                <a:gd name="T7" fmla="*/ 0 h 37"/>
                <a:gd name="T8" fmla="*/ 490 w 490"/>
                <a:gd name="T9" fmla="*/ 37 h 37"/>
              </a:gdLst>
              <a:ahLst/>
              <a:cxnLst>
                <a:cxn ang="0">
                  <a:pos x="T0" y="T1"/>
                </a:cxn>
                <a:cxn ang="0">
                  <a:pos x="T2" y="T3"/>
                </a:cxn>
                <a:cxn ang="0">
                  <a:pos x="T4" y="T5"/>
                </a:cxn>
                <a:cxn ang="0">
                  <a:pos x="T6" y="T7"/>
                </a:cxn>
                <a:cxn ang="0">
                  <a:pos x="T8" y="T9"/>
                </a:cxn>
              </a:cxnLst>
              <a:rect l="0" t="0" r="r" b="b"/>
              <a:pathLst>
                <a:path w="490" h="37">
                  <a:moveTo>
                    <a:pt x="490" y="37"/>
                  </a:moveTo>
                  <a:lnTo>
                    <a:pt x="0" y="37"/>
                  </a:lnTo>
                  <a:lnTo>
                    <a:pt x="16" y="0"/>
                  </a:lnTo>
                  <a:lnTo>
                    <a:pt x="490" y="0"/>
                  </a:lnTo>
                  <a:lnTo>
                    <a:pt x="490" y="37"/>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4" name="Freeform 1855">
              <a:extLst>
                <a:ext uri="{FF2B5EF4-FFF2-40B4-BE49-F238E27FC236}">
                  <a16:creationId xmlns:a16="http://schemas.microsoft.com/office/drawing/2014/main" id="{8FFA80EB-20CD-5ABC-DE57-D78DCD769735}"/>
                </a:ext>
              </a:extLst>
            </p:cNvPr>
            <p:cNvSpPr>
              <a:spLocks/>
            </p:cNvSpPr>
            <p:nvPr/>
          </p:nvSpPr>
          <p:spPr bwMode="auto">
            <a:xfrm>
              <a:off x="7413784" y="5607958"/>
              <a:ext cx="777875" cy="58738"/>
            </a:xfrm>
            <a:custGeom>
              <a:avLst/>
              <a:gdLst>
                <a:gd name="T0" fmla="*/ 490 w 490"/>
                <a:gd name="T1" fmla="*/ 37 h 37"/>
                <a:gd name="T2" fmla="*/ 0 w 490"/>
                <a:gd name="T3" fmla="*/ 37 h 37"/>
                <a:gd name="T4" fmla="*/ 16 w 490"/>
                <a:gd name="T5" fmla="*/ 0 h 37"/>
                <a:gd name="T6" fmla="*/ 490 w 490"/>
                <a:gd name="T7" fmla="*/ 0 h 37"/>
                <a:gd name="T8" fmla="*/ 490 w 490"/>
                <a:gd name="T9" fmla="*/ 37 h 37"/>
              </a:gdLst>
              <a:ahLst/>
              <a:cxnLst>
                <a:cxn ang="0">
                  <a:pos x="T0" y="T1"/>
                </a:cxn>
                <a:cxn ang="0">
                  <a:pos x="T2" y="T3"/>
                </a:cxn>
                <a:cxn ang="0">
                  <a:pos x="T4" y="T5"/>
                </a:cxn>
                <a:cxn ang="0">
                  <a:pos x="T6" y="T7"/>
                </a:cxn>
                <a:cxn ang="0">
                  <a:pos x="T8" y="T9"/>
                </a:cxn>
              </a:cxnLst>
              <a:rect l="0" t="0" r="r" b="b"/>
              <a:pathLst>
                <a:path w="490" h="37">
                  <a:moveTo>
                    <a:pt x="490" y="37"/>
                  </a:moveTo>
                  <a:lnTo>
                    <a:pt x="0" y="37"/>
                  </a:lnTo>
                  <a:lnTo>
                    <a:pt x="16" y="0"/>
                  </a:lnTo>
                  <a:lnTo>
                    <a:pt x="490" y="0"/>
                  </a:lnTo>
                  <a:lnTo>
                    <a:pt x="490" y="37"/>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5" name="Freeform 1856">
              <a:extLst>
                <a:ext uri="{FF2B5EF4-FFF2-40B4-BE49-F238E27FC236}">
                  <a16:creationId xmlns:a16="http://schemas.microsoft.com/office/drawing/2014/main" id="{1B0452CB-4AD8-2C6E-72B9-116038A48841}"/>
                </a:ext>
              </a:extLst>
            </p:cNvPr>
            <p:cNvSpPr>
              <a:spLocks/>
            </p:cNvSpPr>
            <p:nvPr/>
          </p:nvSpPr>
          <p:spPr bwMode="auto">
            <a:xfrm>
              <a:off x="8215472" y="5552395"/>
              <a:ext cx="185738" cy="55563"/>
            </a:xfrm>
            <a:custGeom>
              <a:avLst/>
              <a:gdLst>
                <a:gd name="T0" fmla="*/ 83 w 117"/>
                <a:gd name="T1" fmla="*/ 35 h 35"/>
                <a:gd name="T2" fmla="*/ 0 w 117"/>
                <a:gd name="T3" fmla="*/ 35 h 35"/>
                <a:gd name="T4" fmla="*/ 0 w 117"/>
                <a:gd name="T5" fmla="*/ 0 h 35"/>
                <a:gd name="T6" fmla="*/ 117 w 117"/>
                <a:gd name="T7" fmla="*/ 0 h 35"/>
                <a:gd name="T8" fmla="*/ 83 w 117"/>
                <a:gd name="T9" fmla="*/ 35 h 35"/>
              </a:gdLst>
              <a:ahLst/>
              <a:cxnLst>
                <a:cxn ang="0">
                  <a:pos x="T0" y="T1"/>
                </a:cxn>
                <a:cxn ang="0">
                  <a:pos x="T2" y="T3"/>
                </a:cxn>
                <a:cxn ang="0">
                  <a:pos x="T4" y="T5"/>
                </a:cxn>
                <a:cxn ang="0">
                  <a:pos x="T6" y="T7"/>
                </a:cxn>
                <a:cxn ang="0">
                  <a:pos x="T8" y="T9"/>
                </a:cxn>
              </a:cxnLst>
              <a:rect l="0" t="0" r="r" b="b"/>
              <a:pathLst>
                <a:path w="117" h="35">
                  <a:moveTo>
                    <a:pt x="83" y="35"/>
                  </a:moveTo>
                  <a:lnTo>
                    <a:pt x="0" y="35"/>
                  </a:lnTo>
                  <a:lnTo>
                    <a:pt x="0" y="0"/>
                  </a:lnTo>
                  <a:lnTo>
                    <a:pt x="117" y="0"/>
                  </a:lnTo>
                  <a:lnTo>
                    <a:pt x="83" y="35"/>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6" name="Freeform 1857">
              <a:extLst>
                <a:ext uri="{FF2B5EF4-FFF2-40B4-BE49-F238E27FC236}">
                  <a16:creationId xmlns:a16="http://schemas.microsoft.com/office/drawing/2014/main" id="{0CFF361C-80FD-1FBC-6342-44B22C8D233E}"/>
                </a:ext>
              </a:extLst>
            </p:cNvPr>
            <p:cNvSpPr>
              <a:spLocks/>
            </p:cNvSpPr>
            <p:nvPr/>
          </p:nvSpPr>
          <p:spPr bwMode="auto">
            <a:xfrm>
              <a:off x="8215472" y="5552395"/>
              <a:ext cx="185738" cy="55563"/>
            </a:xfrm>
            <a:custGeom>
              <a:avLst/>
              <a:gdLst>
                <a:gd name="T0" fmla="*/ 83 w 117"/>
                <a:gd name="T1" fmla="*/ 35 h 35"/>
                <a:gd name="T2" fmla="*/ 0 w 117"/>
                <a:gd name="T3" fmla="*/ 35 h 35"/>
                <a:gd name="T4" fmla="*/ 0 w 117"/>
                <a:gd name="T5" fmla="*/ 0 h 35"/>
                <a:gd name="T6" fmla="*/ 117 w 117"/>
                <a:gd name="T7" fmla="*/ 0 h 35"/>
                <a:gd name="T8" fmla="*/ 83 w 117"/>
                <a:gd name="T9" fmla="*/ 35 h 35"/>
              </a:gdLst>
              <a:ahLst/>
              <a:cxnLst>
                <a:cxn ang="0">
                  <a:pos x="T0" y="T1"/>
                </a:cxn>
                <a:cxn ang="0">
                  <a:pos x="T2" y="T3"/>
                </a:cxn>
                <a:cxn ang="0">
                  <a:pos x="T4" y="T5"/>
                </a:cxn>
                <a:cxn ang="0">
                  <a:pos x="T6" y="T7"/>
                </a:cxn>
                <a:cxn ang="0">
                  <a:pos x="T8" y="T9"/>
                </a:cxn>
              </a:cxnLst>
              <a:rect l="0" t="0" r="r" b="b"/>
              <a:pathLst>
                <a:path w="117" h="35">
                  <a:moveTo>
                    <a:pt x="83" y="35"/>
                  </a:moveTo>
                  <a:lnTo>
                    <a:pt x="0" y="35"/>
                  </a:lnTo>
                  <a:lnTo>
                    <a:pt x="0" y="0"/>
                  </a:lnTo>
                  <a:lnTo>
                    <a:pt x="117" y="0"/>
                  </a:lnTo>
                  <a:lnTo>
                    <a:pt x="83" y="35"/>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7" name="Freeform 1858">
              <a:extLst>
                <a:ext uri="{FF2B5EF4-FFF2-40B4-BE49-F238E27FC236}">
                  <a16:creationId xmlns:a16="http://schemas.microsoft.com/office/drawing/2014/main" id="{4A5C7E1C-0C78-919B-BB17-CAB0ACAC6200}"/>
                </a:ext>
              </a:extLst>
            </p:cNvPr>
            <p:cNvSpPr>
              <a:spLocks/>
            </p:cNvSpPr>
            <p:nvPr/>
          </p:nvSpPr>
          <p:spPr bwMode="auto">
            <a:xfrm>
              <a:off x="8063072" y="5552395"/>
              <a:ext cx="207963" cy="388938"/>
            </a:xfrm>
            <a:custGeom>
              <a:avLst/>
              <a:gdLst>
                <a:gd name="T0" fmla="*/ 86 w 131"/>
                <a:gd name="T1" fmla="*/ 0 h 245"/>
                <a:gd name="T2" fmla="*/ 0 w 131"/>
                <a:gd name="T3" fmla="*/ 245 h 245"/>
                <a:gd name="T4" fmla="*/ 45 w 131"/>
                <a:gd name="T5" fmla="*/ 245 h 245"/>
                <a:gd name="T6" fmla="*/ 131 w 131"/>
                <a:gd name="T7" fmla="*/ 0 h 245"/>
                <a:gd name="T8" fmla="*/ 86 w 131"/>
                <a:gd name="T9" fmla="*/ 0 h 245"/>
              </a:gdLst>
              <a:ahLst/>
              <a:cxnLst>
                <a:cxn ang="0">
                  <a:pos x="T0" y="T1"/>
                </a:cxn>
                <a:cxn ang="0">
                  <a:pos x="T2" y="T3"/>
                </a:cxn>
                <a:cxn ang="0">
                  <a:pos x="T4" y="T5"/>
                </a:cxn>
                <a:cxn ang="0">
                  <a:pos x="T6" y="T7"/>
                </a:cxn>
                <a:cxn ang="0">
                  <a:pos x="T8" y="T9"/>
                </a:cxn>
              </a:cxnLst>
              <a:rect l="0" t="0" r="r" b="b"/>
              <a:pathLst>
                <a:path w="131" h="245">
                  <a:moveTo>
                    <a:pt x="86" y="0"/>
                  </a:moveTo>
                  <a:lnTo>
                    <a:pt x="0" y="245"/>
                  </a:lnTo>
                  <a:lnTo>
                    <a:pt x="45" y="245"/>
                  </a:lnTo>
                  <a:lnTo>
                    <a:pt x="131" y="0"/>
                  </a:lnTo>
                  <a:lnTo>
                    <a:pt x="86"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8" name="Freeform 1859">
              <a:extLst>
                <a:ext uri="{FF2B5EF4-FFF2-40B4-BE49-F238E27FC236}">
                  <a16:creationId xmlns:a16="http://schemas.microsoft.com/office/drawing/2014/main" id="{F4CD85CF-D717-9B03-C270-E4749B04FB74}"/>
                </a:ext>
              </a:extLst>
            </p:cNvPr>
            <p:cNvSpPr>
              <a:spLocks/>
            </p:cNvSpPr>
            <p:nvPr/>
          </p:nvSpPr>
          <p:spPr bwMode="auto">
            <a:xfrm>
              <a:off x="8063072" y="5552395"/>
              <a:ext cx="207963" cy="388938"/>
            </a:xfrm>
            <a:custGeom>
              <a:avLst/>
              <a:gdLst>
                <a:gd name="T0" fmla="*/ 86 w 131"/>
                <a:gd name="T1" fmla="*/ 0 h 245"/>
                <a:gd name="T2" fmla="*/ 0 w 131"/>
                <a:gd name="T3" fmla="*/ 245 h 245"/>
                <a:gd name="T4" fmla="*/ 45 w 131"/>
                <a:gd name="T5" fmla="*/ 245 h 245"/>
                <a:gd name="T6" fmla="*/ 131 w 131"/>
                <a:gd name="T7" fmla="*/ 0 h 245"/>
                <a:gd name="T8" fmla="*/ 86 w 131"/>
                <a:gd name="T9" fmla="*/ 0 h 245"/>
              </a:gdLst>
              <a:ahLst/>
              <a:cxnLst>
                <a:cxn ang="0">
                  <a:pos x="T0" y="T1"/>
                </a:cxn>
                <a:cxn ang="0">
                  <a:pos x="T2" y="T3"/>
                </a:cxn>
                <a:cxn ang="0">
                  <a:pos x="T4" y="T5"/>
                </a:cxn>
                <a:cxn ang="0">
                  <a:pos x="T6" y="T7"/>
                </a:cxn>
                <a:cxn ang="0">
                  <a:pos x="T8" y="T9"/>
                </a:cxn>
              </a:cxnLst>
              <a:rect l="0" t="0" r="r" b="b"/>
              <a:pathLst>
                <a:path w="131" h="245">
                  <a:moveTo>
                    <a:pt x="86" y="0"/>
                  </a:moveTo>
                  <a:lnTo>
                    <a:pt x="0" y="245"/>
                  </a:lnTo>
                  <a:lnTo>
                    <a:pt x="45" y="245"/>
                  </a:lnTo>
                  <a:lnTo>
                    <a:pt x="131" y="0"/>
                  </a:lnTo>
                  <a:lnTo>
                    <a:pt x="86"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9" name="Oval 1861">
              <a:extLst>
                <a:ext uri="{FF2B5EF4-FFF2-40B4-BE49-F238E27FC236}">
                  <a16:creationId xmlns:a16="http://schemas.microsoft.com/office/drawing/2014/main" id="{041137B4-CBB2-6C8D-A81E-2803360BE4C7}"/>
                </a:ext>
              </a:extLst>
            </p:cNvPr>
            <p:cNvSpPr>
              <a:spLocks noChangeArrowheads="1"/>
            </p:cNvSpPr>
            <p:nvPr/>
          </p:nvSpPr>
          <p:spPr bwMode="auto">
            <a:xfrm>
              <a:off x="7872572" y="6096907"/>
              <a:ext cx="82550" cy="82550"/>
            </a:xfrm>
            <a:prstGeom prst="ellipse">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0" name="Freeform 1862">
              <a:extLst>
                <a:ext uri="{FF2B5EF4-FFF2-40B4-BE49-F238E27FC236}">
                  <a16:creationId xmlns:a16="http://schemas.microsoft.com/office/drawing/2014/main" id="{CFCA45E2-5CFE-698A-737C-2AD8ED585FF5}"/>
                </a:ext>
              </a:extLst>
            </p:cNvPr>
            <p:cNvSpPr>
              <a:spLocks noEditPoints="1"/>
            </p:cNvSpPr>
            <p:nvPr/>
          </p:nvSpPr>
          <p:spPr bwMode="auto">
            <a:xfrm>
              <a:off x="7828122" y="6049282"/>
              <a:ext cx="174625" cy="174625"/>
            </a:xfrm>
            <a:custGeom>
              <a:avLst/>
              <a:gdLst>
                <a:gd name="T0" fmla="*/ 46 w 93"/>
                <a:gd name="T1" fmla="*/ 0 h 93"/>
                <a:gd name="T2" fmla="*/ 93 w 93"/>
                <a:gd name="T3" fmla="*/ 47 h 93"/>
                <a:gd name="T4" fmla="*/ 46 w 93"/>
                <a:gd name="T5" fmla="*/ 93 h 93"/>
                <a:gd name="T6" fmla="*/ 0 w 93"/>
                <a:gd name="T7" fmla="*/ 47 h 93"/>
                <a:gd name="T8" fmla="*/ 46 w 93"/>
                <a:gd name="T9" fmla="*/ 0 h 93"/>
                <a:gd name="T10" fmla="*/ 68 w 93"/>
                <a:gd name="T11" fmla="*/ 47 h 93"/>
                <a:gd name="T12" fmla="*/ 46 w 93"/>
                <a:gd name="T13" fmla="*/ 25 h 93"/>
                <a:gd name="T14" fmla="*/ 24 w 93"/>
                <a:gd name="T15" fmla="*/ 47 h 93"/>
                <a:gd name="T16" fmla="*/ 46 w 93"/>
                <a:gd name="T17" fmla="*/ 69 h 93"/>
                <a:gd name="T18" fmla="*/ 68 w 93"/>
                <a:gd name="T1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6" y="0"/>
                  </a:moveTo>
                  <a:cubicBezTo>
                    <a:pt x="72" y="0"/>
                    <a:pt x="93" y="21"/>
                    <a:pt x="93" y="47"/>
                  </a:cubicBezTo>
                  <a:cubicBezTo>
                    <a:pt x="93" y="72"/>
                    <a:pt x="72" y="93"/>
                    <a:pt x="46" y="93"/>
                  </a:cubicBezTo>
                  <a:cubicBezTo>
                    <a:pt x="20" y="93"/>
                    <a:pt x="0" y="72"/>
                    <a:pt x="0" y="47"/>
                  </a:cubicBezTo>
                  <a:cubicBezTo>
                    <a:pt x="0" y="21"/>
                    <a:pt x="20" y="0"/>
                    <a:pt x="46" y="0"/>
                  </a:cubicBezTo>
                  <a:close/>
                  <a:moveTo>
                    <a:pt x="68" y="47"/>
                  </a:moveTo>
                  <a:cubicBezTo>
                    <a:pt x="68" y="34"/>
                    <a:pt x="58" y="25"/>
                    <a:pt x="46" y="25"/>
                  </a:cubicBezTo>
                  <a:cubicBezTo>
                    <a:pt x="34" y="25"/>
                    <a:pt x="24" y="34"/>
                    <a:pt x="24" y="47"/>
                  </a:cubicBezTo>
                  <a:cubicBezTo>
                    <a:pt x="24" y="59"/>
                    <a:pt x="34" y="69"/>
                    <a:pt x="46" y="69"/>
                  </a:cubicBezTo>
                  <a:cubicBezTo>
                    <a:pt x="58" y="69"/>
                    <a:pt x="68" y="59"/>
                    <a:pt x="68" y="47"/>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1" name="Oval 1863">
              <a:extLst>
                <a:ext uri="{FF2B5EF4-FFF2-40B4-BE49-F238E27FC236}">
                  <a16:creationId xmlns:a16="http://schemas.microsoft.com/office/drawing/2014/main" id="{1E730131-3802-AF65-1400-7BF00E9F7138}"/>
                </a:ext>
              </a:extLst>
            </p:cNvPr>
            <p:cNvSpPr>
              <a:spLocks noChangeArrowheads="1"/>
            </p:cNvSpPr>
            <p:nvPr/>
          </p:nvSpPr>
          <p:spPr bwMode="auto">
            <a:xfrm>
              <a:off x="7828122" y="6049282"/>
              <a:ext cx="174625" cy="174625"/>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2" name="Oval 1864">
              <a:extLst>
                <a:ext uri="{FF2B5EF4-FFF2-40B4-BE49-F238E27FC236}">
                  <a16:creationId xmlns:a16="http://schemas.microsoft.com/office/drawing/2014/main" id="{F7C716B1-B4D6-E344-3958-BA6D0AA431BD}"/>
                </a:ext>
              </a:extLst>
            </p:cNvPr>
            <p:cNvSpPr>
              <a:spLocks noChangeArrowheads="1"/>
            </p:cNvSpPr>
            <p:nvPr/>
          </p:nvSpPr>
          <p:spPr bwMode="auto">
            <a:xfrm>
              <a:off x="7872572" y="6096907"/>
              <a:ext cx="82550" cy="82550"/>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3" name="Oval 1865">
              <a:extLst>
                <a:ext uri="{FF2B5EF4-FFF2-40B4-BE49-F238E27FC236}">
                  <a16:creationId xmlns:a16="http://schemas.microsoft.com/office/drawing/2014/main" id="{2780BF5C-3FD4-9AC1-DE32-6060A8A62A84}"/>
                </a:ext>
              </a:extLst>
            </p:cNvPr>
            <p:cNvSpPr>
              <a:spLocks noChangeArrowheads="1"/>
            </p:cNvSpPr>
            <p:nvPr/>
          </p:nvSpPr>
          <p:spPr bwMode="auto">
            <a:xfrm>
              <a:off x="7640797" y="6096907"/>
              <a:ext cx="82550" cy="82550"/>
            </a:xfrm>
            <a:prstGeom prst="ellipse">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4" name="Freeform 1866">
              <a:extLst>
                <a:ext uri="{FF2B5EF4-FFF2-40B4-BE49-F238E27FC236}">
                  <a16:creationId xmlns:a16="http://schemas.microsoft.com/office/drawing/2014/main" id="{F02CA860-14B3-4471-E39D-1AC771CFEA7E}"/>
                </a:ext>
              </a:extLst>
            </p:cNvPr>
            <p:cNvSpPr>
              <a:spLocks noEditPoints="1"/>
            </p:cNvSpPr>
            <p:nvPr/>
          </p:nvSpPr>
          <p:spPr bwMode="auto">
            <a:xfrm>
              <a:off x="7593172" y="6049282"/>
              <a:ext cx="174625" cy="174625"/>
            </a:xfrm>
            <a:custGeom>
              <a:avLst/>
              <a:gdLst>
                <a:gd name="T0" fmla="*/ 47 w 93"/>
                <a:gd name="T1" fmla="*/ 0 h 93"/>
                <a:gd name="T2" fmla="*/ 93 w 93"/>
                <a:gd name="T3" fmla="*/ 47 h 93"/>
                <a:gd name="T4" fmla="*/ 47 w 93"/>
                <a:gd name="T5" fmla="*/ 93 h 93"/>
                <a:gd name="T6" fmla="*/ 0 w 93"/>
                <a:gd name="T7" fmla="*/ 47 h 93"/>
                <a:gd name="T8" fmla="*/ 47 w 93"/>
                <a:gd name="T9" fmla="*/ 0 h 93"/>
                <a:gd name="T10" fmla="*/ 69 w 93"/>
                <a:gd name="T11" fmla="*/ 47 h 93"/>
                <a:gd name="T12" fmla="*/ 47 w 93"/>
                <a:gd name="T13" fmla="*/ 25 h 93"/>
                <a:gd name="T14" fmla="*/ 25 w 93"/>
                <a:gd name="T15" fmla="*/ 47 h 93"/>
                <a:gd name="T16" fmla="*/ 47 w 93"/>
                <a:gd name="T17" fmla="*/ 69 h 93"/>
                <a:gd name="T18" fmla="*/ 69 w 93"/>
                <a:gd name="T1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73" y="0"/>
                    <a:pt x="93" y="21"/>
                    <a:pt x="93" y="47"/>
                  </a:cubicBezTo>
                  <a:cubicBezTo>
                    <a:pt x="93" y="72"/>
                    <a:pt x="73" y="93"/>
                    <a:pt x="47" y="93"/>
                  </a:cubicBezTo>
                  <a:cubicBezTo>
                    <a:pt x="21" y="93"/>
                    <a:pt x="0" y="72"/>
                    <a:pt x="0" y="47"/>
                  </a:cubicBezTo>
                  <a:cubicBezTo>
                    <a:pt x="0" y="21"/>
                    <a:pt x="21" y="0"/>
                    <a:pt x="47" y="0"/>
                  </a:cubicBezTo>
                  <a:close/>
                  <a:moveTo>
                    <a:pt x="69" y="47"/>
                  </a:moveTo>
                  <a:cubicBezTo>
                    <a:pt x="69" y="34"/>
                    <a:pt x="59" y="25"/>
                    <a:pt x="47" y="25"/>
                  </a:cubicBezTo>
                  <a:cubicBezTo>
                    <a:pt x="35" y="25"/>
                    <a:pt x="25" y="34"/>
                    <a:pt x="25" y="47"/>
                  </a:cubicBezTo>
                  <a:cubicBezTo>
                    <a:pt x="25" y="59"/>
                    <a:pt x="35" y="69"/>
                    <a:pt x="47" y="69"/>
                  </a:cubicBezTo>
                  <a:cubicBezTo>
                    <a:pt x="59" y="69"/>
                    <a:pt x="69" y="59"/>
                    <a:pt x="69" y="47"/>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5" name="Oval 1867">
              <a:extLst>
                <a:ext uri="{FF2B5EF4-FFF2-40B4-BE49-F238E27FC236}">
                  <a16:creationId xmlns:a16="http://schemas.microsoft.com/office/drawing/2014/main" id="{3D31B265-FF5F-367B-9DE3-F8E429894686}"/>
                </a:ext>
              </a:extLst>
            </p:cNvPr>
            <p:cNvSpPr>
              <a:spLocks noChangeArrowheads="1"/>
            </p:cNvSpPr>
            <p:nvPr/>
          </p:nvSpPr>
          <p:spPr bwMode="auto">
            <a:xfrm>
              <a:off x="7593172" y="6049282"/>
              <a:ext cx="174625" cy="174625"/>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6" name="Oval 1868">
              <a:extLst>
                <a:ext uri="{FF2B5EF4-FFF2-40B4-BE49-F238E27FC236}">
                  <a16:creationId xmlns:a16="http://schemas.microsoft.com/office/drawing/2014/main" id="{45B008D1-C1BE-5021-2006-AFDC1611CF94}"/>
                </a:ext>
              </a:extLst>
            </p:cNvPr>
            <p:cNvSpPr>
              <a:spLocks noChangeArrowheads="1"/>
            </p:cNvSpPr>
            <p:nvPr/>
          </p:nvSpPr>
          <p:spPr bwMode="auto">
            <a:xfrm>
              <a:off x="7640797" y="6096907"/>
              <a:ext cx="82550" cy="82550"/>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7" name="Freeform 1869">
              <a:extLst>
                <a:ext uri="{FF2B5EF4-FFF2-40B4-BE49-F238E27FC236}">
                  <a16:creationId xmlns:a16="http://schemas.microsoft.com/office/drawing/2014/main" id="{0349205C-13A3-CA28-DC9B-9A1F91CC2920}"/>
                </a:ext>
              </a:extLst>
            </p:cNvPr>
            <p:cNvSpPr>
              <a:spLocks/>
            </p:cNvSpPr>
            <p:nvPr/>
          </p:nvSpPr>
          <p:spPr bwMode="auto">
            <a:xfrm>
              <a:off x="7486809" y="5979432"/>
              <a:ext cx="622300" cy="120650"/>
            </a:xfrm>
            <a:custGeom>
              <a:avLst/>
              <a:gdLst>
                <a:gd name="T0" fmla="*/ 328 w 392"/>
                <a:gd name="T1" fmla="*/ 0 h 76"/>
                <a:gd name="T2" fmla="*/ 195 w 392"/>
                <a:gd name="T3" fmla="*/ 0 h 76"/>
                <a:gd name="T4" fmla="*/ 182 w 392"/>
                <a:gd name="T5" fmla="*/ 0 h 76"/>
                <a:gd name="T6" fmla="*/ 171 w 392"/>
                <a:gd name="T7" fmla="*/ 0 h 76"/>
                <a:gd name="T8" fmla="*/ 161 w 392"/>
                <a:gd name="T9" fmla="*/ 0 h 76"/>
                <a:gd name="T10" fmla="*/ 150 w 392"/>
                <a:gd name="T11" fmla="*/ 0 h 76"/>
                <a:gd name="T12" fmla="*/ 137 w 392"/>
                <a:gd name="T13" fmla="*/ 0 h 76"/>
                <a:gd name="T14" fmla="*/ 58 w 392"/>
                <a:gd name="T15" fmla="*/ 0 h 76"/>
                <a:gd name="T16" fmla="*/ 0 w 392"/>
                <a:gd name="T17" fmla="*/ 76 h 76"/>
                <a:gd name="T18" fmla="*/ 29 w 392"/>
                <a:gd name="T19" fmla="*/ 76 h 76"/>
                <a:gd name="T20" fmla="*/ 68 w 392"/>
                <a:gd name="T21" fmla="*/ 23 h 76"/>
                <a:gd name="T22" fmla="*/ 137 w 392"/>
                <a:gd name="T23" fmla="*/ 23 h 76"/>
                <a:gd name="T24" fmla="*/ 150 w 392"/>
                <a:gd name="T25" fmla="*/ 23 h 76"/>
                <a:gd name="T26" fmla="*/ 161 w 392"/>
                <a:gd name="T27" fmla="*/ 23 h 76"/>
                <a:gd name="T28" fmla="*/ 171 w 392"/>
                <a:gd name="T29" fmla="*/ 23 h 76"/>
                <a:gd name="T30" fmla="*/ 182 w 392"/>
                <a:gd name="T31" fmla="*/ 23 h 76"/>
                <a:gd name="T32" fmla="*/ 195 w 392"/>
                <a:gd name="T33" fmla="*/ 23 h 76"/>
                <a:gd name="T34" fmla="*/ 318 w 392"/>
                <a:gd name="T35" fmla="*/ 23 h 76"/>
                <a:gd name="T36" fmla="*/ 363 w 392"/>
                <a:gd name="T37" fmla="*/ 76 h 76"/>
                <a:gd name="T38" fmla="*/ 392 w 392"/>
                <a:gd name="T39" fmla="*/ 76 h 76"/>
                <a:gd name="T40" fmla="*/ 328 w 392"/>
                <a:gd name="T4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2" h="76">
                  <a:moveTo>
                    <a:pt x="328" y="0"/>
                  </a:moveTo>
                  <a:lnTo>
                    <a:pt x="195" y="0"/>
                  </a:lnTo>
                  <a:lnTo>
                    <a:pt x="182" y="0"/>
                  </a:lnTo>
                  <a:lnTo>
                    <a:pt x="171" y="0"/>
                  </a:lnTo>
                  <a:lnTo>
                    <a:pt x="161" y="0"/>
                  </a:lnTo>
                  <a:lnTo>
                    <a:pt x="150" y="0"/>
                  </a:lnTo>
                  <a:lnTo>
                    <a:pt x="137" y="0"/>
                  </a:lnTo>
                  <a:lnTo>
                    <a:pt x="58" y="0"/>
                  </a:lnTo>
                  <a:lnTo>
                    <a:pt x="0" y="76"/>
                  </a:lnTo>
                  <a:lnTo>
                    <a:pt x="29" y="76"/>
                  </a:lnTo>
                  <a:lnTo>
                    <a:pt x="68" y="23"/>
                  </a:lnTo>
                  <a:lnTo>
                    <a:pt x="137" y="23"/>
                  </a:lnTo>
                  <a:lnTo>
                    <a:pt x="150" y="23"/>
                  </a:lnTo>
                  <a:lnTo>
                    <a:pt x="161" y="23"/>
                  </a:lnTo>
                  <a:lnTo>
                    <a:pt x="171" y="23"/>
                  </a:lnTo>
                  <a:lnTo>
                    <a:pt x="182" y="23"/>
                  </a:lnTo>
                  <a:lnTo>
                    <a:pt x="195" y="23"/>
                  </a:lnTo>
                  <a:lnTo>
                    <a:pt x="318" y="23"/>
                  </a:lnTo>
                  <a:lnTo>
                    <a:pt x="363" y="76"/>
                  </a:lnTo>
                  <a:lnTo>
                    <a:pt x="392" y="76"/>
                  </a:lnTo>
                  <a:lnTo>
                    <a:pt x="328"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8" name="Freeform 1870">
              <a:extLst>
                <a:ext uri="{FF2B5EF4-FFF2-40B4-BE49-F238E27FC236}">
                  <a16:creationId xmlns:a16="http://schemas.microsoft.com/office/drawing/2014/main" id="{9F89A12B-9BB7-4673-A403-D27CC9620D9F}"/>
                </a:ext>
              </a:extLst>
            </p:cNvPr>
            <p:cNvSpPr>
              <a:spLocks/>
            </p:cNvSpPr>
            <p:nvPr/>
          </p:nvSpPr>
          <p:spPr bwMode="auto">
            <a:xfrm>
              <a:off x="7486809" y="5979432"/>
              <a:ext cx="622300" cy="120650"/>
            </a:xfrm>
            <a:custGeom>
              <a:avLst/>
              <a:gdLst>
                <a:gd name="T0" fmla="*/ 328 w 392"/>
                <a:gd name="T1" fmla="*/ 0 h 76"/>
                <a:gd name="T2" fmla="*/ 195 w 392"/>
                <a:gd name="T3" fmla="*/ 0 h 76"/>
                <a:gd name="T4" fmla="*/ 182 w 392"/>
                <a:gd name="T5" fmla="*/ 0 h 76"/>
                <a:gd name="T6" fmla="*/ 171 w 392"/>
                <a:gd name="T7" fmla="*/ 0 h 76"/>
                <a:gd name="T8" fmla="*/ 161 w 392"/>
                <a:gd name="T9" fmla="*/ 0 h 76"/>
                <a:gd name="T10" fmla="*/ 150 w 392"/>
                <a:gd name="T11" fmla="*/ 0 h 76"/>
                <a:gd name="T12" fmla="*/ 137 w 392"/>
                <a:gd name="T13" fmla="*/ 0 h 76"/>
                <a:gd name="T14" fmla="*/ 58 w 392"/>
                <a:gd name="T15" fmla="*/ 0 h 76"/>
                <a:gd name="T16" fmla="*/ 0 w 392"/>
                <a:gd name="T17" fmla="*/ 76 h 76"/>
                <a:gd name="T18" fmla="*/ 29 w 392"/>
                <a:gd name="T19" fmla="*/ 76 h 76"/>
                <a:gd name="T20" fmla="*/ 68 w 392"/>
                <a:gd name="T21" fmla="*/ 23 h 76"/>
                <a:gd name="T22" fmla="*/ 137 w 392"/>
                <a:gd name="T23" fmla="*/ 23 h 76"/>
                <a:gd name="T24" fmla="*/ 150 w 392"/>
                <a:gd name="T25" fmla="*/ 23 h 76"/>
                <a:gd name="T26" fmla="*/ 161 w 392"/>
                <a:gd name="T27" fmla="*/ 23 h 76"/>
                <a:gd name="T28" fmla="*/ 171 w 392"/>
                <a:gd name="T29" fmla="*/ 23 h 76"/>
                <a:gd name="T30" fmla="*/ 182 w 392"/>
                <a:gd name="T31" fmla="*/ 23 h 76"/>
                <a:gd name="T32" fmla="*/ 195 w 392"/>
                <a:gd name="T33" fmla="*/ 23 h 76"/>
                <a:gd name="T34" fmla="*/ 318 w 392"/>
                <a:gd name="T35" fmla="*/ 23 h 76"/>
                <a:gd name="T36" fmla="*/ 363 w 392"/>
                <a:gd name="T37" fmla="*/ 76 h 76"/>
                <a:gd name="T38" fmla="*/ 392 w 392"/>
                <a:gd name="T39" fmla="*/ 76 h 76"/>
                <a:gd name="T40" fmla="*/ 328 w 392"/>
                <a:gd name="T4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2" h="76">
                  <a:moveTo>
                    <a:pt x="328" y="0"/>
                  </a:moveTo>
                  <a:lnTo>
                    <a:pt x="195" y="0"/>
                  </a:lnTo>
                  <a:lnTo>
                    <a:pt x="182" y="0"/>
                  </a:lnTo>
                  <a:lnTo>
                    <a:pt x="171" y="0"/>
                  </a:lnTo>
                  <a:lnTo>
                    <a:pt x="161" y="0"/>
                  </a:lnTo>
                  <a:lnTo>
                    <a:pt x="150" y="0"/>
                  </a:lnTo>
                  <a:lnTo>
                    <a:pt x="137" y="0"/>
                  </a:lnTo>
                  <a:lnTo>
                    <a:pt x="58" y="0"/>
                  </a:lnTo>
                  <a:lnTo>
                    <a:pt x="0" y="76"/>
                  </a:lnTo>
                  <a:lnTo>
                    <a:pt x="29" y="76"/>
                  </a:lnTo>
                  <a:lnTo>
                    <a:pt x="68" y="23"/>
                  </a:lnTo>
                  <a:lnTo>
                    <a:pt x="137" y="23"/>
                  </a:lnTo>
                  <a:lnTo>
                    <a:pt x="150" y="23"/>
                  </a:lnTo>
                  <a:lnTo>
                    <a:pt x="161" y="23"/>
                  </a:lnTo>
                  <a:lnTo>
                    <a:pt x="171" y="23"/>
                  </a:lnTo>
                  <a:lnTo>
                    <a:pt x="182" y="23"/>
                  </a:lnTo>
                  <a:lnTo>
                    <a:pt x="195" y="23"/>
                  </a:lnTo>
                  <a:lnTo>
                    <a:pt x="318" y="23"/>
                  </a:lnTo>
                  <a:lnTo>
                    <a:pt x="363" y="76"/>
                  </a:lnTo>
                  <a:lnTo>
                    <a:pt x="392" y="76"/>
                  </a:lnTo>
                  <a:lnTo>
                    <a:pt x="328"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grpSp>
      <p:sp>
        <p:nvSpPr>
          <p:cNvPr id="79" name="TextBox 503">
            <a:extLst>
              <a:ext uri="{FF2B5EF4-FFF2-40B4-BE49-F238E27FC236}">
                <a16:creationId xmlns:a16="http://schemas.microsoft.com/office/drawing/2014/main" id="{9E42DC50-C706-D251-A196-DA902B724834}"/>
              </a:ext>
            </a:extLst>
          </p:cNvPr>
          <p:cNvSpPr txBox="1"/>
          <p:nvPr/>
        </p:nvSpPr>
        <p:spPr>
          <a:xfrm>
            <a:off x="3102443" y="2963527"/>
            <a:ext cx="1900369" cy="5637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Mixers, dump trucks, refuse trucks, plows, etc. with high idle time and uptime priorities</a:t>
            </a: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t>
            </a: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80" name="TextBox 504">
            <a:extLst>
              <a:ext uri="{FF2B5EF4-FFF2-40B4-BE49-F238E27FC236}">
                <a16:creationId xmlns:a16="http://schemas.microsoft.com/office/drawing/2014/main" id="{B9078AA9-CBFF-FE14-BF4E-C451F44DE4A1}"/>
              </a:ext>
            </a:extLst>
          </p:cNvPr>
          <p:cNvSpPr txBox="1"/>
          <p:nvPr/>
        </p:nvSpPr>
        <p:spPr>
          <a:xfrm>
            <a:off x="6022230" y="2752025"/>
            <a:ext cx="562975" cy="246221"/>
          </a:xfrm>
          <a:prstGeom prst="rect">
            <a:avLst/>
          </a:prstGeom>
          <a:noFill/>
        </p:spPr>
        <p:txBody>
          <a:bodyPr wrap="non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DA281C"/>
                </a:solidFill>
                <a:effectLst/>
                <a:uLnTx/>
                <a:uFillTx/>
                <a:latin typeface="Aptos" panose="020B0004020202020204" pitchFamily="34" charset="0"/>
                <a:ea typeface="Arial" charset="0"/>
                <a:cs typeface="Arial" panose="020B0604020202020204" pitchFamily="34" charset="0"/>
              </a:rPr>
              <a:t>Transit</a:t>
            </a:r>
          </a:p>
        </p:txBody>
      </p:sp>
      <p:sp>
        <p:nvSpPr>
          <p:cNvPr id="81" name="TextBox 505">
            <a:extLst>
              <a:ext uri="{FF2B5EF4-FFF2-40B4-BE49-F238E27FC236}">
                <a16:creationId xmlns:a16="http://schemas.microsoft.com/office/drawing/2014/main" id="{9CB1D535-AF1A-E276-AF57-33690E31A3F2}"/>
              </a:ext>
            </a:extLst>
          </p:cNvPr>
          <p:cNvSpPr txBox="1"/>
          <p:nvPr/>
        </p:nvSpPr>
        <p:spPr>
          <a:xfrm>
            <a:off x="5501182" y="2973535"/>
            <a:ext cx="1654862" cy="5637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30’ and 60’ urban busses. Stop and go duty cycle demanding durability</a:t>
            </a: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t>
            </a: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82" name="TextBox 506">
            <a:extLst>
              <a:ext uri="{FF2B5EF4-FFF2-40B4-BE49-F238E27FC236}">
                <a16:creationId xmlns:a16="http://schemas.microsoft.com/office/drawing/2014/main" id="{B4FD556A-9124-FCA1-46E6-E53015260166}"/>
              </a:ext>
            </a:extLst>
          </p:cNvPr>
          <p:cNvSpPr txBox="1"/>
          <p:nvPr/>
        </p:nvSpPr>
        <p:spPr>
          <a:xfrm>
            <a:off x="4922950" y="4670059"/>
            <a:ext cx="428322" cy="246221"/>
          </a:xfrm>
          <a:prstGeom prst="rect">
            <a:avLst/>
          </a:prstGeom>
          <a:noFill/>
        </p:spPr>
        <p:txBody>
          <a:bodyPr wrap="non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DA281C"/>
                </a:solidFill>
                <a:effectLst/>
                <a:uLnTx/>
                <a:uFillTx/>
                <a:latin typeface="Aptos" panose="020B0004020202020204" pitchFamily="34" charset="0"/>
                <a:ea typeface="Arial" charset="0"/>
                <a:cs typeface="Arial" panose="020B0604020202020204" pitchFamily="34" charset="0"/>
              </a:rPr>
              <a:t>P&amp;D</a:t>
            </a:r>
          </a:p>
        </p:txBody>
      </p:sp>
      <p:sp>
        <p:nvSpPr>
          <p:cNvPr id="83" name="TextBox 507">
            <a:extLst>
              <a:ext uri="{FF2B5EF4-FFF2-40B4-BE49-F238E27FC236}">
                <a16:creationId xmlns:a16="http://schemas.microsoft.com/office/drawing/2014/main" id="{CE48CB26-2587-1D78-0695-E915842C4066}"/>
              </a:ext>
            </a:extLst>
          </p:cNvPr>
          <p:cNvSpPr txBox="1"/>
          <p:nvPr/>
        </p:nvSpPr>
        <p:spPr>
          <a:xfrm>
            <a:off x="7899297" y="2959446"/>
            <a:ext cx="1314558" cy="407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Power on demand and reliability. </a:t>
            </a:r>
          </a:p>
        </p:txBody>
      </p:sp>
      <p:sp>
        <p:nvSpPr>
          <p:cNvPr id="84" name="TextBox 510">
            <a:extLst>
              <a:ext uri="{FF2B5EF4-FFF2-40B4-BE49-F238E27FC236}">
                <a16:creationId xmlns:a16="http://schemas.microsoft.com/office/drawing/2014/main" id="{6C4B6122-4676-D9EA-05C5-4FCDE6629D35}"/>
              </a:ext>
            </a:extLst>
          </p:cNvPr>
          <p:cNvSpPr txBox="1"/>
          <p:nvPr/>
        </p:nvSpPr>
        <p:spPr>
          <a:xfrm>
            <a:off x="8232459" y="2752088"/>
            <a:ext cx="696024" cy="246221"/>
          </a:xfrm>
          <a:prstGeom prst="rect">
            <a:avLst/>
          </a:prstGeom>
          <a:noFill/>
        </p:spPr>
        <p:txBody>
          <a:bodyPr wrap="non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DA281C"/>
                </a:solidFill>
                <a:effectLst/>
                <a:uLnTx/>
                <a:uFillTx/>
                <a:latin typeface="Aptos" panose="020B0004020202020204" pitchFamily="34" charset="0"/>
                <a:ea typeface="Arial" charset="0"/>
                <a:cs typeface="Arial" panose="020B0604020202020204" pitchFamily="34" charset="0"/>
              </a:rPr>
              <a:t>Specialty</a:t>
            </a:r>
          </a:p>
        </p:txBody>
      </p:sp>
      <p:sp>
        <p:nvSpPr>
          <p:cNvPr id="85" name="TextBox 575">
            <a:extLst>
              <a:ext uri="{FF2B5EF4-FFF2-40B4-BE49-F238E27FC236}">
                <a16:creationId xmlns:a16="http://schemas.microsoft.com/office/drawing/2014/main" id="{E442B38D-AFDB-A113-940A-A48F938A56E3}"/>
              </a:ext>
            </a:extLst>
          </p:cNvPr>
          <p:cNvSpPr txBox="1"/>
          <p:nvPr/>
        </p:nvSpPr>
        <p:spPr>
          <a:xfrm>
            <a:off x="4304812" y="4870492"/>
            <a:ext cx="16645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ay to day operation focused on lowering cost.</a:t>
            </a:r>
          </a:p>
        </p:txBody>
      </p:sp>
      <p:grpSp>
        <p:nvGrpSpPr>
          <p:cNvPr id="86" name="Group 576">
            <a:extLst>
              <a:ext uri="{FF2B5EF4-FFF2-40B4-BE49-F238E27FC236}">
                <a16:creationId xmlns:a16="http://schemas.microsoft.com/office/drawing/2014/main" id="{BE962CB9-7752-E453-938A-509061843EF5}"/>
              </a:ext>
            </a:extLst>
          </p:cNvPr>
          <p:cNvGrpSpPr>
            <a:grpSpLocks noChangeAspect="1"/>
          </p:cNvGrpSpPr>
          <p:nvPr/>
        </p:nvGrpSpPr>
        <p:grpSpPr>
          <a:xfrm>
            <a:off x="6860673" y="4265042"/>
            <a:ext cx="1192323" cy="381513"/>
            <a:chOff x="9117172" y="5463495"/>
            <a:chExt cx="2376488" cy="760413"/>
          </a:xfrm>
        </p:grpSpPr>
        <p:sp>
          <p:nvSpPr>
            <p:cNvPr id="87" name="Rectangle 1726">
              <a:extLst>
                <a:ext uri="{FF2B5EF4-FFF2-40B4-BE49-F238E27FC236}">
                  <a16:creationId xmlns:a16="http://schemas.microsoft.com/office/drawing/2014/main" id="{0145216B-E751-7700-8FAD-FE9BCBF810D8}"/>
                </a:ext>
              </a:extLst>
            </p:cNvPr>
            <p:cNvSpPr>
              <a:spLocks noChangeArrowheads="1"/>
            </p:cNvSpPr>
            <p:nvPr/>
          </p:nvSpPr>
          <p:spPr bwMode="auto">
            <a:xfrm>
              <a:off x="9117172" y="5463495"/>
              <a:ext cx="1839913" cy="560388"/>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8" name="Rectangle 1727">
              <a:extLst>
                <a:ext uri="{FF2B5EF4-FFF2-40B4-BE49-F238E27FC236}">
                  <a16:creationId xmlns:a16="http://schemas.microsoft.com/office/drawing/2014/main" id="{A3223DE9-CDDB-A197-4A45-34E1E7C86D15}"/>
                </a:ext>
              </a:extLst>
            </p:cNvPr>
            <p:cNvSpPr>
              <a:spLocks noChangeArrowheads="1"/>
            </p:cNvSpPr>
            <p:nvPr/>
          </p:nvSpPr>
          <p:spPr bwMode="auto">
            <a:xfrm>
              <a:off x="9117172" y="5463495"/>
              <a:ext cx="1839913" cy="560388"/>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9" name="Rectangle 1728">
              <a:extLst>
                <a:ext uri="{FF2B5EF4-FFF2-40B4-BE49-F238E27FC236}">
                  <a16:creationId xmlns:a16="http://schemas.microsoft.com/office/drawing/2014/main" id="{D2A121BA-F0A4-1FCE-6538-D1A3DC05C651}"/>
                </a:ext>
              </a:extLst>
            </p:cNvPr>
            <p:cNvSpPr>
              <a:spLocks noChangeArrowheads="1"/>
            </p:cNvSpPr>
            <p:nvPr/>
          </p:nvSpPr>
          <p:spPr bwMode="auto">
            <a:xfrm>
              <a:off x="9117172" y="5858783"/>
              <a:ext cx="1839913" cy="165100"/>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0" name="Rectangle 1729">
              <a:extLst>
                <a:ext uri="{FF2B5EF4-FFF2-40B4-BE49-F238E27FC236}">
                  <a16:creationId xmlns:a16="http://schemas.microsoft.com/office/drawing/2014/main" id="{56E67EC7-AD8E-3CED-0146-40517A67F519}"/>
                </a:ext>
              </a:extLst>
            </p:cNvPr>
            <p:cNvSpPr>
              <a:spLocks noChangeArrowheads="1"/>
            </p:cNvSpPr>
            <p:nvPr/>
          </p:nvSpPr>
          <p:spPr bwMode="auto">
            <a:xfrm>
              <a:off x="9117172" y="5858783"/>
              <a:ext cx="1839913" cy="165100"/>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1" name="Rectangle 1730">
              <a:extLst>
                <a:ext uri="{FF2B5EF4-FFF2-40B4-BE49-F238E27FC236}">
                  <a16:creationId xmlns:a16="http://schemas.microsoft.com/office/drawing/2014/main" id="{88BA35DF-99DB-4CC1-CA17-AF21BB2E3A6F}"/>
                </a:ext>
              </a:extLst>
            </p:cNvPr>
            <p:cNvSpPr>
              <a:spLocks noChangeArrowheads="1"/>
            </p:cNvSpPr>
            <p:nvPr/>
          </p:nvSpPr>
          <p:spPr bwMode="auto">
            <a:xfrm>
              <a:off x="10418922" y="6025470"/>
              <a:ext cx="625475" cy="98425"/>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2" name="Rectangle 1731">
              <a:extLst>
                <a:ext uri="{FF2B5EF4-FFF2-40B4-BE49-F238E27FC236}">
                  <a16:creationId xmlns:a16="http://schemas.microsoft.com/office/drawing/2014/main" id="{6890870A-E03A-F95D-7CDE-AA9E4B757484}"/>
                </a:ext>
              </a:extLst>
            </p:cNvPr>
            <p:cNvSpPr>
              <a:spLocks noChangeArrowheads="1"/>
            </p:cNvSpPr>
            <p:nvPr/>
          </p:nvSpPr>
          <p:spPr bwMode="auto">
            <a:xfrm>
              <a:off x="10418922" y="6025470"/>
              <a:ext cx="625475" cy="98425"/>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3" name="Rectangle 1732">
              <a:extLst>
                <a:ext uri="{FF2B5EF4-FFF2-40B4-BE49-F238E27FC236}">
                  <a16:creationId xmlns:a16="http://schemas.microsoft.com/office/drawing/2014/main" id="{343FBCA4-924E-D740-4E6E-20DF03912881}"/>
                </a:ext>
              </a:extLst>
            </p:cNvPr>
            <p:cNvSpPr>
              <a:spLocks noChangeArrowheads="1"/>
            </p:cNvSpPr>
            <p:nvPr/>
          </p:nvSpPr>
          <p:spPr bwMode="auto">
            <a:xfrm>
              <a:off x="9117172" y="6025470"/>
              <a:ext cx="1363663" cy="55563"/>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4" name="Rectangle 1733">
              <a:extLst>
                <a:ext uri="{FF2B5EF4-FFF2-40B4-BE49-F238E27FC236}">
                  <a16:creationId xmlns:a16="http://schemas.microsoft.com/office/drawing/2014/main" id="{24065308-C822-E5DA-A964-41385F2587E9}"/>
                </a:ext>
              </a:extLst>
            </p:cNvPr>
            <p:cNvSpPr>
              <a:spLocks noChangeArrowheads="1"/>
            </p:cNvSpPr>
            <p:nvPr/>
          </p:nvSpPr>
          <p:spPr bwMode="auto">
            <a:xfrm>
              <a:off x="9117172" y="6025470"/>
              <a:ext cx="1363663" cy="55563"/>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5" name="Rectangle 1734">
              <a:extLst>
                <a:ext uri="{FF2B5EF4-FFF2-40B4-BE49-F238E27FC236}">
                  <a16:creationId xmlns:a16="http://schemas.microsoft.com/office/drawing/2014/main" id="{D0D04FBD-45CE-7844-D7B7-A865FCD2491C}"/>
                </a:ext>
              </a:extLst>
            </p:cNvPr>
            <p:cNvSpPr>
              <a:spLocks noChangeArrowheads="1"/>
            </p:cNvSpPr>
            <p:nvPr/>
          </p:nvSpPr>
          <p:spPr bwMode="auto">
            <a:xfrm>
              <a:off x="9117172" y="6025470"/>
              <a:ext cx="1109663" cy="98425"/>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6" name="Rectangle 1735">
              <a:extLst>
                <a:ext uri="{FF2B5EF4-FFF2-40B4-BE49-F238E27FC236}">
                  <a16:creationId xmlns:a16="http://schemas.microsoft.com/office/drawing/2014/main" id="{1AB4F93F-A45E-969D-280D-421A88F8EE14}"/>
                </a:ext>
              </a:extLst>
            </p:cNvPr>
            <p:cNvSpPr>
              <a:spLocks noChangeArrowheads="1"/>
            </p:cNvSpPr>
            <p:nvPr/>
          </p:nvSpPr>
          <p:spPr bwMode="auto">
            <a:xfrm>
              <a:off x="9117172" y="6025470"/>
              <a:ext cx="1109663" cy="98425"/>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7" name="Freeform 1736">
              <a:extLst>
                <a:ext uri="{FF2B5EF4-FFF2-40B4-BE49-F238E27FC236}">
                  <a16:creationId xmlns:a16="http://schemas.microsoft.com/office/drawing/2014/main" id="{4CA02BD8-4C9F-43B6-92D7-5B883B610ADE}"/>
                </a:ext>
              </a:extLst>
            </p:cNvPr>
            <p:cNvSpPr>
              <a:spLocks/>
            </p:cNvSpPr>
            <p:nvPr/>
          </p:nvSpPr>
          <p:spPr bwMode="auto">
            <a:xfrm>
              <a:off x="11007884" y="5571445"/>
              <a:ext cx="381000" cy="74613"/>
            </a:xfrm>
            <a:custGeom>
              <a:avLst/>
              <a:gdLst>
                <a:gd name="T0" fmla="*/ 76 w 240"/>
                <a:gd name="T1" fmla="*/ 0 h 47"/>
                <a:gd name="T2" fmla="*/ 76 w 240"/>
                <a:gd name="T3" fmla="*/ 0 h 47"/>
                <a:gd name="T4" fmla="*/ 211 w 240"/>
                <a:gd name="T5" fmla="*/ 0 h 47"/>
                <a:gd name="T6" fmla="*/ 240 w 240"/>
                <a:gd name="T7" fmla="*/ 47 h 47"/>
                <a:gd name="T8" fmla="*/ 76 w 240"/>
                <a:gd name="T9" fmla="*/ 47 h 47"/>
                <a:gd name="T10" fmla="*/ 76 w 240"/>
                <a:gd name="T11" fmla="*/ 47 h 47"/>
                <a:gd name="T12" fmla="*/ 0 w 240"/>
                <a:gd name="T13" fmla="*/ 47 h 47"/>
                <a:gd name="T14" fmla="*/ 0 w 240"/>
                <a:gd name="T15" fmla="*/ 0 h 47"/>
                <a:gd name="T16" fmla="*/ 76 w 240"/>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47">
                  <a:moveTo>
                    <a:pt x="76" y="0"/>
                  </a:moveTo>
                  <a:lnTo>
                    <a:pt x="76" y="0"/>
                  </a:lnTo>
                  <a:lnTo>
                    <a:pt x="211" y="0"/>
                  </a:lnTo>
                  <a:lnTo>
                    <a:pt x="240" y="47"/>
                  </a:lnTo>
                  <a:lnTo>
                    <a:pt x="76" y="47"/>
                  </a:lnTo>
                  <a:lnTo>
                    <a:pt x="76" y="47"/>
                  </a:lnTo>
                  <a:lnTo>
                    <a:pt x="0" y="47"/>
                  </a:lnTo>
                  <a:lnTo>
                    <a:pt x="0" y="0"/>
                  </a:lnTo>
                  <a:lnTo>
                    <a:pt x="76"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8" name="Freeform 1737">
              <a:extLst>
                <a:ext uri="{FF2B5EF4-FFF2-40B4-BE49-F238E27FC236}">
                  <a16:creationId xmlns:a16="http://schemas.microsoft.com/office/drawing/2014/main" id="{95D6268D-5FF0-2B8A-BE0E-1F31CA24C310}"/>
                </a:ext>
              </a:extLst>
            </p:cNvPr>
            <p:cNvSpPr>
              <a:spLocks/>
            </p:cNvSpPr>
            <p:nvPr/>
          </p:nvSpPr>
          <p:spPr bwMode="auto">
            <a:xfrm>
              <a:off x="11128534" y="5646058"/>
              <a:ext cx="350838" cy="354013"/>
            </a:xfrm>
            <a:custGeom>
              <a:avLst/>
              <a:gdLst>
                <a:gd name="T0" fmla="*/ 164 w 221"/>
                <a:gd name="T1" fmla="*/ 0 h 223"/>
                <a:gd name="T2" fmla="*/ 221 w 221"/>
                <a:gd name="T3" fmla="*/ 110 h 223"/>
                <a:gd name="T4" fmla="*/ 221 w 221"/>
                <a:gd name="T5" fmla="*/ 223 h 223"/>
                <a:gd name="T6" fmla="*/ 0 w 221"/>
                <a:gd name="T7" fmla="*/ 223 h 223"/>
                <a:gd name="T8" fmla="*/ 0 w 221"/>
                <a:gd name="T9" fmla="*/ 0 h 223"/>
                <a:gd name="T10" fmla="*/ 164 w 221"/>
                <a:gd name="T11" fmla="*/ 0 h 223"/>
              </a:gdLst>
              <a:ahLst/>
              <a:cxnLst>
                <a:cxn ang="0">
                  <a:pos x="T0" y="T1"/>
                </a:cxn>
                <a:cxn ang="0">
                  <a:pos x="T2" y="T3"/>
                </a:cxn>
                <a:cxn ang="0">
                  <a:pos x="T4" y="T5"/>
                </a:cxn>
                <a:cxn ang="0">
                  <a:pos x="T6" y="T7"/>
                </a:cxn>
                <a:cxn ang="0">
                  <a:pos x="T8" y="T9"/>
                </a:cxn>
                <a:cxn ang="0">
                  <a:pos x="T10" y="T11"/>
                </a:cxn>
              </a:cxnLst>
              <a:rect l="0" t="0" r="r" b="b"/>
              <a:pathLst>
                <a:path w="221" h="223">
                  <a:moveTo>
                    <a:pt x="164" y="0"/>
                  </a:moveTo>
                  <a:lnTo>
                    <a:pt x="221" y="110"/>
                  </a:lnTo>
                  <a:lnTo>
                    <a:pt x="221" y="223"/>
                  </a:lnTo>
                  <a:lnTo>
                    <a:pt x="0" y="223"/>
                  </a:lnTo>
                  <a:lnTo>
                    <a:pt x="0" y="0"/>
                  </a:lnTo>
                  <a:lnTo>
                    <a:pt x="164"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9" name="Freeform 1738">
              <a:extLst>
                <a:ext uri="{FF2B5EF4-FFF2-40B4-BE49-F238E27FC236}">
                  <a16:creationId xmlns:a16="http://schemas.microsoft.com/office/drawing/2014/main" id="{DAD6D34F-FE20-74BF-6CB4-93E00CA6937C}"/>
                </a:ext>
              </a:extLst>
            </p:cNvPr>
            <p:cNvSpPr>
              <a:spLocks/>
            </p:cNvSpPr>
            <p:nvPr/>
          </p:nvSpPr>
          <p:spPr bwMode="auto">
            <a:xfrm>
              <a:off x="11128534" y="5571445"/>
              <a:ext cx="260350" cy="74613"/>
            </a:xfrm>
            <a:custGeom>
              <a:avLst/>
              <a:gdLst>
                <a:gd name="T0" fmla="*/ 0 w 164"/>
                <a:gd name="T1" fmla="*/ 0 h 47"/>
                <a:gd name="T2" fmla="*/ 135 w 164"/>
                <a:gd name="T3" fmla="*/ 0 h 47"/>
                <a:gd name="T4" fmla="*/ 164 w 164"/>
                <a:gd name="T5" fmla="*/ 47 h 47"/>
                <a:gd name="T6" fmla="*/ 0 w 164"/>
                <a:gd name="T7" fmla="*/ 47 h 47"/>
              </a:gdLst>
              <a:ahLst/>
              <a:cxnLst>
                <a:cxn ang="0">
                  <a:pos x="T0" y="T1"/>
                </a:cxn>
                <a:cxn ang="0">
                  <a:pos x="T2" y="T3"/>
                </a:cxn>
                <a:cxn ang="0">
                  <a:pos x="T4" y="T5"/>
                </a:cxn>
                <a:cxn ang="0">
                  <a:pos x="T6" y="T7"/>
                </a:cxn>
              </a:cxnLst>
              <a:rect l="0" t="0" r="r" b="b"/>
              <a:pathLst>
                <a:path w="164" h="47">
                  <a:moveTo>
                    <a:pt x="0" y="0"/>
                  </a:moveTo>
                  <a:lnTo>
                    <a:pt x="135" y="0"/>
                  </a:lnTo>
                  <a:lnTo>
                    <a:pt x="164" y="47"/>
                  </a:lnTo>
                  <a:lnTo>
                    <a:pt x="0" y="47"/>
                  </a:lnTo>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0" name="Freeform 1739">
              <a:extLst>
                <a:ext uri="{FF2B5EF4-FFF2-40B4-BE49-F238E27FC236}">
                  <a16:creationId xmlns:a16="http://schemas.microsoft.com/office/drawing/2014/main" id="{C15224DB-E8E4-32A6-DE26-D32A9AA01B23}"/>
                </a:ext>
              </a:extLst>
            </p:cNvPr>
            <p:cNvSpPr>
              <a:spLocks/>
            </p:cNvSpPr>
            <p:nvPr/>
          </p:nvSpPr>
          <p:spPr bwMode="auto">
            <a:xfrm>
              <a:off x="11128534" y="5646058"/>
              <a:ext cx="350838" cy="354013"/>
            </a:xfrm>
            <a:custGeom>
              <a:avLst/>
              <a:gdLst>
                <a:gd name="T0" fmla="*/ 164 w 221"/>
                <a:gd name="T1" fmla="*/ 0 h 223"/>
                <a:gd name="T2" fmla="*/ 221 w 221"/>
                <a:gd name="T3" fmla="*/ 110 h 223"/>
                <a:gd name="T4" fmla="*/ 221 w 221"/>
                <a:gd name="T5" fmla="*/ 223 h 223"/>
                <a:gd name="T6" fmla="*/ 0 w 221"/>
                <a:gd name="T7" fmla="*/ 223 h 223"/>
                <a:gd name="T8" fmla="*/ 0 w 221"/>
                <a:gd name="T9" fmla="*/ 0 h 223"/>
                <a:gd name="T10" fmla="*/ 164 w 221"/>
                <a:gd name="T11" fmla="*/ 0 h 223"/>
              </a:gdLst>
              <a:ahLst/>
              <a:cxnLst>
                <a:cxn ang="0">
                  <a:pos x="T0" y="T1"/>
                </a:cxn>
                <a:cxn ang="0">
                  <a:pos x="T2" y="T3"/>
                </a:cxn>
                <a:cxn ang="0">
                  <a:pos x="T4" y="T5"/>
                </a:cxn>
                <a:cxn ang="0">
                  <a:pos x="T6" y="T7"/>
                </a:cxn>
                <a:cxn ang="0">
                  <a:pos x="T8" y="T9"/>
                </a:cxn>
                <a:cxn ang="0">
                  <a:pos x="T10" y="T11"/>
                </a:cxn>
              </a:cxnLst>
              <a:rect l="0" t="0" r="r" b="b"/>
              <a:pathLst>
                <a:path w="221" h="223">
                  <a:moveTo>
                    <a:pt x="164" y="0"/>
                  </a:moveTo>
                  <a:lnTo>
                    <a:pt x="221" y="110"/>
                  </a:lnTo>
                  <a:lnTo>
                    <a:pt x="221" y="223"/>
                  </a:lnTo>
                  <a:lnTo>
                    <a:pt x="0" y="223"/>
                  </a:lnTo>
                  <a:lnTo>
                    <a:pt x="0" y="0"/>
                  </a:lnTo>
                  <a:lnTo>
                    <a:pt x="164"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1" name="Freeform 1740">
              <a:extLst>
                <a:ext uri="{FF2B5EF4-FFF2-40B4-BE49-F238E27FC236}">
                  <a16:creationId xmlns:a16="http://schemas.microsoft.com/office/drawing/2014/main" id="{A50466FE-FCBA-B107-AE17-A6C59C402F5D}"/>
                </a:ext>
              </a:extLst>
            </p:cNvPr>
            <p:cNvSpPr>
              <a:spLocks/>
            </p:cNvSpPr>
            <p:nvPr/>
          </p:nvSpPr>
          <p:spPr bwMode="auto">
            <a:xfrm>
              <a:off x="11182509" y="5698445"/>
              <a:ext cx="217488" cy="104775"/>
            </a:xfrm>
            <a:custGeom>
              <a:avLst/>
              <a:gdLst>
                <a:gd name="T0" fmla="*/ 137 w 137"/>
                <a:gd name="T1" fmla="*/ 66 h 66"/>
                <a:gd name="T2" fmla="*/ 104 w 137"/>
                <a:gd name="T3" fmla="*/ 0 h 66"/>
                <a:gd name="T4" fmla="*/ 0 w 137"/>
                <a:gd name="T5" fmla="*/ 0 h 66"/>
                <a:gd name="T6" fmla="*/ 0 w 137"/>
                <a:gd name="T7" fmla="*/ 66 h 66"/>
                <a:gd name="T8" fmla="*/ 137 w 137"/>
                <a:gd name="T9" fmla="*/ 66 h 66"/>
              </a:gdLst>
              <a:ahLst/>
              <a:cxnLst>
                <a:cxn ang="0">
                  <a:pos x="T0" y="T1"/>
                </a:cxn>
                <a:cxn ang="0">
                  <a:pos x="T2" y="T3"/>
                </a:cxn>
                <a:cxn ang="0">
                  <a:pos x="T4" y="T5"/>
                </a:cxn>
                <a:cxn ang="0">
                  <a:pos x="T6" y="T7"/>
                </a:cxn>
                <a:cxn ang="0">
                  <a:pos x="T8" y="T9"/>
                </a:cxn>
              </a:cxnLst>
              <a:rect l="0" t="0" r="r" b="b"/>
              <a:pathLst>
                <a:path w="137" h="66">
                  <a:moveTo>
                    <a:pt x="137" y="66"/>
                  </a:moveTo>
                  <a:lnTo>
                    <a:pt x="104" y="0"/>
                  </a:lnTo>
                  <a:lnTo>
                    <a:pt x="0" y="0"/>
                  </a:lnTo>
                  <a:lnTo>
                    <a:pt x="0" y="66"/>
                  </a:lnTo>
                  <a:lnTo>
                    <a:pt x="137" y="66"/>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2" name="Freeform 1741">
              <a:extLst>
                <a:ext uri="{FF2B5EF4-FFF2-40B4-BE49-F238E27FC236}">
                  <a16:creationId xmlns:a16="http://schemas.microsoft.com/office/drawing/2014/main" id="{6C458B0B-9DD5-024B-BCBB-DE5917C5D051}"/>
                </a:ext>
              </a:extLst>
            </p:cNvPr>
            <p:cNvSpPr>
              <a:spLocks/>
            </p:cNvSpPr>
            <p:nvPr/>
          </p:nvSpPr>
          <p:spPr bwMode="auto">
            <a:xfrm>
              <a:off x="11182509" y="5698445"/>
              <a:ext cx="217488" cy="104775"/>
            </a:xfrm>
            <a:custGeom>
              <a:avLst/>
              <a:gdLst>
                <a:gd name="T0" fmla="*/ 137 w 137"/>
                <a:gd name="T1" fmla="*/ 66 h 66"/>
                <a:gd name="T2" fmla="*/ 104 w 137"/>
                <a:gd name="T3" fmla="*/ 0 h 66"/>
                <a:gd name="T4" fmla="*/ 0 w 137"/>
                <a:gd name="T5" fmla="*/ 0 h 66"/>
                <a:gd name="T6" fmla="*/ 0 w 137"/>
                <a:gd name="T7" fmla="*/ 66 h 66"/>
                <a:gd name="T8" fmla="*/ 137 w 137"/>
                <a:gd name="T9" fmla="*/ 66 h 66"/>
              </a:gdLst>
              <a:ahLst/>
              <a:cxnLst>
                <a:cxn ang="0">
                  <a:pos x="T0" y="T1"/>
                </a:cxn>
                <a:cxn ang="0">
                  <a:pos x="T2" y="T3"/>
                </a:cxn>
                <a:cxn ang="0">
                  <a:pos x="T4" y="T5"/>
                </a:cxn>
                <a:cxn ang="0">
                  <a:pos x="T6" y="T7"/>
                </a:cxn>
                <a:cxn ang="0">
                  <a:pos x="T8" y="T9"/>
                </a:cxn>
              </a:cxnLst>
              <a:rect l="0" t="0" r="r" b="b"/>
              <a:pathLst>
                <a:path w="137" h="66">
                  <a:moveTo>
                    <a:pt x="137" y="66"/>
                  </a:moveTo>
                  <a:lnTo>
                    <a:pt x="104" y="0"/>
                  </a:lnTo>
                  <a:lnTo>
                    <a:pt x="0" y="0"/>
                  </a:lnTo>
                  <a:lnTo>
                    <a:pt x="0" y="66"/>
                  </a:lnTo>
                  <a:lnTo>
                    <a:pt x="137" y="66"/>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3" name="Line 1742">
              <a:extLst>
                <a:ext uri="{FF2B5EF4-FFF2-40B4-BE49-F238E27FC236}">
                  <a16:creationId xmlns:a16="http://schemas.microsoft.com/office/drawing/2014/main" id="{C6854498-628B-2947-7D6E-2E0BA4F39184}"/>
                </a:ext>
              </a:extLst>
            </p:cNvPr>
            <p:cNvSpPr>
              <a:spLocks noChangeShapeType="1"/>
            </p:cNvSpPr>
            <p:nvPr/>
          </p:nvSpPr>
          <p:spPr bwMode="auto">
            <a:xfrm>
              <a:off x="11174572" y="5873070"/>
              <a:ext cx="58738" cy="0"/>
            </a:xfrm>
            <a:prstGeom prst="line">
              <a:avLst/>
            </a:prstGeom>
            <a:noFill/>
            <a:ln w="1270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4" name="Rectangle 1743">
              <a:extLst>
                <a:ext uri="{FF2B5EF4-FFF2-40B4-BE49-F238E27FC236}">
                  <a16:creationId xmlns:a16="http://schemas.microsoft.com/office/drawing/2014/main" id="{B0EE1AD9-A8A3-1A61-4CA7-B897550C2545}"/>
                </a:ext>
              </a:extLst>
            </p:cNvPr>
            <p:cNvSpPr>
              <a:spLocks noChangeArrowheads="1"/>
            </p:cNvSpPr>
            <p:nvPr/>
          </p:nvSpPr>
          <p:spPr bwMode="auto">
            <a:xfrm>
              <a:off x="11128534" y="6000070"/>
              <a:ext cx="365125" cy="123825"/>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5" name="Rectangle 1744">
              <a:extLst>
                <a:ext uri="{FF2B5EF4-FFF2-40B4-BE49-F238E27FC236}">
                  <a16:creationId xmlns:a16="http://schemas.microsoft.com/office/drawing/2014/main" id="{BC864AB7-711F-8666-896A-279E585EAF8C}"/>
                </a:ext>
              </a:extLst>
            </p:cNvPr>
            <p:cNvSpPr>
              <a:spLocks noChangeArrowheads="1"/>
            </p:cNvSpPr>
            <p:nvPr/>
          </p:nvSpPr>
          <p:spPr bwMode="auto">
            <a:xfrm>
              <a:off x="11128534" y="6000070"/>
              <a:ext cx="365125" cy="123825"/>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6" name="Rectangle 1745">
              <a:extLst>
                <a:ext uri="{FF2B5EF4-FFF2-40B4-BE49-F238E27FC236}">
                  <a16:creationId xmlns:a16="http://schemas.microsoft.com/office/drawing/2014/main" id="{387FFCFE-AB52-4BB1-8478-9F8E5CF51604}"/>
                </a:ext>
              </a:extLst>
            </p:cNvPr>
            <p:cNvSpPr>
              <a:spLocks noChangeArrowheads="1"/>
            </p:cNvSpPr>
            <p:nvPr/>
          </p:nvSpPr>
          <p:spPr bwMode="auto">
            <a:xfrm>
              <a:off x="11007884" y="5646058"/>
              <a:ext cx="120650" cy="477838"/>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7" name="Freeform 1746">
              <a:extLst>
                <a:ext uri="{FF2B5EF4-FFF2-40B4-BE49-F238E27FC236}">
                  <a16:creationId xmlns:a16="http://schemas.microsoft.com/office/drawing/2014/main" id="{50D1379F-FB51-C34F-9B0B-B156BD668B48}"/>
                </a:ext>
              </a:extLst>
            </p:cNvPr>
            <p:cNvSpPr>
              <a:spLocks/>
            </p:cNvSpPr>
            <p:nvPr/>
          </p:nvSpPr>
          <p:spPr bwMode="auto">
            <a:xfrm>
              <a:off x="11007884" y="5571445"/>
              <a:ext cx="120650" cy="74613"/>
            </a:xfrm>
            <a:custGeom>
              <a:avLst/>
              <a:gdLst>
                <a:gd name="T0" fmla="*/ 76 w 76"/>
                <a:gd name="T1" fmla="*/ 47 h 47"/>
                <a:gd name="T2" fmla="*/ 0 w 76"/>
                <a:gd name="T3" fmla="*/ 47 h 47"/>
                <a:gd name="T4" fmla="*/ 0 w 76"/>
                <a:gd name="T5" fmla="*/ 0 h 47"/>
                <a:gd name="T6" fmla="*/ 76 w 76"/>
                <a:gd name="T7" fmla="*/ 0 h 47"/>
              </a:gdLst>
              <a:ahLst/>
              <a:cxnLst>
                <a:cxn ang="0">
                  <a:pos x="T0" y="T1"/>
                </a:cxn>
                <a:cxn ang="0">
                  <a:pos x="T2" y="T3"/>
                </a:cxn>
                <a:cxn ang="0">
                  <a:pos x="T4" y="T5"/>
                </a:cxn>
                <a:cxn ang="0">
                  <a:pos x="T6" y="T7"/>
                </a:cxn>
              </a:cxnLst>
              <a:rect l="0" t="0" r="r" b="b"/>
              <a:pathLst>
                <a:path w="76" h="47">
                  <a:moveTo>
                    <a:pt x="76" y="47"/>
                  </a:moveTo>
                  <a:lnTo>
                    <a:pt x="0" y="47"/>
                  </a:lnTo>
                  <a:lnTo>
                    <a:pt x="0" y="0"/>
                  </a:lnTo>
                  <a:lnTo>
                    <a:pt x="76" y="0"/>
                  </a:lnTo>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8" name="Rectangle 1747">
              <a:extLst>
                <a:ext uri="{FF2B5EF4-FFF2-40B4-BE49-F238E27FC236}">
                  <a16:creationId xmlns:a16="http://schemas.microsoft.com/office/drawing/2014/main" id="{35BF74D3-656A-0EC1-834C-6E684FAA2B56}"/>
                </a:ext>
              </a:extLst>
            </p:cNvPr>
            <p:cNvSpPr>
              <a:spLocks noChangeArrowheads="1"/>
            </p:cNvSpPr>
            <p:nvPr/>
          </p:nvSpPr>
          <p:spPr bwMode="auto">
            <a:xfrm>
              <a:off x="11007884" y="5646058"/>
              <a:ext cx="120650" cy="477838"/>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9" name="Rectangle 1748">
              <a:extLst>
                <a:ext uri="{FF2B5EF4-FFF2-40B4-BE49-F238E27FC236}">
                  <a16:creationId xmlns:a16="http://schemas.microsoft.com/office/drawing/2014/main" id="{3AF4B416-C3A6-120B-5799-05E683C22412}"/>
                </a:ext>
              </a:extLst>
            </p:cNvPr>
            <p:cNvSpPr>
              <a:spLocks noChangeArrowheads="1"/>
            </p:cNvSpPr>
            <p:nvPr/>
          </p:nvSpPr>
          <p:spPr bwMode="auto">
            <a:xfrm>
              <a:off x="11045984" y="5698445"/>
              <a:ext cx="44450" cy="104775"/>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0" name="Line 1749">
              <a:extLst>
                <a:ext uri="{FF2B5EF4-FFF2-40B4-BE49-F238E27FC236}">
                  <a16:creationId xmlns:a16="http://schemas.microsoft.com/office/drawing/2014/main" id="{D61D26E2-0C44-506F-82FF-D11F46421F1C}"/>
                </a:ext>
              </a:extLst>
            </p:cNvPr>
            <p:cNvSpPr>
              <a:spLocks noChangeShapeType="1"/>
            </p:cNvSpPr>
            <p:nvPr/>
          </p:nvSpPr>
          <p:spPr bwMode="auto">
            <a:xfrm flipH="1">
              <a:off x="11045984" y="5698445"/>
              <a:ext cx="44450" cy="0"/>
            </a:xfrm>
            <a:prstGeom prst="line">
              <a:avLst/>
            </a:prstGeom>
            <a:noFill/>
            <a:ln w="1270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1" name="Rectangle 1750">
              <a:extLst>
                <a:ext uri="{FF2B5EF4-FFF2-40B4-BE49-F238E27FC236}">
                  <a16:creationId xmlns:a16="http://schemas.microsoft.com/office/drawing/2014/main" id="{8C86A863-3783-B8B1-F560-742663922E18}"/>
                </a:ext>
              </a:extLst>
            </p:cNvPr>
            <p:cNvSpPr>
              <a:spLocks noChangeArrowheads="1"/>
            </p:cNvSpPr>
            <p:nvPr/>
          </p:nvSpPr>
          <p:spPr bwMode="auto">
            <a:xfrm>
              <a:off x="11045984" y="5698445"/>
              <a:ext cx="44450" cy="104775"/>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2" name="Freeform 1751">
              <a:extLst>
                <a:ext uri="{FF2B5EF4-FFF2-40B4-BE49-F238E27FC236}">
                  <a16:creationId xmlns:a16="http://schemas.microsoft.com/office/drawing/2014/main" id="{991D2F0A-890B-3066-7CDF-57D03CD740A5}"/>
                </a:ext>
              </a:extLst>
            </p:cNvPr>
            <p:cNvSpPr>
              <a:spLocks/>
            </p:cNvSpPr>
            <p:nvPr/>
          </p:nvSpPr>
          <p:spPr bwMode="auto">
            <a:xfrm>
              <a:off x="11428572" y="6041345"/>
              <a:ext cx="65088" cy="38100"/>
            </a:xfrm>
            <a:custGeom>
              <a:avLst/>
              <a:gdLst>
                <a:gd name="T0" fmla="*/ 35 w 35"/>
                <a:gd name="T1" fmla="*/ 20 h 20"/>
                <a:gd name="T2" fmla="*/ 11 w 35"/>
                <a:gd name="T3" fmla="*/ 20 h 20"/>
                <a:gd name="T4" fmla="*/ 0 w 35"/>
                <a:gd name="T5" fmla="*/ 10 h 20"/>
                <a:gd name="T6" fmla="*/ 11 w 35"/>
                <a:gd name="T7" fmla="*/ 0 h 20"/>
                <a:gd name="T8" fmla="*/ 20 w 35"/>
                <a:gd name="T9" fmla="*/ 0 h 20"/>
                <a:gd name="T10" fmla="*/ 35 w 35"/>
                <a:gd name="T11" fmla="*/ 0 h 20"/>
                <a:gd name="T12" fmla="*/ 35 w 35"/>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35" h="20">
                  <a:moveTo>
                    <a:pt x="35" y="20"/>
                  </a:moveTo>
                  <a:cubicBezTo>
                    <a:pt x="11" y="20"/>
                    <a:pt x="11" y="20"/>
                    <a:pt x="11" y="20"/>
                  </a:cubicBezTo>
                  <a:cubicBezTo>
                    <a:pt x="5" y="20"/>
                    <a:pt x="0" y="15"/>
                    <a:pt x="0" y="10"/>
                  </a:cubicBezTo>
                  <a:cubicBezTo>
                    <a:pt x="0" y="4"/>
                    <a:pt x="5" y="0"/>
                    <a:pt x="11" y="0"/>
                  </a:cubicBezTo>
                  <a:cubicBezTo>
                    <a:pt x="20" y="0"/>
                    <a:pt x="20" y="0"/>
                    <a:pt x="20" y="0"/>
                  </a:cubicBezTo>
                  <a:cubicBezTo>
                    <a:pt x="35" y="0"/>
                    <a:pt x="35" y="0"/>
                    <a:pt x="35" y="0"/>
                  </a:cubicBezTo>
                  <a:lnTo>
                    <a:pt x="35" y="2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3" name="Freeform 1752">
              <a:extLst>
                <a:ext uri="{FF2B5EF4-FFF2-40B4-BE49-F238E27FC236}">
                  <a16:creationId xmlns:a16="http://schemas.microsoft.com/office/drawing/2014/main" id="{36C79673-4749-CD79-9531-25EE2DE3F20A}"/>
                </a:ext>
              </a:extLst>
            </p:cNvPr>
            <p:cNvSpPr>
              <a:spLocks/>
            </p:cNvSpPr>
            <p:nvPr/>
          </p:nvSpPr>
          <p:spPr bwMode="auto">
            <a:xfrm>
              <a:off x="11428572" y="6041345"/>
              <a:ext cx="65088" cy="38100"/>
            </a:xfrm>
            <a:custGeom>
              <a:avLst/>
              <a:gdLst>
                <a:gd name="T0" fmla="*/ 35 w 35"/>
                <a:gd name="T1" fmla="*/ 20 h 20"/>
                <a:gd name="T2" fmla="*/ 11 w 35"/>
                <a:gd name="T3" fmla="*/ 20 h 20"/>
                <a:gd name="T4" fmla="*/ 0 w 35"/>
                <a:gd name="T5" fmla="*/ 10 h 20"/>
                <a:gd name="T6" fmla="*/ 11 w 35"/>
                <a:gd name="T7" fmla="*/ 0 h 20"/>
                <a:gd name="T8" fmla="*/ 20 w 35"/>
                <a:gd name="T9" fmla="*/ 0 h 20"/>
                <a:gd name="T10" fmla="*/ 35 w 35"/>
                <a:gd name="T11" fmla="*/ 0 h 20"/>
                <a:gd name="T12" fmla="*/ 35 w 35"/>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35" h="20">
                  <a:moveTo>
                    <a:pt x="35" y="20"/>
                  </a:moveTo>
                  <a:cubicBezTo>
                    <a:pt x="11" y="20"/>
                    <a:pt x="11" y="20"/>
                    <a:pt x="11" y="20"/>
                  </a:cubicBezTo>
                  <a:cubicBezTo>
                    <a:pt x="5" y="20"/>
                    <a:pt x="0" y="15"/>
                    <a:pt x="0" y="10"/>
                  </a:cubicBezTo>
                  <a:cubicBezTo>
                    <a:pt x="0" y="4"/>
                    <a:pt x="5" y="0"/>
                    <a:pt x="11" y="0"/>
                  </a:cubicBezTo>
                  <a:cubicBezTo>
                    <a:pt x="20" y="0"/>
                    <a:pt x="20" y="0"/>
                    <a:pt x="20" y="0"/>
                  </a:cubicBezTo>
                  <a:cubicBezTo>
                    <a:pt x="35" y="0"/>
                    <a:pt x="35" y="0"/>
                    <a:pt x="35" y="0"/>
                  </a:cubicBezTo>
                  <a:lnTo>
                    <a:pt x="35" y="2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4" name="Freeform 1753">
              <a:extLst>
                <a:ext uri="{FF2B5EF4-FFF2-40B4-BE49-F238E27FC236}">
                  <a16:creationId xmlns:a16="http://schemas.microsoft.com/office/drawing/2014/main" id="{64F0C04A-5BAF-5C11-45E0-6AE4E0CBD73A}"/>
                </a:ext>
              </a:extLst>
            </p:cNvPr>
            <p:cNvSpPr>
              <a:spLocks/>
            </p:cNvSpPr>
            <p:nvPr/>
          </p:nvSpPr>
          <p:spPr bwMode="auto">
            <a:xfrm>
              <a:off x="11092022" y="5974670"/>
              <a:ext cx="295275" cy="147638"/>
            </a:xfrm>
            <a:custGeom>
              <a:avLst/>
              <a:gdLst>
                <a:gd name="T0" fmla="*/ 0 w 157"/>
                <a:gd name="T1" fmla="*/ 79 h 79"/>
                <a:gd name="T2" fmla="*/ 79 w 157"/>
                <a:gd name="T3" fmla="*/ 0 h 79"/>
                <a:gd name="T4" fmla="*/ 157 w 157"/>
                <a:gd name="T5" fmla="*/ 79 h 79"/>
                <a:gd name="T6" fmla="*/ 157 w 157"/>
                <a:gd name="T7" fmla="*/ 79 h 79"/>
                <a:gd name="T8" fmla="*/ 0 w 157"/>
                <a:gd name="T9" fmla="*/ 79 h 79"/>
              </a:gdLst>
              <a:ahLst/>
              <a:cxnLst>
                <a:cxn ang="0">
                  <a:pos x="T0" y="T1"/>
                </a:cxn>
                <a:cxn ang="0">
                  <a:pos x="T2" y="T3"/>
                </a:cxn>
                <a:cxn ang="0">
                  <a:pos x="T4" y="T5"/>
                </a:cxn>
                <a:cxn ang="0">
                  <a:pos x="T6" y="T7"/>
                </a:cxn>
                <a:cxn ang="0">
                  <a:pos x="T8" y="T9"/>
                </a:cxn>
              </a:cxnLst>
              <a:rect l="0" t="0" r="r" b="b"/>
              <a:pathLst>
                <a:path w="157" h="79">
                  <a:moveTo>
                    <a:pt x="0" y="79"/>
                  </a:moveTo>
                  <a:cubicBezTo>
                    <a:pt x="0" y="35"/>
                    <a:pt x="35" y="0"/>
                    <a:pt x="79" y="0"/>
                  </a:cubicBezTo>
                  <a:cubicBezTo>
                    <a:pt x="122" y="0"/>
                    <a:pt x="157" y="35"/>
                    <a:pt x="157" y="79"/>
                  </a:cubicBezTo>
                  <a:cubicBezTo>
                    <a:pt x="157" y="79"/>
                    <a:pt x="157" y="79"/>
                    <a:pt x="157" y="79"/>
                  </a:cubicBezTo>
                  <a:cubicBezTo>
                    <a:pt x="0" y="79"/>
                    <a:pt x="0" y="79"/>
                    <a:pt x="0" y="79"/>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5" name="Freeform 1754">
              <a:extLst>
                <a:ext uri="{FF2B5EF4-FFF2-40B4-BE49-F238E27FC236}">
                  <a16:creationId xmlns:a16="http://schemas.microsoft.com/office/drawing/2014/main" id="{A96F5691-E1F5-51C6-7455-F26350F58F1D}"/>
                </a:ext>
              </a:extLst>
            </p:cNvPr>
            <p:cNvSpPr>
              <a:spLocks/>
            </p:cNvSpPr>
            <p:nvPr/>
          </p:nvSpPr>
          <p:spPr bwMode="auto">
            <a:xfrm>
              <a:off x="11092022" y="5974670"/>
              <a:ext cx="295275" cy="147638"/>
            </a:xfrm>
            <a:custGeom>
              <a:avLst/>
              <a:gdLst>
                <a:gd name="T0" fmla="*/ 0 w 157"/>
                <a:gd name="T1" fmla="*/ 79 h 79"/>
                <a:gd name="T2" fmla="*/ 79 w 157"/>
                <a:gd name="T3" fmla="*/ 0 h 79"/>
                <a:gd name="T4" fmla="*/ 157 w 157"/>
                <a:gd name="T5" fmla="*/ 79 h 79"/>
                <a:gd name="T6" fmla="*/ 157 w 157"/>
                <a:gd name="T7" fmla="*/ 79 h 79"/>
                <a:gd name="T8" fmla="*/ 0 w 157"/>
                <a:gd name="T9" fmla="*/ 79 h 79"/>
              </a:gdLst>
              <a:ahLst/>
              <a:cxnLst>
                <a:cxn ang="0">
                  <a:pos x="T0" y="T1"/>
                </a:cxn>
                <a:cxn ang="0">
                  <a:pos x="T2" y="T3"/>
                </a:cxn>
                <a:cxn ang="0">
                  <a:pos x="T4" y="T5"/>
                </a:cxn>
                <a:cxn ang="0">
                  <a:pos x="T6" y="T7"/>
                </a:cxn>
                <a:cxn ang="0">
                  <a:pos x="T8" y="T9"/>
                </a:cxn>
              </a:cxnLst>
              <a:rect l="0" t="0" r="r" b="b"/>
              <a:pathLst>
                <a:path w="157" h="79">
                  <a:moveTo>
                    <a:pt x="0" y="79"/>
                  </a:moveTo>
                  <a:cubicBezTo>
                    <a:pt x="0" y="35"/>
                    <a:pt x="35" y="0"/>
                    <a:pt x="79" y="0"/>
                  </a:cubicBezTo>
                  <a:cubicBezTo>
                    <a:pt x="122" y="0"/>
                    <a:pt x="157" y="35"/>
                    <a:pt x="157" y="79"/>
                  </a:cubicBezTo>
                  <a:cubicBezTo>
                    <a:pt x="157" y="79"/>
                    <a:pt x="157" y="79"/>
                    <a:pt x="157" y="79"/>
                  </a:cubicBezTo>
                  <a:cubicBezTo>
                    <a:pt x="0" y="79"/>
                    <a:pt x="0" y="79"/>
                    <a:pt x="0" y="79"/>
                  </a:cubicBez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6" name="Oval 1755">
              <a:extLst>
                <a:ext uri="{FF2B5EF4-FFF2-40B4-BE49-F238E27FC236}">
                  <a16:creationId xmlns:a16="http://schemas.microsoft.com/office/drawing/2014/main" id="{AFB93F73-D62E-5C50-B8B2-10AFB6DB9C4E}"/>
                </a:ext>
              </a:extLst>
            </p:cNvPr>
            <p:cNvSpPr>
              <a:spLocks noChangeArrowheads="1"/>
            </p:cNvSpPr>
            <p:nvPr/>
          </p:nvSpPr>
          <p:spPr bwMode="auto">
            <a:xfrm>
              <a:off x="11192034" y="6074683"/>
              <a:ext cx="95250" cy="95250"/>
            </a:xfrm>
            <a:prstGeom prst="ellipse">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7" name="Freeform 1756">
              <a:extLst>
                <a:ext uri="{FF2B5EF4-FFF2-40B4-BE49-F238E27FC236}">
                  <a16:creationId xmlns:a16="http://schemas.microsoft.com/office/drawing/2014/main" id="{9B79F6A6-18FB-7169-1287-DA611825DC2C}"/>
                </a:ext>
              </a:extLst>
            </p:cNvPr>
            <p:cNvSpPr>
              <a:spLocks noEditPoints="1"/>
            </p:cNvSpPr>
            <p:nvPr/>
          </p:nvSpPr>
          <p:spPr bwMode="auto">
            <a:xfrm>
              <a:off x="11138059" y="6019120"/>
              <a:ext cx="204788" cy="204788"/>
            </a:xfrm>
            <a:custGeom>
              <a:avLst/>
              <a:gdLst>
                <a:gd name="T0" fmla="*/ 109 w 109"/>
                <a:gd name="T1" fmla="*/ 55 h 109"/>
                <a:gd name="T2" fmla="*/ 55 w 109"/>
                <a:gd name="T3" fmla="*/ 109 h 109"/>
                <a:gd name="T4" fmla="*/ 0 w 109"/>
                <a:gd name="T5" fmla="*/ 55 h 109"/>
                <a:gd name="T6" fmla="*/ 55 w 109"/>
                <a:gd name="T7" fmla="*/ 0 h 109"/>
                <a:gd name="T8" fmla="*/ 109 w 109"/>
                <a:gd name="T9" fmla="*/ 55 h 109"/>
                <a:gd name="T10" fmla="*/ 55 w 109"/>
                <a:gd name="T11" fmla="*/ 80 h 109"/>
                <a:gd name="T12" fmla="*/ 80 w 109"/>
                <a:gd name="T13" fmla="*/ 55 h 109"/>
                <a:gd name="T14" fmla="*/ 55 w 109"/>
                <a:gd name="T15" fmla="*/ 29 h 109"/>
                <a:gd name="T16" fmla="*/ 29 w 109"/>
                <a:gd name="T17" fmla="*/ 55 h 109"/>
                <a:gd name="T18" fmla="*/ 55 w 109"/>
                <a:gd name="T19" fmla="*/ 8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109" y="55"/>
                  </a:moveTo>
                  <a:cubicBezTo>
                    <a:pt x="109" y="85"/>
                    <a:pt x="85" y="109"/>
                    <a:pt x="55" y="109"/>
                  </a:cubicBezTo>
                  <a:cubicBezTo>
                    <a:pt x="25" y="109"/>
                    <a:pt x="0" y="85"/>
                    <a:pt x="0" y="55"/>
                  </a:cubicBezTo>
                  <a:cubicBezTo>
                    <a:pt x="0" y="25"/>
                    <a:pt x="25" y="0"/>
                    <a:pt x="55" y="0"/>
                  </a:cubicBezTo>
                  <a:cubicBezTo>
                    <a:pt x="85" y="0"/>
                    <a:pt x="109" y="25"/>
                    <a:pt x="109" y="55"/>
                  </a:cubicBezTo>
                  <a:close/>
                  <a:moveTo>
                    <a:pt x="55" y="80"/>
                  </a:moveTo>
                  <a:cubicBezTo>
                    <a:pt x="69" y="80"/>
                    <a:pt x="80" y="69"/>
                    <a:pt x="80" y="55"/>
                  </a:cubicBezTo>
                  <a:cubicBezTo>
                    <a:pt x="80" y="41"/>
                    <a:pt x="69" y="29"/>
                    <a:pt x="55" y="29"/>
                  </a:cubicBezTo>
                  <a:cubicBezTo>
                    <a:pt x="41" y="29"/>
                    <a:pt x="29" y="41"/>
                    <a:pt x="29" y="55"/>
                  </a:cubicBezTo>
                  <a:cubicBezTo>
                    <a:pt x="29" y="69"/>
                    <a:pt x="41" y="80"/>
                    <a:pt x="55" y="80"/>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8" name="Oval 1757">
              <a:extLst>
                <a:ext uri="{FF2B5EF4-FFF2-40B4-BE49-F238E27FC236}">
                  <a16:creationId xmlns:a16="http://schemas.microsoft.com/office/drawing/2014/main" id="{C05BDEDE-D84A-FCF6-F12B-06C4A74D55E9}"/>
                </a:ext>
              </a:extLst>
            </p:cNvPr>
            <p:cNvSpPr>
              <a:spLocks noChangeArrowheads="1"/>
            </p:cNvSpPr>
            <p:nvPr/>
          </p:nvSpPr>
          <p:spPr bwMode="auto">
            <a:xfrm>
              <a:off x="11138059" y="6019120"/>
              <a:ext cx="204788" cy="204788"/>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9" name="Oval 1758">
              <a:extLst>
                <a:ext uri="{FF2B5EF4-FFF2-40B4-BE49-F238E27FC236}">
                  <a16:creationId xmlns:a16="http://schemas.microsoft.com/office/drawing/2014/main" id="{6817BA2D-A56D-6698-D8AC-446F4D05C355}"/>
                </a:ext>
              </a:extLst>
            </p:cNvPr>
            <p:cNvSpPr>
              <a:spLocks noChangeArrowheads="1"/>
            </p:cNvSpPr>
            <p:nvPr/>
          </p:nvSpPr>
          <p:spPr bwMode="auto">
            <a:xfrm>
              <a:off x="11192034" y="6074683"/>
              <a:ext cx="95250" cy="95250"/>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0" name="Freeform 1759">
              <a:extLst>
                <a:ext uri="{FF2B5EF4-FFF2-40B4-BE49-F238E27FC236}">
                  <a16:creationId xmlns:a16="http://schemas.microsoft.com/office/drawing/2014/main" id="{4E091C40-14F8-4344-0DD4-1645BC88D9B8}"/>
                </a:ext>
              </a:extLst>
            </p:cNvPr>
            <p:cNvSpPr>
              <a:spLocks/>
            </p:cNvSpPr>
            <p:nvPr/>
          </p:nvSpPr>
          <p:spPr bwMode="auto">
            <a:xfrm>
              <a:off x="10371297" y="5974670"/>
              <a:ext cx="295275" cy="147638"/>
            </a:xfrm>
            <a:custGeom>
              <a:avLst/>
              <a:gdLst>
                <a:gd name="T0" fmla="*/ 0 w 157"/>
                <a:gd name="T1" fmla="*/ 79 h 79"/>
                <a:gd name="T2" fmla="*/ 79 w 157"/>
                <a:gd name="T3" fmla="*/ 0 h 79"/>
                <a:gd name="T4" fmla="*/ 157 w 157"/>
                <a:gd name="T5" fmla="*/ 79 h 79"/>
                <a:gd name="T6" fmla="*/ 157 w 157"/>
                <a:gd name="T7" fmla="*/ 79 h 79"/>
                <a:gd name="T8" fmla="*/ 0 w 157"/>
                <a:gd name="T9" fmla="*/ 79 h 79"/>
              </a:gdLst>
              <a:ahLst/>
              <a:cxnLst>
                <a:cxn ang="0">
                  <a:pos x="T0" y="T1"/>
                </a:cxn>
                <a:cxn ang="0">
                  <a:pos x="T2" y="T3"/>
                </a:cxn>
                <a:cxn ang="0">
                  <a:pos x="T4" y="T5"/>
                </a:cxn>
                <a:cxn ang="0">
                  <a:pos x="T6" y="T7"/>
                </a:cxn>
                <a:cxn ang="0">
                  <a:pos x="T8" y="T9"/>
                </a:cxn>
              </a:cxnLst>
              <a:rect l="0" t="0" r="r" b="b"/>
              <a:pathLst>
                <a:path w="157" h="79">
                  <a:moveTo>
                    <a:pt x="0" y="79"/>
                  </a:moveTo>
                  <a:cubicBezTo>
                    <a:pt x="0" y="35"/>
                    <a:pt x="36" y="0"/>
                    <a:pt x="79" y="0"/>
                  </a:cubicBezTo>
                  <a:cubicBezTo>
                    <a:pt x="122" y="0"/>
                    <a:pt x="157" y="35"/>
                    <a:pt x="157" y="79"/>
                  </a:cubicBezTo>
                  <a:cubicBezTo>
                    <a:pt x="157" y="79"/>
                    <a:pt x="157" y="79"/>
                    <a:pt x="157" y="79"/>
                  </a:cubicBezTo>
                  <a:cubicBezTo>
                    <a:pt x="0" y="79"/>
                    <a:pt x="0" y="79"/>
                    <a:pt x="0" y="79"/>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1" name="Freeform 1760">
              <a:extLst>
                <a:ext uri="{FF2B5EF4-FFF2-40B4-BE49-F238E27FC236}">
                  <a16:creationId xmlns:a16="http://schemas.microsoft.com/office/drawing/2014/main" id="{0E9BBF71-588C-7064-B16A-A43183328796}"/>
                </a:ext>
              </a:extLst>
            </p:cNvPr>
            <p:cNvSpPr>
              <a:spLocks/>
            </p:cNvSpPr>
            <p:nvPr/>
          </p:nvSpPr>
          <p:spPr bwMode="auto">
            <a:xfrm>
              <a:off x="10371297" y="5974670"/>
              <a:ext cx="295275" cy="147638"/>
            </a:xfrm>
            <a:custGeom>
              <a:avLst/>
              <a:gdLst>
                <a:gd name="T0" fmla="*/ 0 w 157"/>
                <a:gd name="T1" fmla="*/ 79 h 79"/>
                <a:gd name="T2" fmla="*/ 79 w 157"/>
                <a:gd name="T3" fmla="*/ 0 h 79"/>
                <a:gd name="T4" fmla="*/ 157 w 157"/>
                <a:gd name="T5" fmla="*/ 79 h 79"/>
                <a:gd name="T6" fmla="*/ 157 w 157"/>
                <a:gd name="T7" fmla="*/ 79 h 79"/>
                <a:gd name="T8" fmla="*/ 0 w 157"/>
                <a:gd name="T9" fmla="*/ 79 h 79"/>
              </a:gdLst>
              <a:ahLst/>
              <a:cxnLst>
                <a:cxn ang="0">
                  <a:pos x="T0" y="T1"/>
                </a:cxn>
                <a:cxn ang="0">
                  <a:pos x="T2" y="T3"/>
                </a:cxn>
                <a:cxn ang="0">
                  <a:pos x="T4" y="T5"/>
                </a:cxn>
                <a:cxn ang="0">
                  <a:pos x="T6" y="T7"/>
                </a:cxn>
                <a:cxn ang="0">
                  <a:pos x="T8" y="T9"/>
                </a:cxn>
              </a:cxnLst>
              <a:rect l="0" t="0" r="r" b="b"/>
              <a:pathLst>
                <a:path w="157" h="79">
                  <a:moveTo>
                    <a:pt x="0" y="79"/>
                  </a:moveTo>
                  <a:cubicBezTo>
                    <a:pt x="0" y="35"/>
                    <a:pt x="36" y="0"/>
                    <a:pt x="79" y="0"/>
                  </a:cubicBezTo>
                  <a:cubicBezTo>
                    <a:pt x="122" y="0"/>
                    <a:pt x="157" y="35"/>
                    <a:pt x="157" y="79"/>
                  </a:cubicBezTo>
                  <a:cubicBezTo>
                    <a:pt x="157" y="79"/>
                    <a:pt x="157" y="79"/>
                    <a:pt x="157" y="79"/>
                  </a:cubicBezTo>
                  <a:cubicBezTo>
                    <a:pt x="0" y="79"/>
                    <a:pt x="0" y="79"/>
                    <a:pt x="0" y="79"/>
                  </a:cubicBez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2" name="Oval 1761">
              <a:extLst>
                <a:ext uri="{FF2B5EF4-FFF2-40B4-BE49-F238E27FC236}">
                  <a16:creationId xmlns:a16="http://schemas.microsoft.com/office/drawing/2014/main" id="{CA94765B-E5B6-3859-E347-1AE91FA437F4}"/>
                </a:ext>
              </a:extLst>
            </p:cNvPr>
            <p:cNvSpPr>
              <a:spLocks noChangeArrowheads="1"/>
            </p:cNvSpPr>
            <p:nvPr/>
          </p:nvSpPr>
          <p:spPr bwMode="auto">
            <a:xfrm>
              <a:off x="10471309" y="6074683"/>
              <a:ext cx="96838" cy="95250"/>
            </a:xfrm>
            <a:prstGeom prst="ellipse">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3" name="Freeform 1762">
              <a:extLst>
                <a:ext uri="{FF2B5EF4-FFF2-40B4-BE49-F238E27FC236}">
                  <a16:creationId xmlns:a16="http://schemas.microsoft.com/office/drawing/2014/main" id="{3AB1E191-CF6A-44E7-5AFD-6A3469ADE2B9}"/>
                </a:ext>
              </a:extLst>
            </p:cNvPr>
            <p:cNvSpPr>
              <a:spLocks noEditPoints="1"/>
            </p:cNvSpPr>
            <p:nvPr/>
          </p:nvSpPr>
          <p:spPr bwMode="auto">
            <a:xfrm>
              <a:off x="10417334" y="6019120"/>
              <a:ext cx="204788" cy="204788"/>
            </a:xfrm>
            <a:custGeom>
              <a:avLst/>
              <a:gdLst>
                <a:gd name="T0" fmla="*/ 109 w 109"/>
                <a:gd name="T1" fmla="*/ 55 h 109"/>
                <a:gd name="T2" fmla="*/ 55 w 109"/>
                <a:gd name="T3" fmla="*/ 109 h 109"/>
                <a:gd name="T4" fmla="*/ 0 w 109"/>
                <a:gd name="T5" fmla="*/ 55 h 109"/>
                <a:gd name="T6" fmla="*/ 55 w 109"/>
                <a:gd name="T7" fmla="*/ 0 h 109"/>
                <a:gd name="T8" fmla="*/ 109 w 109"/>
                <a:gd name="T9" fmla="*/ 55 h 109"/>
                <a:gd name="T10" fmla="*/ 55 w 109"/>
                <a:gd name="T11" fmla="*/ 80 h 109"/>
                <a:gd name="T12" fmla="*/ 81 w 109"/>
                <a:gd name="T13" fmla="*/ 55 h 109"/>
                <a:gd name="T14" fmla="*/ 55 w 109"/>
                <a:gd name="T15" fmla="*/ 29 h 109"/>
                <a:gd name="T16" fmla="*/ 29 w 109"/>
                <a:gd name="T17" fmla="*/ 55 h 109"/>
                <a:gd name="T18" fmla="*/ 55 w 109"/>
                <a:gd name="T19" fmla="*/ 8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109" y="55"/>
                  </a:moveTo>
                  <a:cubicBezTo>
                    <a:pt x="109" y="85"/>
                    <a:pt x="85" y="109"/>
                    <a:pt x="55" y="109"/>
                  </a:cubicBezTo>
                  <a:cubicBezTo>
                    <a:pt x="25" y="109"/>
                    <a:pt x="0" y="85"/>
                    <a:pt x="0" y="55"/>
                  </a:cubicBezTo>
                  <a:cubicBezTo>
                    <a:pt x="0" y="25"/>
                    <a:pt x="25" y="0"/>
                    <a:pt x="55" y="0"/>
                  </a:cubicBezTo>
                  <a:cubicBezTo>
                    <a:pt x="85" y="0"/>
                    <a:pt x="109" y="25"/>
                    <a:pt x="109" y="55"/>
                  </a:cubicBezTo>
                  <a:close/>
                  <a:moveTo>
                    <a:pt x="55" y="80"/>
                  </a:moveTo>
                  <a:cubicBezTo>
                    <a:pt x="69" y="80"/>
                    <a:pt x="81" y="69"/>
                    <a:pt x="81" y="55"/>
                  </a:cubicBezTo>
                  <a:cubicBezTo>
                    <a:pt x="81" y="41"/>
                    <a:pt x="69" y="29"/>
                    <a:pt x="55" y="29"/>
                  </a:cubicBezTo>
                  <a:cubicBezTo>
                    <a:pt x="41" y="29"/>
                    <a:pt x="29" y="41"/>
                    <a:pt x="29" y="55"/>
                  </a:cubicBezTo>
                  <a:cubicBezTo>
                    <a:pt x="29" y="69"/>
                    <a:pt x="41" y="80"/>
                    <a:pt x="55" y="80"/>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4" name="Oval 1763">
              <a:extLst>
                <a:ext uri="{FF2B5EF4-FFF2-40B4-BE49-F238E27FC236}">
                  <a16:creationId xmlns:a16="http://schemas.microsoft.com/office/drawing/2014/main" id="{E32CF2FF-0D7E-9ADE-CD8D-AD00EAE40190}"/>
                </a:ext>
              </a:extLst>
            </p:cNvPr>
            <p:cNvSpPr>
              <a:spLocks noChangeArrowheads="1"/>
            </p:cNvSpPr>
            <p:nvPr/>
          </p:nvSpPr>
          <p:spPr bwMode="auto">
            <a:xfrm>
              <a:off x="10417334" y="6019120"/>
              <a:ext cx="204788" cy="204788"/>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5" name="Oval 1764">
              <a:extLst>
                <a:ext uri="{FF2B5EF4-FFF2-40B4-BE49-F238E27FC236}">
                  <a16:creationId xmlns:a16="http://schemas.microsoft.com/office/drawing/2014/main" id="{D02FB3BD-5153-E72F-9A54-2BB1FAD23E21}"/>
                </a:ext>
              </a:extLst>
            </p:cNvPr>
            <p:cNvSpPr>
              <a:spLocks noChangeArrowheads="1"/>
            </p:cNvSpPr>
            <p:nvPr/>
          </p:nvSpPr>
          <p:spPr bwMode="auto">
            <a:xfrm>
              <a:off x="10471309" y="6074683"/>
              <a:ext cx="96838" cy="95250"/>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6" name="Freeform 1765">
              <a:extLst>
                <a:ext uri="{FF2B5EF4-FFF2-40B4-BE49-F238E27FC236}">
                  <a16:creationId xmlns:a16="http://schemas.microsoft.com/office/drawing/2014/main" id="{529236FD-7941-139B-DAB6-6FDB6D2B2FD5}"/>
                </a:ext>
              </a:extLst>
            </p:cNvPr>
            <p:cNvSpPr>
              <a:spLocks/>
            </p:cNvSpPr>
            <p:nvPr/>
          </p:nvSpPr>
          <p:spPr bwMode="auto">
            <a:xfrm>
              <a:off x="9590247" y="5974670"/>
              <a:ext cx="295275" cy="147638"/>
            </a:xfrm>
            <a:custGeom>
              <a:avLst/>
              <a:gdLst>
                <a:gd name="T0" fmla="*/ 0 w 157"/>
                <a:gd name="T1" fmla="*/ 79 h 79"/>
                <a:gd name="T2" fmla="*/ 78 w 157"/>
                <a:gd name="T3" fmla="*/ 0 h 79"/>
                <a:gd name="T4" fmla="*/ 157 w 157"/>
                <a:gd name="T5" fmla="*/ 79 h 79"/>
                <a:gd name="T6" fmla="*/ 157 w 157"/>
                <a:gd name="T7" fmla="*/ 79 h 79"/>
                <a:gd name="T8" fmla="*/ 0 w 157"/>
                <a:gd name="T9" fmla="*/ 79 h 79"/>
              </a:gdLst>
              <a:ahLst/>
              <a:cxnLst>
                <a:cxn ang="0">
                  <a:pos x="T0" y="T1"/>
                </a:cxn>
                <a:cxn ang="0">
                  <a:pos x="T2" y="T3"/>
                </a:cxn>
                <a:cxn ang="0">
                  <a:pos x="T4" y="T5"/>
                </a:cxn>
                <a:cxn ang="0">
                  <a:pos x="T6" y="T7"/>
                </a:cxn>
                <a:cxn ang="0">
                  <a:pos x="T8" y="T9"/>
                </a:cxn>
              </a:cxnLst>
              <a:rect l="0" t="0" r="r" b="b"/>
              <a:pathLst>
                <a:path w="157" h="79">
                  <a:moveTo>
                    <a:pt x="0" y="79"/>
                  </a:moveTo>
                  <a:cubicBezTo>
                    <a:pt x="0" y="35"/>
                    <a:pt x="35" y="0"/>
                    <a:pt x="78" y="0"/>
                  </a:cubicBezTo>
                  <a:cubicBezTo>
                    <a:pt x="122" y="0"/>
                    <a:pt x="157" y="35"/>
                    <a:pt x="157" y="79"/>
                  </a:cubicBezTo>
                  <a:cubicBezTo>
                    <a:pt x="157" y="79"/>
                    <a:pt x="157" y="79"/>
                    <a:pt x="157" y="79"/>
                  </a:cubicBezTo>
                  <a:cubicBezTo>
                    <a:pt x="0" y="79"/>
                    <a:pt x="0" y="79"/>
                    <a:pt x="0" y="79"/>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7" name="Freeform 1766">
              <a:extLst>
                <a:ext uri="{FF2B5EF4-FFF2-40B4-BE49-F238E27FC236}">
                  <a16:creationId xmlns:a16="http://schemas.microsoft.com/office/drawing/2014/main" id="{8FCB347F-157C-9A48-2084-35641CEF41E5}"/>
                </a:ext>
              </a:extLst>
            </p:cNvPr>
            <p:cNvSpPr>
              <a:spLocks/>
            </p:cNvSpPr>
            <p:nvPr/>
          </p:nvSpPr>
          <p:spPr bwMode="auto">
            <a:xfrm>
              <a:off x="9590247" y="5974670"/>
              <a:ext cx="295275" cy="147638"/>
            </a:xfrm>
            <a:custGeom>
              <a:avLst/>
              <a:gdLst>
                <a:gd name="T0" fmla="*/ 0 w 157"/>
                <a:gd name="T1" fmla="*/ 79 h 79"/>
                <a:gd name="T2" fmla="*/ 78 w 157"/>
                <a:gd name="T3" fmla="*/ 0 h 79"/>
                <a:gd name="T4" fmla="*/ 157 w 157"/>
                <a:gd name="T5" fmla="*/ 79 h 79"/>
                <a:gd name="T6" fmla="*/ 157 w 157"/>
                <a:gd name="T7" fmla="*/ 79 h 79"/>
                <a:gd name="T8" fmla="*/ 0 w 157"/>
                <a:gd name="T9" fmla="*/ 79 h 79"/>
              </a:gdLst>
              <a:ahLst/>
              <a:cxnLst>
                <a:cxn ang="0">
                  <a:pos x="T0" y="T1"/>
                </a:cxn>
                <a:cxn ang="0">
                  <a:pos x="T2" y="T3"/>
                </a:cxn>
                <a:cxn ang="0">
                  <a:pos x="T4" y="T5"/>
                </a:cxn>
                <a:cxn ang="0">
                  <a:pos x="T6" y="T7"/>
                </a:cxn>
                <a:cxn ang="0">
                  <a:pos x="T8" y="T9"/>
                </a:cxn>
              </a:cxnLst>
              <a:rect l="0" t="0" r="r" b="b"/>
              <a:pathLst>
                <a:path w="157" h="79">
                  <a:moveTo>
                    <a:pt x="0" y="79"/>
                  </a:moveTo>
                  <a:cubicBezTo>
                    <a:pt x="0" y="35"/>
                    <a:pt x="35" y="0"/>
                    <a:pt x="78" y="0"/>
                  </a:cubicBezTo>
                  <a:cubicBezTo>
                    <a:pt x="122" y="0"/>
                    <a:pt x="157" y="35"/>
                    <a:pt x="157" y="79"/>
                  </a:cubicBezTo>
                  <a:cubicBezTo>
                    <a:pt x="157" y="79"/>
                    <a:pt x="157" y="79"/>
                    <a:pt x="157" y="79"/>
                  </a:cubicBezTo>
                  <a:cubicBezTo>
                    <a:pt x="0" y="79"/>
                    <a:pt x="0" y="79"/>
                    <a:pt x="0" y="79"/>
                  </a:cubicBez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8" name="Oval 1767">
              <a:extLst>
                <a:ext uri="{FF2B5EF4-FFF2-40B4-BE49-F238E27FC236}">
                  <a16:creationId xmlns:a16="http://schemas.microsoft.com/office/drawing/2014/main" id="{E58189AF-758D-35BC-F7BE-DFD328B37F3A}"/>
                </a:ext>
              </a:extLst>
            </p:cNvPr>
            <p:cNvSpPr>
              <a:spLocks noChangeArrowheads="1"/>
            </p:cNvSpPr>
            <p:nvPr/>
          </p:nvSpPr>
          <p:spPr bwMode="auto">
            <a:xfrm>
              <a:off x="9690259" y="6074683"/>
              <a:ext cx="95250" cy="95250"/>
            </a:xfrm>
            <a:prstGeom prst="ellipse">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9" name="Freeform 1768">
              <a:extLst>
                <a:ext uri="{FF2B5EF4-FFF2-40B4-BE49-F238E27FC236}">
                  <a16:creationId xmlns:a16="http://schemas.microsoft.com/office/drawing/2014/main" id="{C3CD2F4E-8BA1-F8D5-3D9D-342406BBE884}"/>
                </a:ext>
              </a:extLst>
            </p:cNvPr>
            <p:cNvSpPr>
              <a:spLocks noEditPoints="1"/>
            </p:cNvSpPr>
            <p:nvPr/>
          </p:nvSpPr>
          <p:spPr bwMode="auto">
            <a:xfrm>
              <a:off x="9636284" y="6019120"/>
              <a:ext cx="204788" cy="204788"/>
            </a:xfrm>
            <a:custGeom>
              <a:avLst/>
              <a:gdLst>
                <a:gd name="T0" fmla="*/ 109 w 109"/>
                <a:gd name="T1" fmla="*/ 55 h 109"/>
                <a:gd name="T2" fmla="*/ 54 w 109"/>
                <a:gd name="T3" fmla="*/ 109 h 109"/>
                <a:gd name="T4" fmla="*/ 0 w 109"/>
                <a:gd name="T5" fmla="*/ 55 h 109"/>
                <a:gd name="T6" fmla="*/ 54 w 109"/>
                <a:gd name="T7" fmla="*/ 0 h 109"/>
                <a:gd name="T8" fmla="*/ 109 w 109"/>
                <a:gd name="T9" fmla="*/ 55 h 109"/>
                <a:gd name="T10" fmla="*/ 54 w 109"/>
                <a:gd name="T11" fmla="*/ 80 h 109"/>
                <a:gd name="T12" fmla="*/ 80 w 109"/>
                <a:gd name="T13" fmla="*/ 55 h 109"/>
                <a:gd name="T14" fmla="*/ 54 w 109"/>
                <a:gd name="T15" fmla="*/ 29 h 109"/>
                <a:gd name="T16" fmla="*/ 29 w 109"/>
                <a:gd name="T17" fmla="*/ 55 h 109"/>
                <a:gd name="T18" fmla="*/ 54 w 109"/>
                <a:gd name="T19" fmla="*/ 8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109" y="55"/>
                  </a:moveTo>
                  <a:cubicBezTo>
                    <a:pt x="109" y="85"/>
                    <a:pt x="84" y="109"/>
                    <a:pt x="54" y="109"/>
                  </a:cubicBezTo>
                  <a:cubicBezTo>
                    <a:pt x="24" y="109"/>
                    <a:pt x="0" y="85"/>
                    <a:pt x="0" y="55"/>
                  </a:cubicBezTo>
                  <a:cubicBezTo>
                    <a:pt x="0" y="25"/>
                    <a:pt x="24" y="0"/>
                    <a:pt x="54" y="0"/>
                  </a:cubicBezTo>
                  <a:cubicBezTo>
                    <a:pt x="84" y="0"/>
                    <a:pt x="109" y="25"/>
                    <a:pt x="109" y="55"/>
                  </a:cubicBezTo>
                  <a:close/>
                  <a:moveTo>
                    <a:pt x="54" y="80"/>
                  </a:moveTo>
                  <a:cubicBezTo>
                    <a:pt x="68" y="80"/>
                    <a:pt x="80" y="69"/>
                    <a:pt x="80" y="55"/>
                  </a:cubicBezTo>
                  <a:cubicBezTo>
                    <a:pt x="80" y="41"/>
                    <a:pt x="68" y="29"/>
                    <a:pt x="54" y="29"/>
                  </a:cubicBezTo>
                  <a:cubicBezTo>
                    <a:pt x="40" y="29"/>
                    <a:pt x="29" y="41"/>
                    <a:pt x="29" y="55"/>
                  </a:cubicBezTo>
                  <a:cubicBezTo>
                    <a:pt x="29" y="69"/>
                    <a:pt x="40" y="80"/>
                    <a:pt x="54" y="80"/>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0" name="Oval 1769">
              <a:extLst>
                <a:ext uri="{FF2B5EF4-FFF2-40B4-BE49-F238E27FC236}">
                  <a16:creationId xmlns:a16="http://schemas.microsoft.com/office/drawing/2014/main" id="{21B6427B-46D8-062E-C718-6268016ACAD3}"/>
                </a:ext>
              </a:extLst>
            </p:cNvPr>
            <p:cNvSpPr>
              <a:spLocks noChangeArrowheads="1"/>
            </p:cNvSpPr>
            <p:nvPr/>
          </p:nvSpPr>
          <p:spPr bwMode="auto">
            <a:xfrm>
              <a:off x="9636284" y="6019120"/>
              <a:ext cx="204788" cy="204788"/>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1" name="Oval 1770">
              <a:extLst>
                <a:ext uri="{FF2B5EF4-FFF2-40B4-BE49-F238E27FC236}">
                  <a16:creationId xmlns:a16="http://schemas.microsoft.com/office/drawing/2014/main" id="{38F7ECFC-2FDD-A0EB-757C-13B0009FD0D6}"/>
                </a:ext>
              </a:extLst>
            </p:cNvPr>
            <p:cNvSpPr>
              <a:spLocks noChangeArrowheads="1"/>
            </p:cNvSpPr>
            <p:nvPr/>
          </p:nvSpPr>
          <p:spPr bwMode="auto">
            <a:xfrm>
              <a:off x="9690259" y="6074683"/>
              <a:ext cx="95250" cy="95250"/>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2" name="Freeform 1771">
              <a:extLst>
                <a:ext uri="{FF2B5EF4-FFF2-40B4-BE49-F238E27FC236}">
                  <a16:creationId xmlns:a16="http://schemas.microsoft.com/office/drawing/2014/main" id="{8C9930AB-4AD5-1E2E-0D74-29291697502B}"/>
                </a:ext>
              </a:extLst>
            </p:cNvPr>
            <p:cNvSpPr>
              <a:spLocks/>
            </p:cNvSpPr>
            <p:nvPr/>
          </p:nvSpPr>
          <p:spPr bwMode="auto">
            <a:xfrm>
              <a:off x="9209247" y="5974670"/>
              <a:ext cx="295275" cy="147638"/>
            </a:xfrm>
            <a:custGeom>
              <a:avLst/>
              <a:gdLst>
                <a:gd name="T0" fmla="*/ 0 w 157"/>
                <a:gd name="T1" fmla="*/ 79 h 79"/>
                <a:gd name="T2" fmla="*/ 78 w 157"/>
                <a:gd name="T3" fmla="*/ 0 h 79"/>
                <a:gd name="T4" fmla="*/ 157 w 157"/>
                <a:gd name="T5" fmla="*/ 79 h 79"/>
                <a:gd name="T6" fmla="*/ 157 w 157"/>
                <a:gd name="T7" fmla="*/ 79 h 79"/>
                <a:gd name="T8" fmla="*/ 0 w 157"/>
                <a:gd name="T9" fmla="*/ 79 h 79"/>
              </a:gdLst>
              <a:ahLst/>
              <a:cxnLst>
                <a:cxn ang="0">
                  <a:pos x="T0" y="T1"/>
                </a:cxn>
                <a:cxn ang="0">
                  <a:pos x="T2" y="T3"/>
                </a:cxn>
                <a:cxn ang="0">
                  <a:pos x="T4" y="T5"/>
                </a:cxn>
                <a:cxn ang="0">
                  <a:pos x="T6" y="T7"/>
                </a:cxn>
                <a:cxn ang="0">
                  <a:pos x="T8" y="T9"/>
                </a:cxn>
              </a:cxnLst>
              <a:rect l="0" t="0" r="r" b="b"/>
              <a:pathLst>
                <a:path w="157" h="79">
                  <a:moveTo>
                    <a:pt x="0" y="79"/>
                  </a:moveTo>
                  <a:cubicBezTo>
                    <a:pt x="0" y="35"/>
                    <a:pt x="35" y="0"/>
                    <a:pt x="78" y="0"/>
                  </a:cubicBezTo>
                  <a:cubicBezTo>
                    <a:pt x="122" y="0"/>
                    <a:pt x="157" y="35"/>
                    <a:pt x="157" y="79"/>
                  </a:cubicBezTo>
                  <a:cubicBezTo>
                    <a:pt x="157" y="79"/>
                    <a:pt x="157" y="79"/>
                    <a:pt x="157" y="79"/>
                  </a:cubicBezTo>
                  <a:cubicBezTo>
                    <a:pt x="0" y="79"/>
                    <a:pt x="0" y="79"/>
                    <a:pt x="0" y="79"/>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3" name="Freeform 1772">
              <a:extLst>
                <a:ext uri="{FF2B5EF4-FFF2-40B4-BE49-F238E27FC236}">
                  <a16:creationId xmlns:a16="http://schemas.microsoft.com/office/drawing/2014/main" id="{8D19D0C4-C71C-5510-60AF-EAC8450B42FE}"/>
                </a:ext>
              </a:extLst>
            </p:cNvPr>
            <p:cNvSpPr>
              <a:spLocks/>
            </p:cNvSpPr>
            <p:nvPr/>
          </p:nvSpPr>
          <p:spPr bwMode="auto">
            <a:xfrm>
              <a:off x="9209247" y="5974670"/>
              <a:ext cx="295275" cy="147638"/>
            </a:xfrm>
            <a:custGeom>
              <a:avLst/>
              <a:gdLst>
                <a:gd name="T0" fmla="*/ 0 w 157"/>
                <a:gd name="T1" fmla="*/ 79 h 79"/>
                <a:gd name="T2" fmla="*/ 78 w 157"/>
                <a:gd name="T3" fmla="*/ 0 h 79"/>
                <a:gd name="T4" fmla="*/ 157 w 157"/>
                <a:gd name="T5" fmla="*/ 79 h 79"/>
                <a:gd name="T6" fmla="*/ 157 w 157"/>
                <a:gd name="T7" fmla="*/ 79 h 79"/>
                <a:gd name="T8" fmla="*/ 0 w 157"/>
                <a:gd name="T9" fmla="*/ 79 h 79"/>
              </a:gdLst>
              <a:ahLst/>
              <a:cxnLst>
                <a:cxn ang="0">
                  <a:pos x="T0" y="T1"/>
                </a:cxn>
                <a:cxn ang="0">
                  <a:pos x="T2" y="T3"/>
                </a:cxn>
                <a:cxn ang="0">
                  <a:pos x="T4" y="T5"/>
                </a:cxn>
                <a:cxn ang="0">
                  <a:pos x="T6" y="T7"/>
                </a:cxn>
                <a:cxn ang="0">
                  <a:pos x="T8" y="T9"/>
                </a:cxn>
              </a:cxnLst>
              <a:rect l="0" t="0" r="r" b="b"/>
              <a:pathLst>
                <a:path w="157" h="79">
                  <a:moveTo>
                    <a:pt x="0" y="79"/>
                  </a:moveTo>
                  <a:cubicBezTo>
                    <a:pt x="0" y="35"/>
                    <a:pt x="35" y="0"/>
                    <a:pt x="78" y="0"/>
                  </a:cubicBezTo>
                  <a:cubicBezTo>
                    <a:pt x="122" y="0"/>
                    <a:pt x="157" y="35"/>
                    <a:pt x="157" y="79"/>
                  </a:cubicBezTo>
                  <a:cubicBezTo>
                    <a:pt x="157" y="79"/>
                    <a:pt x="157" y="79"/>
                    <a:pt x="157" y="79"/>
                  </a:cubicBezTo>
                  <a:cubicBezTo>
                    <a:pt x="0" y="79"/>
                    <a:pt x="0" y="79"/>
                    <a:pt x="0" y="79"/>
                  </a:cubicBez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4" name="Oval 1773">
              <a:extLst>
                <a:ext uri="{FF2B5EF4-FFF2-40B4-BE49-F238E27FC236}">
                  <a16:creationId xmlns:a16="http://schemas.microsoft.com/office/drawing/2014/main" id="{0C139173-BBA7-9F30-6C67-482169284F92}"/>
                </a:ext>
              </a:extLst>
            </p:cNvPr>
            <p:cNvSpPr>
              <a:spLocks noChangeArrowheads="1"/>
            </p:cNvSpPr>
            <p:nvPr/>
          </p:nvSpPr>
          <p:spPr bwMode="auto">
            <a:xfrm>
              <a:off x="9309259" y="6074683"/>
              <a:ext cx="95250" cy="95250"/>
            </a:xfrm>
            <a:prstGeom prst="ellipse">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5" name="Freeform 1774">
              <a:extLst>
                <a:ext uri="{FF2B5EF4-FFF2-40B4-BE49-F238E27FC236}">
                  <a16:creationId xmlns:a16="http://schemas.microsoft.com/office/drawing/2014/main" id="{2B5AB294-0E11-B216-47D1-8973995B1A52}"/>
                </a:ext>
              </a:extLst>
            </p:cNvPr>
            <p:cNvSpPr>
              <a:spLocks noEditPoints="1"/>
            </p:cNvSpPr>
            <p:nvPr/>
          </p:nvSpPr>
          <p:spPr bwMode="auto">
            <a:xfrm>
              <a:off x="9255284" y="6019120"/>
              <a:ext cx="204788" cy="204788"/>
            </a:xfrm>
            <a:custGeom>
              <a:avLst/>
              <a:gdLst>
                <a:gd name="T0" fmla="*/ 109 w 109"/>
                <a:gd name="T1" fmla="*/ 55 h 109"/>
                <a:gd name="T2" fmla="*/ 54 w 109"/>
                <a:gd name="T3" fmla="*/ 109 h 109"/>
                <a:gd name="T4" fmla="*/ 0 w 109"/>
                <a:gd name="T5" fmla="*/ 55 h 109"/>
                <a:gd name="T6" fmla="*/ 54 w 109"/>
                <a:gd name="T7" fmla="*/ 0 h 109"/>
                <a:gd name="T8" fmla="*/ 109 w 109"/>
                <a:gd name="T9" fmla="*/ 55 h 109"/>
                <a:gd name="T10" fmla="*/ 54 w 109"/>
                <a:gd name="T11" fmla="*/ 80 h 109"/>
                <a:gd name="T12" fmla="*/ 80 w 109"/>
                <a:gd name="T13" fmla="*/ 55 h 109"/>
                <a:gd name="T14" fmla="*/ 54 w 109"/>
                <a:gd name="T15" fmla="*/ 29 h 109"/>
                <a:gd name="T16" fmla="*/ 29 w 109"/>
                <a:gd name="T17" fmla="*/ 55 h 109"/>
                <a:gd name="T18" fmla="*/ 54 w 109"/>
                <a:gd name="T19" fmla="*/ 8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109" y="55"/>
                  </a:moveTo>
                  <a:cubicBezTo>
                    <a:pt x="109" y="85"/>
                    <a:pt x="84" y="109"/>
                    <a:pt x="54" y="109"/>
                  </a:cubicBezTo>
                  <a:cubicBezTo>
                    <a:pt x="24" y="109"/>
                    <a:pt x="0" y="85"/>
                    <a:pt x="0" y="55"/>
                  </a:cubicBezTo>
                  <a:cubicBezTo>
                    <a:pt x="0" y="25"/>
                    <a:pt x="24" y="0"/>
                    <a:pt x="54" y="0"/>
                  </a:cubicBezTo>
                  <a:cubicBezTo>
                    <a:pt x="84" y="0"/>
                    <a:pt x="109" y="25"/>
                    <a:pt x="109" y="55"/>
                  </a:cubicBezTo>
                  <a:close/>
                  <a:moveTo>
                    <a:pt x="54" y="80"/>
                  </a:moveTo>
                  <a:cubicBezTo>
                    <a:pt x="69" y="80"/>
                    <a:pt x="80" y="69"/>
                    <a:pt x="80" y="55"/>
                  </a:cubicBezTo>
                  <a:cubicBezTo>
                    <a:pt x="80" y="41"/>
                    <a:pt x="69" y="29"/>
                    <a:pt x="54" y="29"/>
                  </a:cubicBezTo>
                  <a:cubicBezTo>
                    <a:pt x="40" y="29"/>
                    <a:pt x="29" y="41"/>
                    <a:pt x="29" y="55"/>
                  </a:cubicBezTo>
                  <a:cubicBezTo>
                    <a:pt x="29" y="69"/>
                    <a:pt x="40" y="80"/>
                    <a:pt x="54" y="80"/>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6" name="Oval 1775">
              <a:extLst>
                <a:ext uri="{FF2B5EF4-FFF2-40B4-BE49-F238E27FC236}">
                  <a16:creationId xmlns:a16="http://schemas.microsoft.com/office/drawing/2014/main" id="{C807B3AC-4CA5-F717-C66C-018648401D07}"/>
                </a:ext>
              </a:extLst>
            </p:cNvPr>
            <p:cNvSpPr>
              <a:spLocks noChangeArrowheads="1"/>
            </p:cNvSpPr>
            <p:nvPr/>
          </p:nvSpPr>
          <p:spPr bwMode="auto">
            <a:xfrm>
              <a:off x="9255284" y="6019120"/>
              <a:ext cx="204788" cy="204788"/>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7" name="Oval 1776">
              <a:extLst>
                <a:ext uri="{FF2B5EF4-FFF2-40B4-BE49-F238E27FC236}">
                  <a16:creationId xmlns:a16="http://schemas.microsoft.com/office/drawing/2014/main" id="{EB91D47E-0482-2841-23B9-043CD7615995}"/>
                </a:ext>
              </a:extLst>
            </p:cNvPr>
            <p:cNvSpPr>
              <a:spLocks noChangeArrowheads="1"/>
            </p:cNvSpPr>
            <p:nvPr/>
          </p:nvSpPr>
          <p:spPr bwMode="auto">
            <a:xfrm>
              <a:off x="9309259" y="6074683"/>
              <a:ext cx="95250" cy="95250"/>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grpSp>
      <p:sp>
        <p:nvSpPr>
          <p:cNvPr id="138" name="TextBox 743">
            <a:extLst>
              <a:ext uri="{FF2B5EF4-FFF2-40B4-BE49-F238E27FC236}">
                <a16:creationId xmlns:a16="http://schemas.microsoft.com/office/drawing/2014/main" id="{1A782710-52A9-EEC5-999F-CD13DA8218DD}"/>
              </a:ext>
            </a:extLst>
          </p:cNvPr>
          <p:cNvSpPr txBox="1"/>
          <p:nvPr/>
        </p:nvSpPr>
        <p:spPr>
          <a:xfrm>
            <a:off x="6959671" y="4688334"/>
            <a:ext cx="957313" cy="246221"/>
          </a:xfrm>
          <a:prstGeom prst="rect">
            <a:avLst/>
          </a:prstGeom>
          <a:noFill/>
        </p:spPr>
        <p:txBody>
          <a:bodyPr wrap="non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DA281C"/>
                </a:solidFill>
                <a:effectLst/>
                <a:uLnTx/>
                <a:uFillTx/>
                <a:latin typeface="Aptos" panose="020B0004020202020204" pitchFamily="34" charset="0"/>
                <a:ea typeface="Arial" charset="0"/>
                <a:cs typeface="Arial" panose="020B0604020202020204" pitchFamily="34" charset="0"/>
              </a:rPr>
              <a:t>Regional Haul</a:t>
            </a:r>
          </a:p>
        </p:txBody>
      </p:sp>
      <p:sp>
        <p:nvSpPr>
          <p:cNvPr id="139" name="TextBox 744">
            <a:extLst>
              <a:ext uri="{FF2B5EF4-FFF2-40B4-BE49-F238E27FC236}">
                <a16:creationId xmlns:a16="http://schemas.microsoft.com/office/drawing/2014/main" id="{D80C90D4-3BB3-6672-6C41-788BE87FECE9}"/>
              </a:ext>
            </a:extLst>
          </p:cNvPr>
          <p:cNvSpPr txBox="1"/>
          <p:nvPr/>
        </p:nvSpPr>
        <p:spPr>
          <a:xfrm>
            <a:off x="6430888" y="4870492"/>
            <a:ext cx="2033924"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Tractor trailer day cab operations looking for fuel efficiency and extended maintenance.</a:t>
            </a:r>
          </a:p>
        </p:txBody>
      </p:sp>
      <p:sp>
        <p:nvSpPr>
          <p:cNvPr id="140" name="Freeform 5">
            <a:extLst>
              <a:ext uri="{FF2B5EF4-FFF2-40B4-BE49-F238E27FC236}">
                <a16:creationId xmlns:a16="http://schemas.microsoft.com/office/drawing/2014/main" id="{ED7962C9-A79F-6FCF-FC4E-BFBDC2C7112D}"/>
              </a:ext>
            </a:extLst>
          </p:cNvPr>
          <p:cNvSpPr>
            <a:spLocks noChangeAspect="1" noEditPoints="1"/>
          </p:cNvSpPr>
          <p:nvPr/>
        </p:nvSpPr>
        <p:spPr bwMode="auto">
          <a:xfrm>
            <a:off x="5871665" y="2235416"/>
            <a:ext cx="904430" cy="393496"/>
          </a:xfrm>
          <a:custGeom>
            <a:avLst/>
            <a:gdLst>
              <a:gd name="T0" fmla="*/ 841 w 871"/>
              <a:gd name="T1" fmla="*/ 31 h 379"/>
              <a:gd name="T2" fmla="*/ 841 w 871"/>
              <a:gd name="T3" fmla="*/ 130 h 379"/>
              <a:gd name="T4" fmla="*/ 798 w 871"/>
              <a:gd name="T5" fmla="*/ 26 h 379"/>
              <a:gd name="T6" fmla="*/ 751 w 871"/>
              <a:gd name="T7" fmla="*/ 320 h 379"/>
              <a:gd name="T8" fmla="*/ 630 w 871"/>
              <a:gd name="T9" fmla="*/ 269 h 379"/>
              <a:gd name="T10" fmla="*/ 519 w 871"/>
              <a:gd name="T11" fmla="*/ 342 h 379"/>
              <a:gd name="T12" fmla="*/ 409 w 871"/>
              <a:gd name="T13" fmla="*/ 342 h 379"/>
              <a:gd name="T14" fmla="*/ 243 w 871"/>
              <a:gd name="T15" fmla="*/ 342 h 379"/>
              <a:gd name="T16" fmla="*/ 171 w 871"/>
              <a:gd name="T17" fmla="*/ 249 h 379"/>
              <a:gd name="T18" fmla="*/ 100 w 871"/>
              <a:gd name="T19" fmla="*/ 320 h 379"/>
              <a:gd name="T20" fmla="*/ 681 w 871"/>
              <a:gd name="T21" fmla="*/ 260 h 379"/>
              <a:gd name="T22" fmla="*/ 639 w 871"/>
              <a:gd name="T23" fmla="*/ 362 h 379"/>
              <a:gd name="T24" fmla="*/ 723 w 871"/>
              <a:gd name="T25" fmla="*/ 362 h 379"/>
              <a:gd name="T26" fmla="*/ 681 w 871"/>
              <a:gd name="T27" fmla="*/ 260 h 379"/>
              <a:gd name="T28" fmla="*/ 663 w 871"/>
              <a:gd name="T29" fmla="*/ 320 h 379"/>
              <a:gd name="T30" fmla="*/ 668 w 871"/>
              <a:gd name="T31" fmla="*/ 339 h 379"/>
              <a:gd name="T32" fmla="*/ 681 w 871"/>
              <a:gd name="T33" fmla="*/ 347 h 379"/>
              <a:gd name="T34" fmla="*/ 694 w 871"/>
              <a:gd name="T35" fmla="*/ 339 h 379"/>
              <a:gd name="T36" fmla="*/ 694 w 871"/>
              <a:gd name="T37" fmla="*/ 339 h 379"/>
              <a:gd name="T38" fmla="*/ 699 w 871"/>
              <a:gd name="T39" fmla="*/ 320 h 379"/>
              <a:gd name="T40" fmla="*/ 694 w 871"/>
              <a:gd name="T41" fmla="*/ 300 h 379"/>
              <a:gd name="T42" fmla="*/ 681 w 871"/>
              <a:gd name="T43" fmla="*/ 292 h 379"/>
              <a:gd name="T44" fmla="*/ 668 w 871"/>
              <a:gd name="T45" fmla="*/ 300 h 379"/>
              <a:gd name="T46" fmla="*/ 668 w 871"/>
              <a:gd name="T47" fmla="*/ 300 h 379"/>
              <a:gd name="T48" fmla="*/ 659 w 871"/>
              <a:gd name="T49" fmla="*/ 298 h 379"/>
              <a:gd name="T50" fmla="*/ 681 w 871"/>
              <a:gd name="T51" fmla="*/ 351 h 379"/>
              <a:gd name="T52" fmla="*/ 703 w 871"/>
              <a:gd name="T53" fmla="*/ 298 h 379"/>
              <a:gd name="T54" fmla="*/ 111 w 871"/>
              <a:gd name="T55" fmla="*/ 320 h 379"/>
              <a:gd name="T56" fmla="*/ 171 w 871"/>
              <a:gd name="T57" fmla="*/ 379 h 379"/>
              <a:gd name="T58" fmla="*/ 213 w 871"/>
              <a:gd name="T59" fmla="*/ 278 h 379"/>
              <a:gd name="T60" fmla="*/ 148 w 871"/>
              <a:gd name="T61" fmla="*/ 324 h 379"/>
              <a:gd name="T62" fmla="*/ 152 w 871"/>
              <a:gd name="T63" fmla="*/ 339 h 379"/>
              <a:gd name="T64" fmla="*/ 166 w 871"/>
              <a:gd name="T65" fmla="*/ 342 h 379"/>
              <a:gd name="T66" fmla="*/ 166 w 871"/>
              <a:gd name="T67" fmla="*/ 342 h 379"/>
              <a:gd name="T68" fmla="*/ 184 w 871"/>
              <a:gd name="T69" fmla="*/ 333 h 379"/>
              <a:gd name="T70" fmla="*/ 194 w 871"/>
              <a:gd name="T71" fmla="*/ 315 h 379"/>
              <a:gd name="T72" fmla="*/ 190 w 871"/>
              <a:gd name="T73" fmla="*/ 300 h 379"/>
              <a:gd name="T74" fmla="*/ 176 w 871"/>
              <a:gd name="T75" fmla="*/ 297 h 379"/>
              <a:gd name="T76" fmla="*/ 176 w 871"/>
              <a:gd name="T77" fmla="*/ 297 h 379"/>
              <a:gd name="T78" fmla="*/ 158 w 871"/>
              <a:gd name="T79" fmla="*/ 307 h 379"/>
              <a:gd name="T80" fmla="*/ 149 w 871"/>
              <a:gd name="T81" fmla="*/ 298 h 379"/>
              <a:gd name="T82" fmla="*/ 149 w 871"/>
              <a:gd name="T83" fmla="*/ 342 h 379"/>
              <a:gd name="T84" fmla="*/ 202 w 871"/>
              <a:gd name="T85" fmla="*/ 320 h 379"/>
              <a:gd name="T86" fmla="*/ 773 w 871"/>
              <a:gd name="T87" fmla="*/ 254 h 379"/>
              <a:gd name="T88" fmla="*/ 650 w 871"/>
              <a:gd name="T89" fmla="*/ 161 h 379"/>
              <a:gd name="T90" fmla="*/ 757 w 871"/>
              <a:gd name="T91" fmla="*/ 59 h 379"/>
              <a:gd name="T92" fmla="*/ 53 w 871"/>
              <a:gd name="T93" fmla="*/ 42 h 379"/>
              <a:gd name="T94" fmla="*/ 115 w 871"/>
              <a:gd name="T95" fmla="*/ 177 h 379"/>
              <a:gd name="T96" fmla="*/ 216 w 871"/>
              <a:gd name="T97" fmla="*/ 42 h 379"/>
              <a:gd name="T98" fmla="*/ 153 w 871"/>
              <a:gd name="T99" fmla="*/ 177 h 379"/>
              <a:gd name="T100" fmla="*/ 216 w 871"/>
              <a:gd name="T101" fmla="*/ 42 h 379"/>
              <a:gd name="T102" fmla="*/ 393 w 871"/>
              <a:gd name="T103" fmla="*/ 85 h 379"/>
              <a:gd name="T104" fmla="*/ 258 w 871"/>
              <a:gd name="T105" fmla="*/ 42 h 379"/>
              <a:gd name="T106" fmla="*/ 301 w 871"/>
              <a:gd name="T107" fmla="*/ 42 h 379"/>
              <a:gd name="T108" fmla="*/ 380 w 871"/>
              <a:gd name="T109" fmla="*/ 177 h 379"/>
              <a:gd name="T110" fmla="*/ 301 w 871"/>
              <a:gd name="T111" fmla="*/ 94 h 379"/>
              <a:gd name="T112" fmla="*/ 416 w 871"/>
              <a:gd name="T113" fmla="*/ 55 h 379"/>
              <a:gd name="T114" fmla="*/ 504 w 871"/>
              <a:gd name="T115" fmla="*/ 164 h 379"/>
              <a:gd name="T116" fmla="*/ 538 w 871"/>
              <a:gd name="T117" fmla="*/ 42 h 379"/>
              <a:gd name="T118" fmla="*/ 624 w 871"/>
              <a:gd name="T119" fmla="*/ 177 h 379"/>
              <a:gd name="T120" fmla="*/ 779 w 871"/>
              <a:gd name="T121" fmla="*/ 32 h 379"/>
              <a:gd name="T122" fmla="*/ 779 w 871"/>
              <a:gd name="T123" fmla="*/ 3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1" h="379">
                <a:moveTo>
                  <a:pt x="16" y="0"/>
                </a:moveTo>
                <a:cubicBezTo>
                  <a:pt x="254" y="0"/>
                  <a:pt x="540" y="0"/>
                  <a:pt x="779" y="0"/>
                </a:cubicBezTo>
                <a:cubicBezTo>
                  <a:pt x="783" y="1"/>
                  <a:pt x="787" y="5"/>
                  <a:pt x="791" y="11"/>
                </a:cubicBezTo>
                <a:cubicBezTo>
                  <a:pt x="806" y="15"/>
                  <a:pt x="832" y="24"/>
                  <a:pt x="841" y="31"/>
                </a:cubicBezTo>
                <a:cubicBezTo>
                  <a:pt x="851" y="39"/>
                  <a:pt x="855" y="59"/>
                  <a:pt x="857" y="70"/>
                </a:cubicBezTo>
                <a:cubicBezTo>
                  <a:pt x="859" y="70"/>
                  <a:pt x="861" y="70"/>
                  <a:pt x="862" y="71"/>
                </a:cubicBezTo>
                <a:cubicBezTo>
                  <a:pt x="864" y="73"/>
                  <a:pt x="871" y="129"/>
                  <a:pt x="868" y="130"/>
                </a:cubicBezTo>
                <a:cubicBezTo>
                  <a:pt x="864" y="130"/>
                  <a:pt x="842" y="133"/>
                  <a:pt x="841" y="130"/>
                </a:cubicBezTo>
                <a:cubicBezTo>
                  <a:pt x="841" y="128"/>
                  <a:pt x="838" y="71"/>
                  <a:pt x="838" y="71"/>
                </a:cubicBezTo>
                <a:cubicBezTo>
                  <a:pt x="838" y="71"/>
                  <a:pt x="841" y="70"/>
                  <a:pt x="845" y="70"/>
                </a:cubicBezTo>
                <a:cubicBezTo>
                  <a:pt x="843" y="61"/>
                  <a:pt x="840" y="46"/>
                  <a:pt x="834" y="41"/>
                </a:cubicBezTo>
                <a:cubicBezTo>
                  <a:pt x="828" y="36"/>
                  <a:pt x="812" y="30"/>
                  <a:pt x="798" y="26"/>
                </a:cubicBezTo>
                <a:cubicBezTo>
                  <a:pt x="813" y="60"/>
                  <a:pt x="826" y="123"/>
                  <a:pt x="827" y="172"/>
                </a:cubicBezTo>
                <a:cubicBezTo>
                  <a:pt x="827" y="229"/>
                  <a:pt x="824" y="291"/>
                  <a:pt x="815" y="342"/>
                </a:cubicBezTo>
                <a:cubicBezTo>
                  <a:pt x="753" y="342"/>
                  <a:pt x="753" y="342"/>
                  <a:pt x="753" y="342"/>
                </a:cubicBezTo>
                <a:cubicBezTo>
                  <a:pt x="751" y="320"/>
                  <a:pt x="751" y="320"/>
                  <a:pt x="751" y="320"/>
                </a:cubicBezTo>
                <a:cubicBezTo>
                  <a:pt x="751" y="300"/>
                  <a:pt x="743" y="282"/>
                  <a:pt x="731" y="269"/>
                </a:cubicBezTo>
                <a:cubicBezTo>
                  <a:pt x="718" y="257"/>
                  <a:pt x="700" y="249"/>
                  <a:pt x="680" y="249"/>
                </a:cubicBezTo>
                <a:cubicBezTo>
                  <a:pt x="661" y="249"/>
                  <a:pt x="643" y="257"/>
                  <a:pt x="630" y="270"/>
                </a:cubicBezTo>
                <a:cubicBezTo>
                  <a:pt x="630" y="269"/>
                  <a:pt x="630" y="269"/>
                  <a:pt x="630" y="269"/>
                </a:cubicBezTo>
                <a:cubicBezTo>
                  <a:pt x="617" y="282"/>
                  <a:pt x="609" y="300"/>
                  <a:pt x="609" y="320"/>
                </a:cubicBezTo>
                <a:cubicBezTo>
                  <a:pt x="609" y="320"/>
                  <a:pt x="609" y="320"/>
                  <a:pt x="609" y="320"/>
                </a:cubicBezTo>
                <a:cubicBezTo>
                  <a:pt x="609" y="342"/>
                  <a:pt x="609" y="342"/>
                  <a:pt x="609" y="342"/>
                </a:cubicBezTo>
                <a:cubicBezTo>
                  <a:pt x="519" y="342"/>
                  <a:pt x="519" y="342"/>
                  <a:pt x="519" y="342"/>
                </a:cubicBezTo>
                <a:cubicBezTo>
                  <a:pt x="519" y="39"/>
                  <a:pt x="519" y="39"/>
                  <a:pt x="519" y="39"/>
                </a:cubicBezTo>
                <a:cubicBezTo>
                  <a:pt x="512" y="39"/>
                  <a:pt x="512" y="39"/>
                  <a:pt x="512" y="39"/>
                </a:cubicBezTo>
                <a:cubicBezTo>
                  <a:pt x="512" y="342"/>
                  <a:pt x="512" y="342"/>
                  <a:pt x="512" y="342"/>
                </a:cubicBezTo>
                <a:cubicBezTo>
                  <a:pt x="409" y="342"/>
                  <a:pt x="409" y="342"/>
                  <a:pt x="409" y="342"/>
                </a:cubicBezTo>
                <a:cubicBezTo>
                  <a:pt x="409" y="37"/>
                  <a:pt x="409" y="37"/>
                  <a:pt x="409" y="37"/>
                </a:cubicBezTo>
                <a:cubicBezTo>
                  <a:pt x="401" y="37"/>
                  <a:pt x="401" y="37"/>
                  <a:pt x="401" y="37"/>
                </a:cubicBezTo>
                <a:cubicBezTo>
                  <a:pt x="401" y="342"/>
                  <a:pt x="401" y="342"/>
                  <a:pt x="401" y="342"/>
                </a:cubicBezTo>
                <a:cubicBezTo>
                  <a:pt x="243" y="342"/>
                  <a:pt x="243" y="342"/>
                  <a:pt x="243" y="342"/>
                </a:cubicBezTo>
                <a:cubicBezTo>
                  <a:pt x="242" y="317"/>
                  <a:pt x="242" y="317"/>
                  <a:pt x="242" y="317"/>
                </a:cubicBezTo>
                <a:cubicBezTo>
                  <a:pt x="242" y="317"/>
                  <a:pt x="242" y="317"/>
                  <a:pt x="242" y="317"/>
                </a:cubicBezTo>
                <a:cubicBezTo>
                  <a:pt x="241" y="299"/>
                  <a:pt x="234" y="282"/>
                  <a:pt x="221" y="269"/>
                </a:cubicBezTo>
                <a:cubicBezTo>
                  <a:pt x="208" y="257"/>
                  <a:pt x="191" y="249"/>
                  <a:pt x="171" y="249"/>
                </a:cubicBezTo>
                <a:cubicBezTo>
                  <a:pt x="151" y="249"/>
                  <a:pt x="134" y="257"/>
                  <a:pt x="121" y="270"/>
                </a:cubicBezTo>
                <a:cubicBezTo>
                  <a:pt x="121" y="269"/>
                  <a:pt x="121" y="269"/>
                  <a:pt x="121" y="269"/>
                </a:cubicBezTo>
                <a:cubicBezTo>
                  <a:pt x="108" y="282"/>
                  <a:pt x="100" y="300"/>
                  <a:pt x="100" y="320"/>
                </a:cubicBezTo>
                <a:cubicBezTo>
                  <a:pt x="100" y="320"/>
                  <a:pt x="100" y="320"/>
                  <a:pt x="100" y="320"/>
                </a:cubicBezTo>
                <a:cubicBezTo>
                  <a:pt x="100" y="342"/>
                  <a:pt x="100" y="342"/>
                  <a:pt x="100" y="342"/>
                </a:cubicBezTo>
                <a:cubicBezTo>
                  <a:pt x="16" y="342"/>
                  <a:pt x="16" y="342"/>
                  <a:pt x="16" y="342"/>
                </a:cubicBezTo>
                <a:cubicBezTo>
                  <a:pt x="6" y="230"/>
                  <a:pt x="0" y="118"/>
                  <a:pt x="16" y="0"/>
                </a:cubicBezTo>
                <a:close/>
                <a:moveTo>
                  <a:pt x="681" y="260"/>
                </a:moveTo>
                <a:cubicBezTo>
                  <a:pt x="665" y="260"/>
                  <a:pt x="650" y="267"/>
                  <a:pt x="639" y="278"/>
                </a:cubicBezTo>
                <a:cubicBezTo>
                  <a:pt x="639" y="278"/>
                  <a:pt x="639" y="278"/>
                  <a:pt x="639" y="278"/>
                </a:cubicBezTo>
                <a:cubicBezTo>
                  <a:pt x="628" y="288"/>
                  <a:pt x="622" y="303"/>
                  <a:pt x="622" y="320"/>
                </a:cubicBezTo>
                <a:cubicBezTo>
                  <a:pt x="622" y="336"/>
                  <a:pt x="628" y="351"/>
                  <a:pt x="639" y="362"/>
                </a:cubicBezTo>
                <a:cubicBezTo>
                  <a:pt x="639" y="362"/>
                  <a:pt x="639" y="362"/>
                  <a:pt x="639" y="362"/>
                </a:cubicBezTo>
                <a:cubicBezTo>
                  <a:pt x="639" y="362"/>
                  <a:pt x="639" y="362"/>
                  <a:pt x="639" y="362"/>
                </a:cubicBezTo>
                <a:cubicBezTo>
                  <a:pt x="650" y="373"/>
                  <a:pt x="665" y="379"/>
                  <a:pt x="681" y="379"/>
                </a:cubicBezTo>
                <a:cubicBezTo>
                  <a:pt x="698" y="379"/>
                  <a:pt x="713" y="373"/>
                  <a:pt x="723" y="362"/>
                </a:cubicBezTo>
                <a:cubicBezTo>
                  <a:pt x="723" y="362"/>
                  <a:pt x="723" y="362"/>
                  <a:pt x="723" y="362"/>
                </a:cubicBezTo>
                <a:cubicBezTo>
                  <a:pt x="734" y="351"/>
                  <a:pt x="741" y="336"/>
                  <a:pt x="741" y="320"/>
                </a:cubicBezTo>
                <a:cubicBezTo>
                  <a:pt x="741" y="303"/>
                  <a:pt x="734" y="288"/>
                  <a:pt x="723" y="278"/>
                </a:cubicBezTo>
                <a:cubicBezTo>
                  <a:pt x="713" y="267"/>
                  <a:pt x="698" y="260"/>
                  <a:pt x="681" y="260"/>
                </a:cubicBezTo>
                <a:close/>
                <a:moveTo>
                  <a:pt x="659" y="315"/>
                </a:moveTo>
                <a:cubicBezTo>
                  <a:pt x="656" y="315"/>
                  <a:pt x="654" y="317"/>
                  <a:pt x="654" y="320"/>
                </a:cubicBezTo>
                <a:cubicBezTo>
                  <a:pt x="654" y="322"/>
                  <a:pt x="656" y="324"/>
                  <a:pt x="659" y="324"/>
                </a:cubicBezTo>
                <a:cubicBezTo>
                  <a:pt x="661" y="324"/>
                  <a:pt x="663" y="322"/>
                  <a:pt x="663" y="320"/>
                </a:cubicBezTo>
                <a:cubicBezTo>
                  <a:pt x="663" y="317"/>
                  <a:pt x="661" y="315"/>
                  <a:pt x="659" y="315"/>
                </a:cubicBezTo>
                <a:close/>
                <a:moveTo>
                  <a:pt x="662" y="333"/>
                </a:moveTo>
                <a:cubicBezTo>
                  <a:pt x="660" y="334"/>
                  <a:pt x="660" y="337"/>
                  <a:pt x="662" y="339"/>
                </a:cubicBezTo>
                <a:cubicBezTo>
                  <a:pt x="664" y="341"/>
                  <a:pt x="667" y="341"/>
                  <a:pt x="668" y="339"/>
                </a:cubicBezTo>
                <a:cubicBezTo>
                  <a:pt x="670" y="337"/>
                  <a:pt x="670" y="334"/>
                  <a:pt x="668" y="333"/>
                </a:cubicBezTo>
                <a:cubicBezTo>
                  <a:pt x="667" y="331"/>
                  <a:pt x="664" y="331"/>
                  <a:pt x="662" y="333"/>
                </a:cubicBezTo>
                <a:close/>
                <a:moveTo>
                  <a:pt x="677" y="342"/>
                </a:moveTo>
                <a:cubicBezTo>
                  <a:pt x="677" y="345"/>
                  <a:pt x="679" y="347"/>
                  <a:pt x="681" y="347"/>
                </a:cubicBezTo>
                <a:cubicBezTo>
                  <a:pt x="684" y="347"/>
                  <a:pt x="686" y="345"/>
                  <a:pt x="686" y="342"/>
                </a:cubicBezTo>
                <a:cubicBezTo>
                  <a:pt x="686" y="340"/>
                  <a:pt x="684" y="338"/>
                  <a:pt x="681" y="338"/>
                </a:cubicBezTo>
                <a:cubicBezTo>
                  <a:pt x="679" y="338"/>
                  <a:pt x="677" y="340"/>
                  <a:pt x="677" y="342"/>
                </a:cubicBezTo>
                <a:close/>
                <a:moveTo>
                  <a:pt x="694" y="339"/>
                </a:moveTo>
                <a:cubicBezTo>
                  <a:pt x="696" y="341"/>
                  <a:pt x="699" y="341"/>
                  <a:pt x="701" y="339"/>
                </a:cubicBezTo>
                <a:cubicBezTo>
                  <a:pt x="702" y="337"/>
                  <a:pt x="702" y="334"/>
                  <a:pt x="701" y="333"/>
                </a:cubicBezTo>
                <a:cubicBezTo>
                  <a:pt x="699" y="331"/>
                  <a:pt x="696" y="331"/>
                  <a:pt x="694" y="333"/>
                </a:cubicBezTo>
                <a:cubicBezTo>
                  <a:pt x="692" y="334"/>
                  <a:pt x="692" y="337"/>
                  <a:pt x="694" y="339"/>
                </a:cubicBezTo>
                <a:close/>
                <a:moveTo>
                  <a:pt x="704" y="324"/>
                </a:moveTo>
                <a:cubicBezTo>
                  <a:pt x="706" y="324"/>
                  <a:pt x="709" y="322"/>
                  <a:pt x="709" y="320"/>
                </a:cubicBezTo>
                <a:cubicBezTo>
                  <a:pt x="709" y="317"/>
                  <a:pt x="706" y="315"/>
                  <a:pt x="704" y="315"/>
                </a:cubicBezTo>
                <a:cubicBezTo>
                  <a:pt x="701" y="315"/>
                  <a:pt x="699" y="317"/>
                  <a:pt x="699" y="320"/>
                </a:cubicBezTo>
                <a:cubicBezTo>
                  <a:pt x="699" y="322"/>
                  <a:pt x="701" y="324"/>
                  <a:pt x="704" y="324"/>
                </a:cubicBezTo>
                <a:close/>
                <a:moveTo>
                  <a:pt x="701" y="307"/>
                </a:moveTo>
                <a:cubicBezTo>
                  <a:pt x="702" y="305"/>
                  <a:pt x="702" y="302"/>
                  <a:pt x="701" y="300"/>
                </a:cubicBezTo>
                <a:cubicBezTo>
                  <a:pt x="699" y="299"/>
                  <a:pt x="696" y="299"/>
                  <a:pt x="694" y="300"/>
                </a:cubicBezTo>
                <a:cubicBezTo>
                  <a:pt x="692" y="302"/>
                  <a:pt x="692" y="305"/>
                  <a:pt x="694" y="307"/>
                </a:cubicBezTo>
                <a:cubicBezTo>
                  <a:pt x="696" y="309"/>
                  <a:pt x="699" y="309"/>
                  <a:pt x="701" y="307"/>
                </a:cubicBezTo>
                <a:close/>
                <a:moveTo>
                  <a:pt x="686" y="297"/>
                </a:moveTo>
                <a:cubicBezTo>
                  <a:pt x="686" y="295"/>
                  <a:pt x="684" y="292"/>
                  <a:pt x="681" y="292"/>
                </a:cubicBezTo>
                <a:cubicBezTo>
                  <a:pt x="679" y="292"/>
                  <a:pt x="677" y="295"/>
                  <a:pt x="677" y="297"/>
                </a:cubicBezTo>
                <a:cubicBezTo>
                  <a:pt x="677" y="300"/>
                  <a:pt x="679" y="302"/>
                  <a:pt x="681" y="302"/>
                </a:cubicBezTo>
                <a:cubicBezTo>
                  <a:pt x="684" y="302"/>
                  <a:pt x="686" y="300"/>
                  <a:pt x="686" y="297"/>
                </a:cubicBezTo>
                <a:close/>
                <a:moveTo>
                  <a:pt x="668" y="300"/>
                </a:moveTo>
                <a:cubicBezTo>
                  <a:pt x="667" y="299"/>
                  <a:pt x="664" y="299"/>
                  <a:pt x="662" y="300"/>
                </a:cubicBezTo>
                <a:cubicBezTo>
                  <a:pt x="660" y="302"/>
                  <a:pt x="660" y="305"/>
                  <a:pt x="662" y="307"/>
                </a:cubicBezTo>
                <a:cubicBezTo>
                  <a:pt x="664" y="309"/>
                  <a:pt x="667" y="309"/>
                  <a:pt x="668" y="307"/>
                </a:cubicBezTo>
                <a:cubicBezTo>
                  <a:pt x="670" y="305"/>
                  <a:pt x="670" y="302"/>
                  <a:pt x="668" y="300"/>
                </a:cubicBezTo>
                <a:close/>
                <a:moveTo>
                  <a:pt x="703" y="298"/>
                </a:moveTo>
                <a:cubicBezTo>
                  <a:pt x="697" y="292"/>
                  <a:pt x="690" y="289"/>
                  <a:pt x="681" y="289"/>
                </a:cubicBezTo>
                <a:cubicBezTo>
                  <a:pt x="673" y="289"/>
                  <a:pt x="665" y="292"/>
                  <a:pt x="659" y="298"/>
                </a:cubicBezTo>
                <a:cubicBezTo>
                  <a:pt x="659" y="298"/>
                  <a:pt x="659" y="298"/>
                  <a:pt x="659" y="298"/>
                </a:cubicBezTo>
                <a:cubicBezTo>
                  <a:pt x="654" y="304"/>
                  <a:pt x="650" y="311"/>
                  <a:pt x="650" y="320"/>
                </a:cubicBezTo>
                <a:cubicBezTo>
                  <a:pt x="650" y="328"/>
                  <a:pt x="654" y="336"/>
                  <a:pt x="659" y="342"/>
                </a:cubicBezTo>
                <a:cubicBezTo>
                  <a:pt x="659" y="342"/>
                  <a:pt x="659" y="342"/>
                  <a:pt x="659" y="342"/>
                </a:cubicBezTo>
                <a:cubicBezTo>
                  <a:pt x="665" y="347"/>
                  <a:pt x="673" y="351"/>
                  <a:pt x="681" y="351"/>
                </a:cubicBezTo>
                <a:cubicBezTo>
                  <a:pt x="690" y="351"/>
                  <a:pt x="697" y="347"/>
                  <a:pt x="703" y="342"/>
                </a:cubicBezTo>
                <a:cubicBezTo>
                  <a:pt x="703" y="342"/>
                  <a:pt x="703" y="342"/>
                  <a:pt x="703" y="342"/>
                </a:cubicBezTo>
                <a:cubicBezTo>
                  <a:pt x="709" y="336"/>
                  <a:pt x="712" y="328"/>
                  <a:pt x="712" y="320"/>
                </a:cubicBezTo>
                <a:cubicBezTo>
                  <a:pt x="712" y="311"/>
                  <a:pt x="709" y="304"/>
                  <a:pt x="703" y="298"/>
                </a:cubicBezTo>
                <a:close/>
                <a:moveTo>
                  <a:pt x="171" y="260"/>
                </a:moveTo>
                <a:cubicBezTo>
                  <a:pt x="155" y="260"/>
                  <a:pt x="140" y="267"/>
                  <a:pt x="129" y="278"/>
                </a:cubicBezTo>
                <a:cubicBezTo>
                  <a:pt x="129" y="278"/>
                  <a:pt x="129" y="278"/>
                  <a:pt x="129" y="278"/>
                </a:cubicBezTo>
                <a:cubicBezTo>
                  <a:pt x="118" y="288"/>
                  <a:pt x="111" y="303"/>
                  <a:pt x="111" y="320"/>
                </a:cubicBezTo>
                <a:cubicBezTo>
                  <a:pt x="111" y="336"/>
                  <a:pt x="118" y="351"/>
                  <a:pt x="129" y="362"/>
                </a:cubicBezTo>
                <a:cubicBezTo>
                  <a:pt x="129" y="362"/>
                  <a:pt x="129" y="362"/>
                  <a:pt x="129" y="362"/>
                </a:cubicBezTo>
                <a:cubicBezTo>
                  <a:pt x="129" y="362"/>
                  <a:pt x="129" y="362"/>
                  <a:pt x="129" y="362"/>
                </a:cubicBezTo>
                <a:cubicBezTo>
                  <a:pt x="140" y="373"/>
                  <a:pt x="155" y="379"/>
                  <a:pt x="171" y="379"/>
                </a:cubicBezTo>
                <a:cubicBezTo>
                  <a:pt x="187" y="379"/>
                  <a:pt x="202" y="373"/>
                  <a:pt x="213" y="362"/>
                </a:cubicBezTo>
                <a:cubicBezTo>
                  <a:pt x="213" y="362"/>
                  <a:pt x="213" y="362"/>
                  <a:pt x="213" y="362"/>
                </a:cubicBezTo>
                <a:cubicBezTo>
                  <a:pt x="224" y="351"/>
                  <a:pt x="231" y="336"/>
                  <a:pt x="231" y="320"/>
                </a:cubicBezTo>
                <a:cubicBezTo>
                  <a:pt x="231" y="303"/>
                  <a:pt x="224" y="288"/>
                  <a:pt x="213" y="278"/>
                </a:cubicBezTo>
                <a:cubicBezTo>
                  <a:pt x="202" y="267"/>
                  <a:pt x="187" y="260"/>
                  <a:pt x="171" y="260"/>
                </a:cubicBezTo>
                <a:close/>
                <a:moveTo>
                  <a:pt x="148" y="315"/>
                </a:moveTo>
                <a:cubicBezTo>
                  <a:pt x="146" y="315"/>
                  <a:pt x="144" y="317"/>
                  <a:pt x="144" y="320"/>
                </a:cubicBezTo>
                <a:cubicBezTo>
                  <a:pt x="144" y="322"/>
                  <a:pt x="146" y="324"/>
                  <a:pt x="148" y="324"/>
                </a:cubicBezTo>
                <a:cubicBezTo>
                  <a:pt x="151" y="324"/>
                  <a:pt x="153" y="322"/>
                  <a:pt x="153" y="320"/>
                </a:cubicBezTo>
                <a:cubicBezTo>
                  <a:pt x="153" y="317"/>
                  <a:pt x="151" y="315"/>
                  <a:pt x="148" y="315"/>
                </a:cubicBezTo>
                <a:close/>
                <a:moveTo>
                  <a:pt x="152" y="333"/>
                </a:moveTo>
                <a:cubicBezTo>
                  <a:pt x="150" y="334"/>
                  <a:pt x="150" y="337"/>
                  <a:pt x="152" y="339"/>
                </a:cubicBezTo>
                <a:cubicBezTo>
                  <a:pt x="153" y="341"/>
                  <a:pt x="156" y="341"/>
                  <a:pt x="158" y="339"/>
                </a:cubicBezTo>
                <a:cubicBezTo>
                  <a:pt x="160" y="337"/>
                  <a:pt x="160" y="334"/>
                  <a:pt x="158" y="333"/>
                </a:cubicBezTo>
                <a:cubicBezTo>
                  <a:pt x="156" y="331"/>
                  <a:pt x="153" y="331"/>
                  <a:pt x="152" y="333"/>
                </a:cubicBezTo>
                <a:close/>
                <a:moveTo>
                  <a:pt x="166" y="342"/>
                </a:moveTo>
                <a:cubicBezTo>
                  <a:pt x="166" y="345"/>
                  <a:pt x="168" y="347"/>
                  <a:pt x="171" y="347"/>
                </a:cubicBezTo>
                <a:cubicBezTo>
                  <a:pt x="174" y="347"/>
                  <a:pt x="176" y="345"/>
                  <a:pt x="176" y="342"/>
                </a:cubicBezTo>
                <a:cubicBezTo>
                  <a:pt x="176" y="340"/>
                  <a:pt x="174" y="338"/>
                  <a:pt x="171" y="338"/>
                </a:cubicBezTo>
                <a:cubicBezTo>
                  <a:pt x="168" y="338"/>
                  <a:pt x="166" y="340"/>
                  <a:pt x="166" y="342"/>
                </a:cubicBezTo>
                <a:close/>
                <a:moveTo>
                  <a:pt x="184" y="339"/>
                </a:moveTo>
                <a:cubicBezTo>
                  <a:pt x="186" y="341"/>
                  <a:pt x="188" y="341"/>
                  <a:pt x="190" y="339"/>
                </a:cubicBezTo>
                <a:cubicBezTo>
                  <a:pt x="192" y="337"/>
                  <a:pt x="192" y="334"/>
                  <a:pt x="190" y="333"/>
                </a:cubicBezTo>
                <a:cubicBezTo>
                  <a:pt x="188" y="331"/>
                  <a:pt x="186" y="331"/>
                  <a:pt x="184" y="333"/>
                </a:cubicBezTo>
                <a:cubicBezTo>
                  <a:pt x="182" y="334"/>
                  <a:pt x="182" y="337"/>
                  <a:pt x="184" y="339"/>
                </a:cubicBezTo>
                <a:close/>
                <a:moveTo>
                  <a:pt x="194" y="324"/>
                </a:moveTo>
                <a:cubicBezTo>
                  <a:pt x="196" y="324"/>
                  <a:pt x="198" y="322"/>
                  <a:pt x="198" y="320"/>
                </a:cubicBezTo>
                <a:cubicBezTo>
                  <a:pt x="198" y="317"/>
                  <a:pt x="196" y="315"/>
                  <a:pt x="194" y="315"/>
                </a:cubicBezTo>
                <a:cubicBezTo>
                  <a:pt x="191" y="315"/>
                  <a:pt x="189" y="317"/>
                  <a:pt x="189" y="320"/>
                </a:cubicBezTo>
                <a:cubicBezTo>
                  <a:pt x="189" y="322"/>
                  <a:pt x="191" y="324"/>
                  <a:pt x="194" y="324"/>
                </a:cubicBezTo>
                <a:close/>
                <a:moveTo>
                  <a:pt x="190" y="307"/>
                </a:moveTo>
                <a:cubicBezTo>
                  <a:pt x="192" y="305"/>
                  <a:pt x="192" y="302"/>
                  <a:pt x="190" y="300"/>
                </a:cubicBezTo>
                <a:cubicBezTo>
                  <a:pt x="188" y="299"/>
                  <a:pt x="186" y="299"/>
                  <a:pt x="184" y="300"/>
                </a:cubicBezTo>
                <a:cubicBezTo>
                  <a:pt x="182" y="302"/>
                  <a:pt x="182" y="305"/>
                  <a:pt x="184" y="307"/>
                </a:cubicBezTo>
                <a:cubicBezTo>
                  <a:pt x="186" y="309"/>
                  <a:pt x="188" y="309"/>
                  <a:pt x="190" y="307"/>
                </a:cubicBezTo>
                <a:close/>
                <a:moveTo>
                  <a:pt x="176" y="297"/>
                </a:moveTo>
                <a:cubicBezTo>
                  <a:pt x="176" y="295"/>
                  <a:pt x="174" y="292"/>
                  <a:pt x="171" y="292"/>
                </a:cubicBezTo>
                <a:cubicBezTo>
                  <a:pt x="168" y="292"/>
                  <a:pt x="166" y="295"/>
                  <a:pt x="166" y="297"/>
                </a:cubicBezTo>
                <a:cubicBezTo>
                  <a:pt x="166" y="300"/>
                  <a:pt x="168" y="302"/>
                  <a:pt x="171" y="302"/>
                </a:cubicBezTo>
                <a:cubicBezTo>
                  <a:pt x="174" y="302"/>
                  <a:pt x="176" y="300"/>
                  <a:pt x="176" y="297"/>
                </a:cubicBezTo>
                <a:close/>
                <a:moveTo>
                  <a:pt x="158" y="300"/>
                </a:moveTo>
                <a:cubicBezTo>
                  <a:pt x="156" y="299"/>
                  <a:pt x="153" y="299"/>
                  <a:pt x="152" y="300"/>
                </a:cubicBezTo>
                <a:cubicBezTo>
                  <a:pt x="150" y="302"/>
                  <a:pt x="150" y="305"/>
                  <a:pt x="152" y="307"/>
                </a:cubicBezTo>
                <a:cubicBezTo>
                  <a:pt x="153" y="309"/>
                  <a:pt x="156" y="309"/>
                  <a:pt x="158" y="307"/>
                </a:cubicBezTo>
                <a:cubicBezTo>
                  <a:pt x="160" y="305"/>
                  <a:pt x="160" y="302"/>
                  <a:pt x="158" y="300"/>
                </a:cubicBezTo>
                <a:close/>
                <a:moveTo>
                  <a:pt x="193" y="298"/>
                </a:moveTo>
                <a:cubicBezTo>
                  <a:pt x="187" y="292"/>
                  <a:pt x="179" y="289"/>
                  <a:pt x="171" y="289"/>
                </a:cubicBezTo>
                <a:cubicBezTo>
                  <a:pt x="162" y="289"/>
                  <a:pt x="155" y="292"/>
                  <a:pt x="149" y="298"/>
                </a:cubicBezTo>
                <a:cubicBezTo>
                  <a:pt x="149" y="298"/>
                  <a:pt x="149" y="298"/>
                  <a:pt x="149" y="298"/>
                </a:cubicBezTo>
                <a:cubicBezTo>
                  <a:pt x="144" y="304"/>
                  <a:pt x="140" y="311"/>
                  <a:pt x="140" y="320"/>
                </a:cubicBezTo>
                <a:cubicBezTo>
                  <a:pt x="140" y="328"/>
                  <a:pt x="144" y="336"/>
                  <a:pt x="149" y="342"/>
                </a:cubicBezTo>
                <a:cubicBezTo>
                  <a:pt x="149" y="342"/>
                  <a:pt x="149" y="342"/>
                  <a:pt x="149" y="342"/>
                </a:cubicBezTo>
                <a:cubicBezTo>
                  <a:pt x="155" y="347"/>
                  <a:pt x="162" y="351"/>
                  <a:pt x="171" y="351"/>
                </a:cubicBezTo>
                <a:cubicBezTo>
                  <a:pt x="179" y="351"/>
                  <a:pt x="187" y="347"/>
                  <a:pt x="193" y="342"/>
                </a:cubicBezTo>
                <a:cubicBezTo>
                  <a:pt x="193" y="342"/>
                  <a:pt x="193" y="342"/>
                  <a:pt x="193" y="342"/>
                </a:cubicBezTo>
                <a:cubicBezTo>
                  <a:pt x="198" y="336"/>
                  <a:pt x="202" y="328"/>
                  <a:pt x="202" y="320"/>
                </a:cubicBezTo>
                <a:cubicBezTo>
                  <a:pt x="202" y="311"/>
                  <a:pt x="198" y="304"/>
                  <a:pt x="193" y="298"/>
                </a:cubicBezTo>
                <a:close/>
                <a:moveTo>
                  <a:pt x="811" y="299"/>
                </a:moveTo>
                <a:cubicBezTo>
                  <a:pt x="815" y="258"/>
                  <a:pt x="815" y="258"/>
                  <a:pt x="815" y="258"/>
                </a:cubicBezTo>
                <a:cubicBezTo>
                  <a:pt x="773" y="254"/>
                  <a:pt x="773" y="254"/>
                  <a:pt x="773" y="254"/>
                </a:cubicBezTo>
                <a:cubicBezTo>
                  <a:pt x="751" y="252"/>
                  <a:pt x="791" y="291"/>
                  <a:pt x="811" y="299"/>
                </a:cubicBezTo>
                <a:close/>
                <a:moveTo>
                  <a:pt x="665" y="42"/>
                </a:moveTo>
                <a:cubicBezTo>
                  <a:pt x="655" y="43"/>
                  <a:pt x="651" y="48"/>
                  <a:pt x="650" y="57"/>
                </a:cubicBezTo>
                <a:cubicBezTo>
                  <a:pt x="650" y="92"/>
                  <a:pt x="650" y="127"/>
                  <a:pt x="650" y="161"/>
                </a:cubicBezTo>
                <a:cubicBezTo>
                  <a:pt x="650" y="173"/>
                  <a:pt x="657" y="179"/>
                  <a:pt x="668" y="181"/>
                </a:cubicBezTo>
                <a:cubicBezTo>
                  <a:pt x="699" y="187"/>
                  <a:pt x="731" y="193"/>
                  <a:pt x="762" y="198"/>
                </a:cubicBezTo>
                <a:cubicBezTo>
                  <a:pt x="768" y="199"/>
                  <a:pt x="778" y="196"/>
                  <a:pt x="776" y="186"/>
                </a:cubicBezTo>
                <a:cubicBezTo>
                  <a:pt x="770" y="144"/>
                  <a:pt x="764" y="101"/>
                  <a:pt x="757" y="59"/>
                </a:cubicBezTo>
                <a:cubicBezTo>
                  <a:pt x="755" y="50"/>
                  <a:pt x="750" y="43"/>
                  <a:pt x="739" y="42"/>
                </a:cubicBezTo>
                <a:cubicBezTo>
                  <a:pt x="715" y="42"/>
                  <a:pt x="690" y="42"/>
                  <a:pt x="665" y="42"/>
                </a:cubicBezTo>
                <a:close/>
                <a:moveTo>
                  <a:pt x="115" y="42"/>
                </a:moveTo>
                <a:cubicBezTo>
                  <a:pt x="53" y="42"/>
                  <a:pt x="53" y="42"/>
                  <a:pt x="53" y="42"/>
                </a:cubicBezTo>
                <a:cubicBezTo>
                  <a:pt x="46" y="42"/>
                  <a:pt x="40" y="47"/>
                  <a:pt x="40" y="55"/>
                </a:cubicBezTo>
                <a:cubicBezTo>
                  <a:pt x="40" y="164"/>
                  <a:pt x="40" y="164"/>
                  <a:pt x="40" y="164"/>
                </a:cubicBezTo>
                <a:cubicBezTo>
                  <a:pt x="40" y="171"/>
                  <a:pt x="46" y="177"/>
                  <a:pt x="53" y="177"/>
                </a:cubicBezTo>
                <a:cubicBezTo>
                  <a:pt x="115" y="177"/>
                  <a:pt x="115" y="177"/>
                  <a:pt x="115" y="177"/>
                </a:cubicBezTo>
                <a:cubicBezTo>
                  <a:pt x="122" y="177"/>
                  <a:pt x="128" y="171"/>
                  <a:pt x="128" y="164"/>
                </a:cubicBezTo>
                <a:cubicBezTo>
                  <a:pt x="128" y="55"/>
                  <a:pt x="128" y="55"/>
                  <a:pt x="128" y="55"/>
                </a:cubicBezTo>
                <a:cubicBezTo>
                  <a:pt x="128" y="47"/>
                  <a:pt x="122" y="42"/>
                  <a:pt x="115" y="42"/>
                </a:cubicBezTo>
                <a:close/>
                <a:moveTo>
                  <a:pt x="216" y="42"/>
                </a:moveTo>
                <a:cubicBezTo>
                  <a:pt x="153" y="42"/>
                  <a:pt x="153" y="42"/>
                  <a:pt x="153" y="42"/>
                </a:cubicBezTo>
                <a:cubicBezTo>
                  <a:pt x="146" y="42"/>
                  <a:pt x="141" y="47"/>
                  <a:pt x="141" y="55"/>
                </a:cubicBezTo>
                <a:cubicBezTo>
                  <a:pt x="141" y="164"/>
                  <a:pt x="141" y="164"/>
                  <a:pt x="141" y="164"/>
                </a:cubicBezTo>
                <a:cubicBezTo>
                  <a:pt x="141" y="171"/>
                  <a:pt x="146" y="177"/>
                  <a:pt x="153" y="177"/>
                </a:cubicBezTo>
                <a:cubicBezTo>
                  <a:pt x="216" y="177"/>
                  <a:pt x="216" y="177"/>
                  <a:pt x="216" y="177"/>
                </a:cubicBezTo>
                <a:cubicBezTo>
                  <a:pt x="223" y="177"/>
                  <a:pt x="229" y="171"/>
                  <a:pt x="229" y="164"/>
                </a:cubicBezTo>
                <a:cubicBezTo>
                  <a:pt x="229" y="55"/>
                  <a:pt x="229" y="55"/>
                  <a:pt x="229" y="55"/>
                </a:cubicBezTo>
                <a:cubicBezTo>
                  <a:pt x="229" y="47"/>
                  <a:pt x="223" y="42"/>
                  <a:pt x="216" y="42"/>
                </a:cubicBezTo>
                <a:close/>
                <a:moveTo>
                  <a:pt x="380" y="42"/>
                </a:moveTo>
                <a:cubicBezTo>
                  <a:pt x="313" y="42"/>
                  <a:pt x="313" y="42"/>
                  <a:pt x="313" y="42"/>
                </a:cubicBezTo>
                <a:cubicBezTo>
                  <a:pt x="313" y="85"/>
                  <a:pt x="313" y="85"/>
                  <a:pt x="313" y="85"/>
                </a:cubicBezTo>
                <a:cubicBezTo>
                  <a:pt x="393" y="85"/>
                  <a:pt x="393" y="85"/>
                  <a:pt x="393" y="85"/>
                </a:cubicBezTo>
                <a:cubicBezTo>
                  <a:pt x="393" y="55"/>
                  <a:pt x="393" y="55"/>
                  <a:pt x="393" y="55"/>
                </a:cubicBezTo>
                <a:cubicBezTo>
                  <a:pt x="393" y="47"/>
                  <a:pt x="387" y="42"/>
                  <a:pt x="380" y="42"/>
                </a:cubicBezTo>
                <a:close/>
                <a:moveTo>
                  <a:pt x="301" y="42"/>
                </a:moveTo>
                <a:cubicBezTo>
                  <a:pt x="258" y="42"/>
                  <a:pt x="258" y="42"/>
                  <a:pt x="258" y="42"/>
                </a:cubicBezTo>
                <a:cubicBezTo>
                  <a:pt x="251" y="42"/>
                  <a:pt x="245" y="47"/>
                  <a:pt x="245" y="55"/>
                </a:cubicBezTo>
                <a:cubicBezTo>
                  <a:pt x="245" y="85"/>
                  <a:pt x="245" y="85"/>
                  <a:pt x="245" y="85"/>
                </a:cubicBezTo>
                <a:cubicBezTo>
                  <a:pt x="301" y="85"/>
                  <a:pt x="301" y="85"/>
                  <a:pt x="301" y="85"/>
                </a:cubicBezTo>
                <a:cubicBezTo>
                  <a:pt x="301" y="42"/>
                  <a:pt x="301" y="42"/>
                  <a:pt x="301" y="42"/>
                </a:cubicBezTo>
                <a:close/>
                <a:moveTo>
                  <a:pt x="245" y="94"/>
                </a:moveTo>
                <a:cubicBezTo>
                  <a:pt x="245" y="164"/>
                  <a:pt x="245" y="164"/>
                  <a:pt x="245" y="164"/>
                </a:cubicBezTo>
                <a:cubicBezTo>
                  <a:pt x="245" y="171"/>
                  <a:pt x="251" y="177"/>
                  <a:pt x="258" y="177"/>
                </a:cubicBezTo>
                <a:cubicBezTo>
                  <a:pt x="380" y="177"/>
                  <a:pt x="380" y="177"/>
                  <a:pt x="380" y="177"/>
                </a:cubicBezTo>
                <a:cubicBezTo>
                  <a:pt x="387" y="177"/>
                  <a:pt x="393" y="171"/>
                  <a:pt x="393" y="164"/>
                </a:cubicBezTo>
                <a:cubicBezTo>
                  <a:pt x="393" y="94"/>
                  <a:pt x="393" y="94"/>
                  <a:pt x="393" y="94"/>
                </a:cubicBezTo>
                <a:cubicBezTo>
                  <a:pt x="313" y="94"/>
                  <a:pt x="313" y="94"/>
                  <a:pt x="313" y="94"/>
                </a:cubicBezTo>
                <a:cubicBezTo>
                  <a:pt x="301" y="94"/>
                  <a:pt x="301" y="94"/>
                  <a:pt x="301" y="94"/>
                </a:cubicBezTo>
                <a:cubicBezTo>
                  <a:pt x="245" y="94"/>
                  <a:pt x="245" y="94"/>
                  <a:pt x="245" y="94"/>
                </a:cubicBezTo>
                <a:close/>
                <a:moveTo>
                  <a:pt x="491" y="42"/>
                </a:moveTo>
                <a:cubicBezTo>
                  <a:pt x="429" y="42"/>
                  <a:pt x="429" y="42"/>
                  <a:pt x="429" y="42"/>
                </a:cubicBezTo>
                <a:cubicBezTo>
                  <a:pt x="422" y="42"/>
                  <a:pt x="416" y="47"/>
                  <a:pt x="416" y="55"/>
                </a:cubicBezTo>
                <a:cubicBezTo>
                  <a:pt x="416" y="164"/>
                  <a:pt x="416" y="164"/>
                  <a:pt x="416" y="164"/>
                </a:cubicBezTo>
                <a:cubicBezTo>
                  <a:pt x="416" y="171"/>
                  <a:pt x="422" y="177"/>
                  <a:pt x="429" y="177"/>
                </a:cubicBezTo>
                <a:cubicBezTo>
                  <a:pt x="491" y="177"/>
                  <a:pt x="491" y="177"/>
                  <a:pt x="491" y="177"/>
                </a:cubicBezTo>
                <a:cubicBezTo>
                  <a:pt x="498" y="177"/>
                  <a:pt x="504" y="171"/>
                  <a:pt x="504" y="164"/>
                </a:cubicBezTo>
                <a:cubicBezTo>
                  <a:pt x="504" y="55"/>
                  <a:pt x="504" y="55"/>
                  <a:pt x="504" y="55"/>
                </a:cubicBezTo>
                <a:cubicBezTo>
                  <a:pt x="504" y="47"/>
                  <a:pt x="498" y="42"/>
                  <a:pt x="491" y="42"/>
                </a:cubicBezTo>
                <a:close/>
                <a:moveTo>
                  <a:pt x="624" y="42"/>
                </a:moveTo>
                <a:cubicBezTo>
                  <a:pt x="538" y="42"/>
                  <a:pt x="538" y="42"/>
                  <a:pt x="538" y="42"/>
                </a:cubicBezTo>
                <a:cubicBezTo>
                  <a:pt x="531" y="42"/>
                  <a:pt x="525" y="47"/>
                  <a:pt x="525" y="55"/>
                </a:cubicBezTo>
                <a:cubicBezTo>
                  <a:pt x="525" y="164"/>
                  <a:pt x="525" y="164"/>
                  <a:pt x="525" y="164"/>
                </a:cubicBezTo>
                <a:cubicBezTo>
                  <a:pt x="525" y="171"/>
                  <a:pt x="531" y="177"/>
                  <a:pt x="538" y="177"/>
                </a:cubicBezTo>
                <a:cubicBezTo>
                  <a:pt x="624" y="177"/>
                  <a:pt x="624" y="177"/>
                  <a:pt x="624" y="177"/>
                </a:cubicBezTo>
                <a:cubicBezTo>
                  <a:pt x="632" y="177"/>
                  <a:pt x="637" y="171"/>
                  <a:pt x="637" y="164"/>
                </a:cubicBezTo>
                <a:cubicBezTo>
                  <a:pt x="637" y="55"/>
                  <a:pt x="637" y="55"/>
                  <a:pt x="637" y="55"/>
                </a:cubicBezTo>
                <a:cubicBezTo>
                  <a:pt x="637" y="47"/>
                  <a:pt x="632" y="42"/>
                  <a:pt x="624" y="42"/>
                </a:cubicBezTo>
                <a:close/>
                <a:moveTo>
                  <a:pt x="779" y="32"/>
                </a:moveTo>
                <a:cubicBezTo>
                  <a:pt x="773" y="34"/>
                  <a:pt x="769" y="38"/>
                  <a:pt x="770" y="44"/>
                </a:cubicBezTo>
                <a:cubicBezTo>
                  <a:pt x="777" y="92"/>
                  <a:pt x="784" y="140"/>
                  <a:pt x="791" y="187"/>
                </a:cubicBezTo>
                <a:cubicBezTo>
                  <a:pt x="794" y="196"/>
                  <a:pt x="800" y="198"/>
                  <a:pt x="808" y="200"/>
                </a:cubicBezTo>
                <a:cubicBezTo>
                  <a:pt x="808" y="144"/>
                  <a:pt x="801" y="87"/>
                  <a:pt x="779" y="32"/>
                </a:cubicBezTo>
                <a:close/>
              </a:path>
            </a:pathLst>
          </a:custGeom>
          <a:no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nvGrpSpPr>
          <p:cNvPr id="141" name="Group 746">
            <a:extLst>
              <a:ext uri="{FF2B5EF4-FFF2-40B4-BE49-F238E27FC236}">
                <a16:creationId xmlns:a16="http://schemas.microsoft.com/office/drawing/2014/main" id="{739D1764-1751-3792-FFF1-1CCDBBB556C2}"/>
              </a:ext>
            </a:extLst>
          </p:cNvPr>
          <p:cNvGrpSpPr/>
          <p:nvPr/>
        </p:nvGrpSpPr>
        <p:grpSpPr>
          <a:xfrm>
            <a:off x="7970676" y="2100574"/>
            <a:ext cx="1127529" cy="563765"/>
            <a:chOff x="7338286" y="2569664"/>
            <a:chExt cx="1297716" cy="697463"/>
          </a:xfrm>
        </p:grpSpPr>
        <p:sp>
          <p:nvSpPr>
            <p:cNvPr id="142" name="Line 112">
              <a:extLst>
                <a:ext uri="{FF2B5EF4-FFF2-40B4-BE49-F238E27FC236}">
                  <a16:creationId xmlns:a16="http://schemas.microsoft.com/office/drawing/2014/main" id="{8E65C31A-22A1-5A6B-8CEA-025679836852}"/>
                </a:ext>
              </a:extLst>
            </p:cNvPr>
            <p:cNvSpPr>
              <a:spLocks noChangeAspect="1" noChangeShapeType="1"/>
            </p:cNvSpPr>
            <p:nvPr/>
          </p:nvSpPr>
          <p:spPr bwMode="auto">
            <a:xfrm flipV="1">
              <a:off x="7446810" y="2623285"/>
              <a:ext cx="604641" cy="345509"/>
            </a:xfrm>
            <a:prstGeom prst="line">
              <a:avLst/>
            </a:prstGeom>
            <a:noFill/>
            <a:ln w="635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43" name="Line 113">
              <a:extLst>
                <a:ext uri="{FF2B5EF4-FFF2-40B4-BE49-F238E27FC236}">
                  <a16:creationId xmlns:a16="http://schemas.microsoft.com/office/drawing/2014/main" id="{F146A7C7-F119-DE72-6884-F0412855887B}"/>
                </a:ext>
              </a:extLst>
            </p:cNvPr>
            <p:cNvSpPr>
              <a:spLocks noChangeAspect="1" noChangeShapeType="1"/>
            </p:cNvSpPr>
            <p:nvPr/>
          </p:nvSpPr>
          <p:spPr bwMode="auto">
            <a:xfrm flipH="1">
              <a:off x="7431589" y="2569664"/>
              <a:ext cx="604641" cy="345509"/>
            </a:xfrm>
            <a:prstGeom prst="line">
              <a:avLst/>
            </a:prstGeom>
            <a:noFill/>
            <a:ln w="635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nvGrpSpPr>
            <p:cNvPr id="144" name="Group 749">
              <a:extLst>
                <a:ext uri="{FF2B5EF4-FFF2-40B4-BE49-F238E27FC236}">
                  <a16:creationId xmlns:a16="http://schemas.microsoft.com/office/drawing/2014/main" id="{0382341E-D4FC-EA87-AFA1-477463295C3C}"/>
                </a:ext>
              </a:extLst>
            </p:cNvPr>
            <p:cNvGrpSpPr>
              <a:grpSpLocks noChangeAspect="1"/>
            </p:cNvGrpSpPr>
            <p:nvPr/>
          </p:nvGrpSpPr>
          <p:grpSpPr>
            <a:xfrm>
              <a:off x="7338286" y="2779713"/>
              <a:ext cx="1297716" cy="487414"/>
              <a:chOff x="7634288" y="2779713"/>
              <a:chExt cx="1001713" cy="376237"/>
            </a:xfrm>
          </p:grpSpPr>
          <p:sp>
            <p:nvSpPr>
              <p:cNvPr id="145" name="Freeform 102">
                <a:extLst>
                  <a:ext uri="{FF2B5EF4-FFF2-40B4-BE49-F238E27FC236}">
                    <a16:creationId xmlns:a16="http://schemas.microsoft.com/office/drawing/2014/main" id="{0E323725-0A1A-D4DB-BD31-DE593B5AD66D}"/>
                  </a:ext>
                </a:extLst>
              </p:cNvPr>
              <p:cNvSpPr>
                <a:spLocks noChangeAspect="1"/>
              </p:cNvSpPr>
              <p:nvPr/>
            </p:nvSpPr>
            <p:spPr bwMode="auto">
              <a:xfrm>
                <a:off x="8501063" y="2806700"/>
                <a:ext cx="34925" cy="25400"/>
              </a:xfrm>
              <a:custGeom>
                <a:avLst/>
                <a:gdLst>
                  <a:gd name="T0" fmla="*/ 21 w 22"/>
                  <a:gd name="T1" fmla="*/ 0 h 16"/>
                  <a:gd name="T2" fmla="*/ 1 w 22"/>
                  <a:gd name="T3" fmla="*/ 0 h 16"/>
                  <a:gd name="T4" fmla="*/ 0 w 22"/>
                  <a:gd name="T5" fmla="*/ 16 h 16"/>
                  <a:gd name="T6" fmla="*/ 22 w 22"/>
                  <a:gd name="T7" fmla="*/ 16 h 16"/>
                  <a:gd name="T8" fmla="*/ 21 w 22"/>
                  <a:gd name="T9" fmla="*/ 0 h 16"/>
                </a:gdLst>
                <a:ahLst/>
                <a:cxnLst>
                  <a:cxn ang="0">
                    <a:pos x="T0" y="T1"/>
                  </a:cxn>
                  <a:cxn ang="0">
                    <a:pos x="T2" y="T3"/>
                  </a:cxn>
                  <a:cxn ang="0">
                    <a:pos x="T4" y="T5"/>
                  </a:cxn>
                  <a:cxn ang="0">
                    <a:pos x="T6" y="T7"/>
                  </a:cxn>
                  <a:cxn ang="0">
                    <a:pos x="T8" y="T9"/>
                  </a:cxn>
                </a:cxnLst>
                <a:rect l="0" t="0" r="r" b="b"/>
                <a:pathLst>
                  <a:path w="22" h="16">
                    <a:moveTo>
                      <a:pt x="21" y="0"/>
                    </a:moveTo>
                    <a:lnTo>
                      <a:pt x="1" y="0"/>
                    </a:lnTo>
                    <a:lnTo>
                      <a:pt x="0" y="16"/>
                    </a:lnTo>
                    <a:lnTo>
                      <a:pt x="22" y="16"/>
                    </a:lnTo>
                    <a:lnTo>
                      <a:pt x="21" y="0"/>
                    </a:lnTo>
                    <a:close/>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46" name="Freeform 103">
                <a:extLst>
                  <a:ext uri="{FF2B5EF4-FFF2-40B4-BE49-F238E27FC236}">
                    <a16:creationId xmlns:a16="http://schemas.microsoft.com/office/drawing/2014/main" id="{7D97FB20-1329-C9ED-E192-38CDC1C98B81}"/>
                  </a:ext>
                </a:extLst>
              </p:cNvPr>
              <p:cNvSpPr>
                <a:spLocks noChangeAspect="1" noEditPoints="1"/>
              </p:cNvSpPr>
              <p:nvPr/>
            </p:nvSpPr>
            <p:spPr bwMode="auto">
              <a:xfrm>
                <a:off x="7735888" y="3067050"/>
                <a:ext cx="88900" cy="88900"/>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6" y="46"/>
                      <a:pt x="46" y="36"/>
                      <a:pt x="46" y="23"/>
                    </a:cubicBezTo>
                    <a:cubicBezTo>
                      <a:pt x="46" y="10"/>
                      <a:pt x="36" y="0"/>
                      <a:pt x="23" y="0"/>
                    </a:cubicBezTo>
                    <a:close/>
                    <a:moveTo>
                      <a:pt x="23" y="33"/>
                    </a:moveTo>
                    <a:cubicBezTo>
                      <a:pt x="18" y="33"/>
                      <a:pt x="13" y="29"/>
                      <a:pt x="13" y="23"/>
                    </a:cubicBezTo>
                    <a:cubicBezTo>
                      <a:pt x="13" y="18"/>
                      <a:pt x="18" y="13"/>
                      <a:pt x="23" y="13"/>
                    </a:cubicBezTo>
                    <a:cubicBezTo>
                      <a:pt x="29" y="13"/>
                      <a:pt x="33" y="18"/>
                      <a:pt x="33" y="23"/>
                    </a:cubicBezTo>
                    <a:cubicBezTo>
                      <a:pt x="33" y="29"/>
                      <a:pt x="29" y="33"/>
                      <a:pt x="23" y="33"/>
                    </a:cubicBezTo>
                    <a:close/>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47" name="Freeform 104">
                <a:extLst>
                  <a:ext uri="{FF2B5EF4-FFF2-40B4-BE49-F238E27FC236}">
                    <a16:creationId xmlns:a16="http://schemas.microsoft.com/office/drawing/2014/main" id="{66BD42C1-36B2-28FC-8A1B-A1647ED4800C}"/>
                  </a:ext>
                </a:extLst>
              </p:cNvPr>
              <p:cNvSpPr>
                <a:spLocks noChangeAspect="1" noEditPoints="1"/>
              </p:cNvSpPr>
              <p:nvPr/>
            </p:nvSpPr>
            <p:spPr bwMode="auto">
              <a:xfrm>
                <a:off x="7878763" y="3067050"/>
                <a:ext cx="88900" cy="88900"/>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6" y="46"/>
                      <a:pt x="46" y="36"/>
                      <a:pt x="46" y="23"/>
                    </a:cubicBezTo>
                    <a:cubicBezTo>
                      <a:pt x="46" y="10"/>
                      <a:pt x="36" y="0"/>
                      <a:pt x="23" y="0"/>
                    </a:cubicBezTo>
                    <a:close/>
                    <a:moveTo>
                      <a:pt x="23" y="33"/>
                    </a:moveTo>
                    <a:cubicBezTo>
                      <a:pt x="18" y="33"/>
                      <a:pt x="13" y="29"/>
                      <a:pt x="13" y="23"/>
                    </a:cubicBezTo>
                    <a:cubicBezTo>
                      <a:pt x="13" y="18"/>
                      <a:pt x="18" y="13"/>
                      <a:pt x="23" y="13"/>
                    </a:cubicBezTo>
                    <a:cubicBezTo>
                      <a:pt x="29" y="13"/>
                      <a:pt x="33" y="18"/>
                      <a:pt x="33" y="23"/>
                    </a:cubicBezTo>
                    <a:cubicBezTo>
                      <a:pt x="33" y="29"/>
                      <a:pt x="29" y="33"/>
                      <a:pt x="23" y="33"/>
                    </a:cubicBezTo>
                    <a:close/>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48" name="Freeform 105">
                <a:extLst>
                  <a:ext uri="{FF2B5EF4-FFF2-40B4-BE49-F238E27FC236}">
                    <a16:creationId xmlns:a16="http://schemas.microsoft.com/office/drawing/2014/main" id="{2C538803-0B91-253D-D189-4DD22097D89C}"/>
                  </a:ext>
                </a:extLst>
              </p:cNvPr>
              <p:cNvSpPr>
                <a:spLocks noChangeAspect="1" noEditPoints="1"/>
              </p:cNvSpPr>
              <p:nvPr/>
            </p:nvSpPr>
            <p:spPr bwMode="auto">
              <a:xfrm>
                <a:off x="8369301" y="3067050"/>
                <a:ext cx="90488" cy="88900"/>
              </a:xfrm>
              <a:custGeom>
                <a:avLst/>
                <a:gdLst>
                  <a:gd name="T0" fmla="*/ 23 w 47"/>
                  <a:gd name="T1" fmla="*/ 0 h 46"/>
                  <a:gd name="T2" fmla="*/ 0 w 47"/>
                  <a:gd name="T3" fmla="*/ 23 h 46"/>
                  <a:gd name="T4" fmla="*/ 23 w 47"/>
                  <a:gd name="T5" fmla="*/ 46 h 46"/>
                  <a:gd name="T6" fmla="*/ 47 w 47"/>
                  <a:gd name="T7" fmla="*/ 23 h 46"/>
                  <a:gd name="T8" fmla="*/ 23 w 47"/>
                  <a:gd name="T9" fmla="*/ 0 h 46"/>
                  <a:gd name="T10" fmla="*/ 23 w 47"/>
                  <a:gd name="T11" fmla="*/ 33 h 46"/>
                  <a:gd name="T12" fmla="*/ 13 w 47"/>
                  <a:gd name="T13" fmla="*/ 23 h 46"/>
                  <a:gd name="T14" fmla="*/ 23 w 47"/>
                  <a:gd name="T15" fmla="*/ 13 h 46"/>
                  <a:gd name="T16" fmla="*/ 34 w 47"/>
                  <a:gd name="T17" fmla="*/ 23 h 46"/>
                  <a:gd name="T18" fmla="*/ 23 w 47"/>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23" y="0"/>
                    </a:moveTo>
                    <a:cubicBezTo>
                      <a:pt x="11" y="0"/>
                      <a:pt x="0" y="10"/>
                      <a:pt x="0" y="23"/>
                    </a:cubicBezTo>
                    <a:cubicBezTo>
                      <a:pt x="0" y="36"/>
                      <a:pt x="11" y="46"/>
                      <a:pt x="23" y="46"/>
                    </a:cubicBezTo>
                    <a:cubicBezTo>
                      <a:pt x="36" y="46"/>
                      <a:pt x="47" y="36"/>
                      <a:pt x="47" y="23"/>
                    </a:cubicBezTo>
                    <a:cubicBezTo>
                      <a:pt x="47" y="10"/>
                      <a:pt x="36" y="0"/>
                      <a:pt x="23" y="0"/>
                    </a:cubicBezTo>
                    <a:close/>
                    <a:moveTo>
                      <a:pt x="23" y="33"/>
                    </a:moveTo>
                    <a:cubicBezTo>
                      <a:pt x="18" y="33"/>
                      <a:pt x="13" y="29"/>
                      <a:pt x="13" y="23"/>
                    </a:cubicBezTo>
                    <a:cubicBezTo>
                      <a:pt x="13" y="18"/>
                      <a:pt x="18" y="13"/>
                      <a:pt x="23" y="13"/>
                    </a:cubicBezTo>
                    <a:cubicBezTo>
                      <a:pt x="29" y="13"/>
                      <a:pt x="34" y="18"/>
                      <a:pt x="34" y="23"/>
                    </a:cubicBezTo>
                    <a:cubicBezTo>
                      <a:pt x="34" y="29"/>
                      <a:pt x="29" y="33"/>
                      <a:pt x="23" y="33"/>
                    </a:cubicBezTo>
                    <a:close/>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49" name="Freeform 106">
                <a:extLst>
                  <a:ext uri="{FF2B5EF4-FFF2-40B4-BE49-F238E27FC236}">
                    <a16:creationId xmlns:a16="http://schemas.microsoft.com/office/drawing/2014/main" id="{64A8C2B6-F515-B8AA-18F3-583ADB09FD92}"/>
                  </a:ext>
                </a:extLst>
              </p:cNvPr>
              <p:cNvSpPr>
                <a:spLocks noChangeAspect="1"/>
              </p:cNvSpPr>
              <p:nvPr/>
            </p:nvSpPr>
            <p:spPr bwMode="auto">
              <a:xfrm>
                <a:off x="7654926" y="2927350"/>
                <a:ext cx="623888" cy="184150"/>
              </a:xfrm>
              <a:custGeom>
                <a:avLst/>
                <a:gdLst>
                  <a:gd name="T0" fmla="*/ 0 w 323"/>
                  <a:gd name="T1" fmla="*/ 0 h 95"/>
                  <a:gd name="T2" fmla="*/ 0 w 323"/>
                  <a:gd name="T3" fmla="*/ 95 h 95"/>
                  <a:gd name="T4" fmla="*/ 34 w 323"/>
                  <a:gd name="T5" fmla="*/ 95 h 95"/>
                  <a:gd name="T6" fmla="*/ 65 w 323"/>
                  <a:gd name="T7" fmla="*/ 64 h 95"/>
                  <a:gd name="T8" fmla="*/ 96 w 323"/>
                  <a:gd name="T9" fmla="*/ 95 h 95"/>
                  <a:gd name="T10" fmla="*/ 108 w 323"/>
                  <a:gd name="T11" fmla="*/ 95 h 95"/>
                  <a:gd name="T12" fmla="*/ 139 w 323"/>
                  <a:gd name="T13" fmla="*/ 64 h 95"/>
                  <a:gd name="T14" fmla="*/ 170 w 323"/>
                  <a:gd name="T15" fmla="*/ 95 h 95"/>
                  <a:gd name="T16" fmla="*/ 323 w 323"/>
                  <a:gd name="T17" fmla="*/ 95 h 95"/>
                  <a:gd name="T18" fmla="*/ 323 w 323"/>
                  <a:gd name="T19" fmla="*/ 0 h 95"/>
                  <a:gd name="T20" fmla="*/ 0 w 323"/>
                  <a:gd name="T2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3" h="95">
                    <a:moveTo>
                      <a:pt x="0" y="0"/>
                    </a:moveTo>
                    <a:cubicBezTo>
                      <a:pt x="0" y="95"/>
                      <a:pt x="0" y="95"/>
                      <a:pt x="0" y="95"/>
                    </a:cubicBezTo>
                    <a:cubicBezTo>
                      <a:pt x="34" y="95"/>
                      <a:pt x="34" y="95"/>
                      <a:pt x="34" y="95"/>
                    </a:cubicBezTo>
                    <a:cubicBezTo>
                      <a:pt x="34" y="78"/>
                      <a:pt x="48" y="64"/>
                      <a:pt x="65" y="64"/>
                    </a:cubicBezTo>
                    <a:cubicBezTo>
                      <a:pt x="82" y="64"/>
                      <a:pt x="96" y="78"/>
                      <a:pt x="96" y="95"/>
                    </a:cubicBezTo>
                    <a:cubicBezTo>
                      <a:pt x="108" y="95"/>
                      <a:pt x="108" y="95"/>
                      <a:pt x="108" y="95"/>
                    </a:cubicBezTo>
                    <a:cubicBezTo>
                      <a:pt x="108" y="78"/>
                      <a:pt x="122" y="64"/>
                      <a:pt x="139" y="64"/>
                    </a:cubicBezTo>
                    <a:cubicBezTo>
                      <a:pt x="156" y="64"/>
                      <a:pt x="170" y="78"/>
                      <a:pt x="170" y="95"/>
                    </a:cubicBezTo>
                    <a:cubicBezTo>
                      <a:pt x="323" y="95"/>
                      <a:pt x="323" y="95"/>
                      <a:pt x="323" y="95"/>
                    </a:cubicBezTo>
                    <a:cubicBezTo>
                      <a:pt x="323" y="0"/>
                      <a:pt x="323" y="0"/>
                      <a:pt x="323" y="0"/>
                    </a:cubicBezTo>
                    <a:lnTo>
                      <a:pt x="0" y="0"/>
                    </a:lnTo>
                    <a:close/>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0" name="Rectangle 107">
                <a:extLst>
                  <a:ext uri="{FF2B5EF4-FFF2-40B4-BE49-F238E27FC236}">
                    <a16:creationId xmlns:a16="http://schemas.microsoft.com/office/drawing/2014/main" id="{8CC833B5-F900-1C0C-798C-7B292FDA930A}"/>
                  </a:ext>
                </a:extLst>
              </p:cNvPr>
              <p:cNvSpPr>
                <a:spLocks noChangeAspect="1" noChangeArrowheads="1"/>
              </p:cNvSpPr>
              <p:nvPr/>
            </p:nvSpPr>
            <p:spPr bwMode="auto">
              <a:xfrm>
                <a:off x="8031163" y="2859088"/>
                <a:ext cx="247650" cy="68263"/>
              </a:xfrm>
              <a:prstGeom prst="rect">
                <a:avLst/>
              </a:pr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1" name="Freeform 108">
                <a:extLst>
                  <a:ext uri="{FF2B5EF4-FFF2-40B4-BE49-F238E27FC236}">
                    <a16:creationId xmlns:a16="http://schemas.microsoft.com/office/drawing/2014/main" id="{444F4A01-AB30-EF53-408E-E400632B3F80}"/>
                  </a:ext>
                </a:extLst>
              </p:cNvPr>
              <p:cNvSpPr>
                <a:spLocks noChangeAspect="1"/>
              </p:cNvSpPr>
              <p:nvPr/>
            </p:nvSpPr>
            <p:spPr bwMode="auto">
              <a:xfrm>
                <a:off x="8296276" y="2832100"/>
                <a:ext cx="339725" cy="279400"/>
              </a:xfrm>
              <a:custGeom>
                <a:avLst/>
                <a:gdLst>
                  <a:gd name="T0" fmla="*/ 151 w 176"/>
                  <a:gd name="T1" fmla="*/ 0 h 144"/>
                  <a:gd name="T2" fmla="*/ 7 w 176"/>
                  <a:gd name="T3" fmla="*/ 0 h 144"/>
                  <a:gd name="T4" fmla="*/ 0 w 176"/>
                  <a:gd name="T5" fmla="*/ 7 h 144"/>
                  <a:gd name="T6" fmla="*/ 0 w 176"/>
                  <a:gd name="T7" fmla="*/ 144 h 144"/>
                  <a:gd name="T8" fmla="*/ 30 w 176"/>
                  <a:gd name="T9" fmla="*/ 144 h 144"/>
                  <a:gd name="T10" fmla="*/ 61 w 176"/>
                  <a:gd name="T11" fmla="*/ 113 h 144"/>
                  <a:gd name="T12" fmla="*/ 92 w 176"/>
                  <a:gd name="T13" fmla="*/ 144 h 144"/>
                  <a:gd name="T14" fmla="*/ 158 w 176"/>
                  <a:gd name="T15" fmla="*/ 144 h 144"/>
                  <a:gd name="T16" fmla="*/ 176 w 176"/>
                  <a:gd name="T17" fmla="*/ 127 h 144"/>
                  <a:gd name="T18" fmla="*/ 176 w 176"/>
                  <a:gd name="T19" fmla="*/ 49 h 144"/>
                  <a:gd name="T20" fmla="*/ 163 w 176"/>
                  <a:gd name="T21" fmla="*/ 9 h 144"/>
                  <a:gd name="T22" fmla="*/ 151 w 176"/>
                  <a:gd name="T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144">
                    <a:moveTo>
                      <a:pt x="151" y="0"/>
                    </a:moveTo>
                    <a:cubicBezTo>
                      <a:pt x="7" y="0"/>
                      <a:pt x="7" y="0"/>
                      <a:pt x="7" y="0"/>
                    </a:cubicBezTo>
                    <a:cubicBezTo>
                      <a:pt x="3" y="0"/>
                      <a:pt x="0" y="3"/>
                      <a:pt x="0" y="7"/>
                    </a:cubicBezTo>
                    <a:cubicBezTo>
                      <a:pt x="0" y="144"/>
                      <a:pt x="0" y="144"/>
                      <a:pt x="0" y="144"/>
                    </a:cubicBezTo>
                    <a:cubicBezTo>
                      <a:pt x="30" y="144"/>
                      <a:pt x="30" y="144"/>
                      <a:pt x="30" y="144"/>
                    </a:cubicBezTo>
                    <a:cubicBezTo>
                      <a:pt x="30" y="127"/>
                      <a:pt x="44" y="113"/>
                      <a:pt x="61" y="113"/>
                    </a:cubicBezTo>
                    <a:cubicBezTo>
                      <a:pt x="79" y="113"/>
                      <a:pt x="92" y="127"/>
                      <a:pt x="92" y="144"/>
                    </a:cubicBezTo>
                    <a:cubicBezTo>
                      <a:pt x="158" y="144"/>
                      <a:pt x="158" y="144"/>
                      <a:pt x="158" y="144"/>
                    </a:cubicBezTo>
                    <a:cubicBezTo>
                      <a:pt x="168" y="144"/>
                      <a:pt x="176" y="136"/>
                      <a:pt x="176" y="127"/>
                    </a:cubicBezTo>
                    <a:cubicBezTo>
                      <a:pt x="176" y="49"/>
                      <a:pt x="176" y="49"/>
                      <a:pt x="176" y="49"/>
                    </a:cubicBezTo>
                    <a:cubicBezTo>
                      <a:pt x="163" y="9"/>
                      <a:pt x="163" y="9"/>
                      <a:pt x="163" y="9"/>
                    </a:cubicBezTo>
                    <a:cubicBezTo>
                      <a:pt x="162" y="3"/>
                      <a:pt x="157" y="0"/>
                      <a:pt x="151" y="0"/>
                    </a:cubicBezTo>
                    <a:close/>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2" name="Freeform 109">
                <a:extLst>
                  <a:ext uri="{FF2B5EF4-FFF2-40B4-BE49-F238E27FC236}">
                    <a16:creationId xmlns:a16="http://schemas.microsoft.com/office/drawing/2014/main" id="{DC51EA06-452C-6C9B-66B6-949195751DDC}"/>
                  </a:ext>
                </a:extLst>
              </p:cNvPr>
              <p:cNvSpPr>
                <a:spLocks noChangeAspect="1"/>
              </p:cNvSpPr>
              <p:nvPr/>
            </p:nvSpPr>
            <p:spPr bwMode="auto">
              <a:xfrm>
                <a:off x="8583613" y="2847975"/>
                <a:ext cx="52388" cy="79375"/>
              </a:xfrm>
              <a:custGeom>
                <a:avLst/>
                <a:gdLst>
                  <a:gd name="T0" fmla="*/ 33 w 33"/>
                  <a:gd name="T1" fmla="*/ 50 h 50"/>
                  <a:gd name="T2" fmla="*/ 0 w 33"/>
                  <a:gd name="T3" fmla="*/ 50 h 50"/>
                  <a:gd name="T4" fmla="*/ 0 w 33"/>
                  <a:gd name="T5" fmla="*/ 0 h 50"/>
                  <a:gd name="T6" fmla="*/ 17 w 33"/>
                  <a:gd name="T7" fmla="*/ 0 h 50"/>
                  <a:gd name="T8" fmla="*/ 33 w 33"/>
                  <a:gd name="T9" fmla="*/ 50 h 50"/>
                </a:gdLst>
                <a:ahLst/>
                <a:cxnLst>
                  <a:cxn ang="0">
                    <a:pos x="T0" y="T1"/>
                  </a:cxn>
                  <a:cxn ang="0">
                    <a:pos x="T2" y="T3"/>
                  </a:cxn>
                  <a:cxn ang="0">
                    <a:pos x="T4" y="T5"/>
                  </a:cxn>
                  <a:cxn ang="0">
                    <a:pos x="T6" y="T7"/>
                  </a:cxn>
                  <a:cxn ang="0">
                    <a:pos x="T8" y="T9"/>
                  </a:cxn>
                </a:cxnLst>
                <a:rect l="0" t="0" r="r" b="b"/>
                <a:pathLst>
                  <a:path w="33" h="50">
                    <a:moveTo>
                      <a:pt x="33" y="50"/>
                    </a:moveTo>
                    <a:lnTo>
                      <a:pt x="0" y="50"/>
                    </a:lnTo>
                    <a:lnTo>
                      <a:pt x="0" y="0"/>
                    </a:lnTo>
                    <a:lnTo>
                      <a:pt x="17" y="0"/>
                    </a:lnTo>
                    <a:lnTo>
                      <a:pt x="33" y="50"/>
                    </a:lnTo>
                    <a:close/>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3" name="Rectangle 110">
                <a:extLst>
                  <a:ext uri="{FF2B5EF4-FFF2-40B4-BE49-F238E27FC236}">
                    <a16:creationId xmlns:a16="http://schemas.microsoft.com/office/drawing/2014/main" id="{98B37380-EF75-0E26-CD82-EC7D8ED98311}"/>
                  </a:ext>
                </a:extLst>
              </p:cNvPr>
              <p:cNvSpPr>
                <a:spLocks noChangeAspect="1" noChangeArrowheads="1"/>
              </p:cNvSpPr>
              <p:nvPr/>
            </p:nvSpPr>
            <p:spPr bwMode="auto">
              <a:xfrm>
                <a:off x="8493126" y="2847975"/>
                <a:ext cx="77788" cy="79375"/>
              </a:xfrm>
              <a:prstGeom prst="rect">
                <a:avLst/>
              </a:pr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4" name="Rectangle 111">
                <a:extLst>
                  <a:ext uri="{FF2B5EF4-FFF2-40B4-BE49-F238E27FC236}">
                    <a16:creationId xmlns:a16="http://schemas.microsoft.com/office/drawing/2014/main" id="{F2054B73-4206-6550-AA8A-38B6852DFDEF}"/>
                  </a:ext>
                </a:extLst>
              </p:cNvPr>
              <p:cNvSpPr>
                <a:spLocks noChangeAspect="1" noChangeArrowheads="1"/>
              </p:cNvSpPr>
              <p:nvPr/>
            </p:nvSpPr>
            <p:spPr bwMode="auto">
              <a:xfrm>
                <a:off x="7654926" y="2892425"/>
                <a:ext cx="125413" cy="34925"/>
              </a:xfrm>
              <a:prstGeom prst="rect">
                <a:avLst/>
              </a:pr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5" name="Freeform 114">
                <a:extLst>
                  <a:ext uri="{FF2B5EF4-FFF2-40B4-BE49-F238E27FC236}">
                    <a16:creationId xmlns:a16="http://schemas.microsoft.com/office/drawing/2014/main" id="{B1C16046-2248-3803-74CB-DD53ECC3834A}"/>
                  </a:ext>
                </a:extLst>
              </p:cNvPr>
              <p:cNvSpPr>
                <a:spLocks noChangeAspect="1"/>
              </p:cNvSpPr>
              <p:nvPr/>
            </p:nvSpPr>
            <p:spPr bwMode="auto">
              <a:xfrm>
                <a:off x="7634288" y="2943225"/>
                <a:ext cx="7938" cy="34925"/>
              </a:xfrm>
              <a:custGeom>
                <a:avLst/>
                <a:gdLst>
                  <a:gd name="T0" fmla="*/ 5 w 5"/>
                  <a:gd name="T1" fmla="*/ 0 h 22"/>
                  <a:gd name="T2" fmla="*/ 0 w 5"/>
                  <a:gd name="T3" fmla="*/ 0 h 22"/>
                  <a:gd name="T4" fmla="*/ 0 w 5"/>
                  <a:gd name="T5" fmla="*/ 22 h 22"/>
                  <a:gd name="T6" fmla="*/ 5 w 5"/>
                  <a:gd name="T7" fmla="*/ 22 h 22"/>
                </a:gdLst>
                <a:ahLst/>
                <a:cxnLst>
                  <a:cxn ang="0">
                    <a:pos x="T0" y="T1"/>
                  </a:cxn>
                  <a:cxn ang="0">
                    <a:pos x="T2" y="T3"/>
                  </a:cxn>
                  <a:cxn ang="0">
                    <a:pos x="T4" y="T5"/>
                  </a:cxn>
                  <a:cxn ang="0">
                    <a:pos x="T6" y="T7"/>
                  </a:cxn>
                </a:cxnLst>
                <a:rect l="0" t="0" r="r" b="b"/>
                <a:pathLst>
                  <a:path w="5" h="22">
                    <a:moveTo>
                      <a:pt x="5" y="0"/>
                    </a:moveTo>
                    <a:lnTo>
                      <a:pt x="0" y="0"/>
                    </a:lnTo>
                    <a:lnTo>
                      <a:pt x="0" y="22"/>
                    </a:lnTo>
                    <a:lnTo>
                      <a:pt x="5" y="22"/>
                    </a:lnTo>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6" name="Freeform 115">
                <a:extLst>
                  <a:ext uri="{FF2B5EF4-FFF2-40B4-BE49-F238E27FC236}">
                    <a16:creationId xmlns:a16="http://schemas.microsoft.com/office/drawing/2014/main" id="{37388618-3D32-A3E4-FA8D-FF75FC23A07F}"/>
                  </a:ext>
                </a:extLst>
              </p:cNvPr>
              <p:cNvSpPr>
                <a:spLocks noChangeAspect="1"/>
              </p:cNvSpPr>
              <p:nvPr/>
            </p:nvSpPr>
            <p:spPr bwMode="auto">
              <a:xfrm>
                <a:off x="8539163" y="2789238"/>
                <a:ext cx="12700" cy="15875"/>
              </a:xfrm>
              <a:custGeom>
                <a:avLst/>
                <a:gdLst>
                  <a:gd name="T0" fmla="*/ 0 w 6"/>
                  <a:gd name="T1" fmla="*/ 0 h 8"/>
                  <a:gd name="T2" fmla="*/ 4 w 6"/>
                  <a:gd name="T3" fmla="*/ 3 h 8"/>
                  <a:gd name="T4" fmla="*/ 6 w 6"/>
                  <a:gd name="T5" fmla="*/ 8 h 8"/>
                </a:gdLst>
                <a:ahLst/>
                <a:cxnLst>
                  <a:cxn ang="0">
                    <a:pos x="T0" y="T1"/>
                  </a:cxn>
                  <a:cxn ang="0">
                    <a:pos x="T2" y="T3"/>
                  </a:cxn>
                  <a:cxn ang="0">
                    <a:pos x="T4" y="T5"/>
                  </a:cxn>
                </a:cxnLst>
                <a:rect l="0" t="0" r="r" b="b"/>
                <a:pathLst>
                  <a:path w="6" h="8">
                    <a:moveTo>
                      <a:pt x="0" y="0"/>
                    </a:moveTo>
                    <a:cubicBezTo>
                      <a:pt x="1" y="1"/>
                      <a:pt x="3" y="2"/>
                      <a:pt x="4" y="3"/>
                    </a:cubicBezTo>
                    <a:cubicBezTo>
                      <a:pt x="5" y="5"/>
                      <a:pt x="5" y="6"/>
                      <a:pt x="6" y="8"/>
                    </a:cubicBezTo>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7" name="Freeform 116">
                <a:extLst>
                  <a:ext uri="{FF2B5EF4-FFF2-40B4-BE49-F238E27FC236}">
                    <a16:creationId xmlns:a16="http://schemas.microsoft.com/office/drawing/2014/main" id="{37D4F4F7-4FA0-DF23-CCB4-4281D0AEEA31}"/>
                  </a:ext>
                </a:extLst>
              </p:cNvPr>
              <p:cNvSpPr>
                <a:spLocks noChangeAspect="1"/>
              </p:cNvSpPr>
              <p:nvPr/>
            </p:nvSpPr>
            <p:spPr bwMode="auto">
              <a:xfrm>
                <a:off x="8543926" y="2779713"/>
                <a:ext cx="17463" cy="22225"/>
              </a:xfrm>
              <a:custGeom>
                <a:avLst/>
                <a:gdLst>
                  <a:gd name="T0" fmla="*/ 9 w 9"/>
                  <a:gd name="T1" fmla="*/ 11 h 11"/>
                  <a:gd name="T2" fmla="*/ 6 w 9"/>
                  <a:gd name="T3" fmla="*/ 4 h 11"/>
                  <a:gd name="T4" fmla="*/ 0 w 9"/>
                  <a:gd name="T5" fmla="*/ 0 h 11"/>
                </a:gdLst>
                <a:ahLst/>
                <a:cxnLst>
                  <a:cxn ang="0">
                    <a:pos x="T0" y="T1"/>
                  </a:cxn>
                  <a:cxn ang="0">
                    <a:pos x="T2" y="T3"/>
                  </a:cxn>
                  <a:cxn ang="0">
                    <a:pos x="T4" y="T5"/>
                  </a:cxn>
                </a:cxnLst>
                <a:rect l="0" t="0" r="r" b="b"/>
                <a:pathLst>
                  <a:path w="9" h="11">
                    <a:moveTo>
                      <a:pt x="9" y="11"/>
                    </a:moveTo>
                    <a:cubicBezTo>
                      <a:pt x="9" y="9"/>
                      <a:pt x="8" y="7"/>
                      <a:pt x="6" y="4"/>
                    </a:cubicBezTo>
                    <a:cubicBezTo>
                      <a:pt x="5" y="2"/>
                      <a:pt x="3" y="1"/>
                      <a:pt x="0" y="0"/>
                    </a:cubicBezTo>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8" name="Freeform 117">
                <a:extLst>
                  <a:ext uri="{FF2B5EF4-FFF2-40B4-BE49-F238E27FC236}">
                    <a16:creationId xmlns:a16="http://schemas.microsoft.com/office/drawing/2014/main" id="{D15F7DCB-FDDD-0709-337A-A6990DD02616}"/>
                  </a:ext>
                </a:extLst>
              </p:cNvPr>
              <p:cNvSpPr>
                <a:spLocks noChangeAspect="1"/>
              </p:cNvSpPr>
              <p:nvPr/>
            </p:nvSpPr>
            <p:spPr bwMode="auto">
              <a:xfrm>
                <a:off x="8488363" y="2789238"/>
                <a:ext cx="11113" cy="15875"/>
              </a:xfrm>
              <a:custGeom>
                <a:avLst/>
                <a:gdLst>
                  <a:gd name="T0" fmla="*/ 6 w 6"/>
                  <a:gd name="T1" fmla="*/ 0 h 8"/>
                  <a:gd name="T2" fmla="*/ 1 w 6"/>
                  <a:gd name="T3" fmla="*/ 3 h 8"/>
                  <a:gd name="T4" fmla="*/ 0 w 6"/>
                  <a:gd name="T5" fmla="*/ 8 h 8"/>
                </a:gdLst>
                <a:ahLst/>
                <a:cxnLst>
                  <a:cxn ang="0">
                    <a:pos x="T0" y="T1"/>
                  </a:cxn>
                  <a:cxn ang="0">
                    <a:pos x="T2" y="T3"/>
                  </a:cxn>
                  <a:cxn ang="0">
                    <a:pos x="T4" y="T5"/>
                  </a:cxn>
                </a:cxnLst>
                <a:rect l="0" t="0" r="r" b="b"/>
                <a:pathLst>
                  <a:path w="6" h="8">
                    <a:moveTo>
                      <a:pt x="6" y="0"/>
                    </a:moveTo>
                    <a:cubicBezTo>
                      <a:pt x="4" y="1"/>
                      <a:pt x="3" y="2"/>
                      <a:pt x="1" y="3"/>
                    </a:cubicBezTo>
                    <a:cubicBezTo>
                      <a:pt x="0" y="5"/>
                      <a:pt x="0" y="6"/>
                      <a:pt x="0" y="8"/>
                    </a:cubicBezTo>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9" name="Freeform 118">
                <a:extLst>
                  <a:ext uri="{FF2B5EF4-FFF2-40B4-BE49-F238E27FC236}">
                    <a16:creationId xmlns:a16="http://schemas.microsoft.com/office/drawing/2014/main" id="{248D6817-DE9B-2148-4301-0F794F712792}"/>
                  </a:ext>
                </a:extLst>
              </p:cNvPr>
              <p:cNvSpPr>
                <a:spLocks noChangeAspect="1"/>
              </p:cNvSpPr>
              <p:nvPr/>
            </p:nvSpPr>
            <p:spPr bwMode="auto">
              <a:xfrm>
                <a:off x="8475663" y="2779713"/>
                <a:ext cx="17463" cy="22225"/>
              </a:xfrm>
              <a:custGeom>
                <a:avLst/>
                <a:gdLst>
                  <a:gd name="T0" fmla="*/ 0 w 9"/>
                  <a:gd name="T1" fmla="*/ 11 h 11"/>
                  <a:gd name="T2" fmla="*/ 3 w 9"/>
                  <a:gd name="T3" fmla="*/ 4 h 11"/>
                  <a:gd name="T4" fmla="*/ 9 w 9"/>
                  <a:gd name="T5" fmla="*/ 0 h 11"/>
                </a:gdLst>
                <a:ahLst/>
                <a:cxnLst>
                  <a:cxn ang="0">
                    <a:pos x="T0" y="T1"/>
                  </a:cxn>
                  <a:cxn ang="0">
                    <a:pos x="T2" y="T3"/>
                  </a:cxn>
                  <a:cxn ang="0">
                    <a:pos x="T4" y="T5"/>
                  </a:cxn>
                </a:cxnLst>
                <a:rect l="0" t="0" r="r" b="b"/>
                <a:pathLst>
                  <a:path w="9" h="11">
                    <a:moveTo>
                      <a:pt x="0" y="11"/>
                    </a:moveTo>
                    <a:cubicBezTo>
                      <a:pt x="0" y="9"/>
                      <a:pt x="1" y="7"/>
                      <a:pt x="3" y="4"/>
                    </a:cubicBezTo>
                    <a:cubicBezTo>
                      <a:pt x="5" y="2"/>
                      <a:pt x="7" y="1"/>
                      <a:pt x="9" y="0"/>
                    </a:cubicBezTo>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60" name="Line 119">
                <a:extLst>
                  <a:ext uri="{FF2B5EF4-FFF2-40B4-BE49-F238E27FC236}">
                    <a16:creationId xmlns:a16="http://schemas.microsoft.com/office/drawing/2014/main" id="{E887C42E-EECF-3E08-C0B0-09DE50AFFD4D}"/>
                  </a:ext>
                </a:extLst>
              </p:cNvPr>
              <p:cNvSpPr>
                <a:spLocks noChangeAspect="1" noChangeShapeType="1"/>
              </p:cNvSpPr>
              <p:nvPr/>
            </p:nvSpPr>
            <p:spPr bwMode="auto">
              <a:xfrm>
                <a:off x="8518526" y="2805113"/>
                <a:ext cx="0" cy="0"/>
              </a:xfrm>
              <a:prstGeom prst="line">
                <a:avLst/>
              </a:prstGeom>
              <a:noFill/>
              <a:ln w="635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61" name="Rectangle 120">
                <a:extLst>
                  <a:ext uri="{FF2B5EF4-FFF2-40B4-BE49-F238E27FC236}">
                    <a16:creationId xmlns:a16="http://schemas.microsoft.com/office/drawing/2014/main" id="{7D3CD1EA-9DF5-EF0C-A5F2-30AA764FD8DD}"/>
                  </a:ext>
                </a:extLst>
              </p:cNvPr>
              <p:cNvSpPr>
                <a:spLocks noChangeAspect="1" noChangeArrowheads="1"/>
              </p:cNvSpPr>
              <p:nvPr/>
            </p:nvSpPr>
            <p:spPr bwMode="auto">
              <a:xfrm>
                <a:off x="8178801" y="2974975"/>
                <a:ext cx="63500" cy="136525"/>
              </a:xfrm>
              <a:prstGeom prst="rect">
                <a:avLst/>
              </a:pr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62" name="Rectangle 121">
                <a:extLst>
                  <a:ext uri="{FF2B5EF4-FFF2-40B4-BE49-F238E27FC236}">
                    <a16:creationId xmlns:a16="http://schemas.microsoft.com/office/drawing/2014/main" id="{3CACF6A2-CCAA-B84A-1AB3-6E03AD8DB7E8}"/>
                  </a:ext>
                </a:extLst>
              </p:cNvPr>
              <p:cNvSpPr>
                <a:spLocks noChangeAspect="1" noChangeArrowheads="1"/>
              </p:cNvSpPr>
              <p:nvPr/>
            </p:nvSpPr>
            <p:spPr bwMode="auto">
              <a:xfrm>
                <a:off x="8097838" y="2974975"/>
                <a:ext cx="63500" cy="136525"/>
              </a:xfrm>
              <a:prstGeom prst="rect">
                <a:avLst/>
              </a:pr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63" name="Rectangle 122">
                <a:extLst>
                  <a:ext uri="{FF2B5EF4-FFF2-40B4-BE49-F238E27FC236}">
                    <a16:creationId xmlns:a16="http://schemas.microsoft.com/office/drawing/2014/main" id="{96D964EE-2CEF-8AED-46EF-6A41F9E4061B}"/>
                  </a:ext>
                </a:extLst>
              </p:cNvPr>
              <p:cNvSpPr>
                <a:spLocks noChangeAspect="1" noChangeArrowheads="1"/>
              </p:cNvSpPr>
              <p:nvPr/>
            </p:nvSpPr>
            <p:spPr bwMode="auto">
              <a:xfrm>
                <a:off x="8015288" y="2974975"/>
                <a:ext cx="66675" cy="136525"/>
              </a:xfrm>
              <a:prstGeom prst="rect">
                <a:avLst/>
              </a:pr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64" name="Line 123">
                <a:extLst>
                  <a:ext uri="{FF2B5EF4-FFF2-40B4-BE49-F238E27FC236}">
                    <a16:creationId xmlns:a16="http://schemas.microsoft.com/office/drawing/2014/main" id="{DF76F8D1-18F6-651E-B9E9-90B96FB85F4F}"/>
                  </a:ext>
                </a:extLst>
              </p:cNvPr>
              <p:cNvSpPr>
                <a:spLocks noChangeAspect="1" noChangeShapeType="1"/>
              </p:cNvSpPr>
              <p:nvPr/>
            </p:nvSpPr>
            <p:spPr bwMode="auto">
              <a:xfrm flipH="1">
                <a:off x="7675563" y="2974975"/>
                <a:ext cx="320675" cy="0"/>
              </a:xfrm>
              <a:prstGeom prst="line">
                <a:avLst/>
              </a:prstGeom>
              <a:noFill/>
              <a:ln w="635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65" name="Freeform 124">
                <a:extLst>
                  <a:ext uri="{FF2B5EF4-FFF2-40B4-BE49-F238E27FC236}">
                    <a16:creationId xmlns:a16="http://schemas.microsoft.com/office/drawing/2014/main" id="{D4B2DCA6-3C6C-B993-F680-1EE88E9A75F3}"/>
                  </a:ext>
                </a:extLst>
              </p:cNvPr>
              <p:cNvSpPr>
                <a:spLocks noChangeAspect="1"/>
              </p:cNvSpPr>
              <p:nvPr/>
            </p:nvSpPr>
            <p:spPr bwMode="auto">
              <a:xfrm>
                <a:off x="8472488" y="2847975"/>
                <a:ext cx="26988" cy="263525"/>
              </a:xfrm>
              <a:custGeom>
                <a:avLst/>
                <a:gdLst>
                  <a:gd name="T0" fmla="*/ 0 w 14"/>
                  <a:gd name="T1" fmla="*/ 0 h 136"/>
                  <a:gd name="T2" fmla="*/ 0 w 14"/>
                  <a:gd name="T3" fmla="*/ 100 h 136"/>
                  <a:gd name="T4" fmla="*/ 14 w 14"/>
                  <a:gd name="T5" fmla="*/ 136 h 136"/>
                </a:gdLst>
                <a:ahLst/>
                <a:cxnLst>
                  <a:cxn ang="0">
                    <a:pos x="T0" y="T1"/>
                  </a:cxn>
                  <a:cxn ang="0">
                    <a:pos x="T2" y="T3"/>
                  </a:cxn>
                  <a:cxn ang="0">
                    <a:pos x="T4" y="T5"/>
                  </a:cxn>
                </a:cxnLst>
                <a:rect l="0" t="0" r="r" b="b"/>
                <a:pathLst>
                  <a:path w="14" h="136">
                    <a:moveTo>
                      <a:pt x="0" y="0"/>
                    </a:moveTo>
                    <a:cubicBezTo>
                      <a:pt x="0" y="100"/>
                      <a:pt x="0" y="100"/>
                      <a:pt x="0" y="100"/>
                    </a:cubicBezTo>
                    <a:cubicBezTo>
                      <a:pt x="0" y="100"/>
                      <a:pt x="14" y="113"/>
                      <a:pt x="14" y="136"/>
                    </a:cubicBezTo>
                  </a:path>
                </a:pathLst>
              </a:custGeom>
              <a:noFill/>
              <a:ln w="635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66" name="Line 125">
                <a:extLst>
                  <a:ext uri="{FF2B5EF4-FFF2-40B4-BE49-F238E27FC236}">
                    <a16:creationId xmlns:a16="http://schemas.microsoft.com/office/drawing/2014/main" id="{8D3BC7E4-6107-725A-0BE2-790B92D886C1}"/>
                  </a:ext>
                </a:extLst>
              </p:cNvPr>
              <p:cNvSpPr>
                <a:spLocks noChangeAspect="1" noChangeShapeType="1"/>
              </p:cNvSpPr>
              <p:nvPr/>
            </p:nvSpPr>
            <p:spPr bwMode="auto">
              <a:xfrm>
                <a:off x="8493126" y="2960688"/>
                <a:ext cx="0" cy="25400"/>
              </a:xfrm>
              <a:prstGeom prst="line">
                <a:avLst/>
              </a:prstGeom>
              <a:noFill/>
              <a:ln w="635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67" name="Line 126">
                <a:extLst>
                  <a:ext uri="{FF2B5EF4-FFF2-40B4-BE49-F238E27FC236}">
                    <a16:creationId xmlns:a16="http://schemas.microsoft.com/office/drawing/2014/main" id="{B2C89E6D-908F-11A0-B956-AAF7D7889D6D}"/>
                  </a:ext>
                </a:extLst>
              </p:cNvPr>
              <p:cNvSpPr>
                <a:spLocks noChangeAspect="1" noChangeShapeType="1"/>
              </p:cNvSpPr>
              <p:nvPr/>
            </p:nvSpPr>
            <p:spPr bwMode="auto">
              <a:xfrm>
                <a:off x="8570913" y="2944813"/>
                <a:ext cx="0" cy="166688"/>
              </a:xfrm>
              <a:prstGeom prst="line">
                <a:avLst/>
              </a:prstGeom>
              <a:noFill/>
              <a:ln w="635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68" name="Line 127">
                <a:extLst>
                  <a:ext uri="{FF2B5EF4-FFF2-40B4-BE49-F238E27FC236}">
                    <a16:creationId xmlns:a16="http://schemas.microsoft.com/office/drawing/2014/main" id="{4128BB2B-3CCA-10CA-7AE9-D8CF2B436CCD}"/>
                  </a:ext>
                </a:extLst>
              </p:cNvPr>
              <p:cNvSpPr>
                <a:spLocks noChangeAspect="1" noChangeShapeType="1"/>
              </p:cNvSpPr>
              <p:nvPr/>
            </p:nvSpPr>
            <p:spPr bwMode="auto">
              <a:xfrm>
                <a:off x="8296276" y="2927350"/>
                <a:ext cx="153988" cy="0"/>
              </a:xfrm>
              <a:prstGeom prst="line">
                <a:avLst/>
              </a:prstGeom>
              <a:noFill/>
              <a:ln w="635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grpSp>
      <p:grpSp>
        <p:nvGrpSpPr>
          <p:cNvPr id="169" name="Group 427">
            <a:extLst>
              <a:ext uri="{FF2B5EF4-FFF2-40B4-BE49-F238E27FC236}">
                <a16:creationId xmlns:a16="http://schemas.microsoft.com/office/drawing/2014/main" id="{DD600C71-AF0E-5682-5BE0-AB1C24967E31}"/>
              </a:ext>
            </a:extLst>
          </p:cNvPr>
          <p:cNvGrpSpPr>
            <a:grpSpLocks noChangeAspect="1"/>
          </p:cNvGrpSpPr>
          <p:nvPr/>
        </p:nvGrpSpPr>
        <p:grpSpPr>
          <a:xfrm>
            <a:off x="4776086" y="4162384"/>
            <a:ext cx="738804" cy="488896"/>
            <a:chOff x="6155690" y="3120345"/>
            <a:chExt cx="966787" cy="639763"/>
          </a:xfrm>
        </p:grpSpPr>
        <p:sp>
          <p:nvSpPr>
            <p:cNvPr id="170" name="Freeform 1459">
              <a:extLst>
                <a:ext uri="{FF2B5EF4-FFF2-40B4-BE49-F238E27FC236}">
                  <a16:creationId xmlns:a16="http://schemas.microsoft.com/office/drawing/2014/main" id="{644D1DD1-BF38-A04D-05CD-93CF88A6EB18}"/>
                </a:ext>
              </a:extLst>
            </p:cNvPr>
            <p:cNvSpPr>
              <a:spLocks/>
            </p:cNvSpPr>
            <p:nvPr/>
          </p:nvSpPr>
          <p:spPr bwMode="auto">
            <a:xfrm>
              <a:off x="6795452" y="3272745"/>
              <a:ext cx="327025" cy="327025"/>
            </a:xfrm>
            <a:custGeom>
              <a:avLst/>
              <a:gdLst>
                <a:gd name="T0" fmla="*/ 144 w 206"/>
                <a:gd name="T1" fmla="*/ 0 h 206"/>
                <a:gd name="T2" fmla="*/ 0 w 206"/>
                <a:gd name="T3" fmla="*/ 0 h 206"/>
                <a:gd name="T4" fmla="*/ 0 w 206"/>
                <a:gd name="T5" fmla="*/ 206 h 206"/>
                <a:gd name="T6" fmla="*/ 206 w 206"/>
                <a:gd name="T7" fmla="*/ 206 h 206"/>
                <a:gd name="T8" fmla="*/ 206 w 206"/>
                <a:gd name="T9" fmla="*/ 94 h 206"/>
                <a:gd name="T10" fmla="*/ 144 w 206"/>
                <a:gd name="T11" fmla="*/ 0 h 206"/>
              </a:gdLst>
              <a:ahLst/>
              <a:cxnLst>
                <a:cxn ang="0">
                  <a:pos x="T0" y="T1"/>
                </a:cxn>
                <a:cxn ang="0">
                  <a:pos x="T2" y="T3"/>
                </a:cxn>
                <a:cxn ang="0">
                  <a:pos x="T4" y="T5"/>
                </a:cxn>
                <a:cxn ang="0">
                  <a:pos x="T6" y="T7"/>
                </a:cxn>
                <a:cxn ang="0">
                  <a:pos x="T8" y="T9"/>
                </a:cxn>
                <a:cxn ang="0">
                  <a:pos x="T10" y="T11"/>
                </a:cxn>
              </a:cxnLst>
              <a:rect l="0" t="0" r="r" b="b"/>
              <a:pathLst>
                <a:path w="206" h="206">
                  <a:moveTo>
                    <a:pt x="144" y="0"/>
                  </a:moveTo>
                  <a:lnTo>
                    <a:pt x="0" y="0"/>
                  </a:lnTo>
                  <a:lnTo>
                    <a:pt x="0" y="206"/>
                  </a:lnTo>
                  <a:lnTo>
                    <a:pt x="206" y="206"/>
                  </a:lnTo>
                  <a:lnTo>
                    <a:pt x="206" y="94"/>
                  </a:lnTo>
                  <a:lnTo>
                    <a:pt x="144" y="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1" name="Freeform 1460">
              <a:extLst>
                <a:ext uri="{FF2B5EF4-FFF2-40B4-BE49-F238E27FC236}">
                  <a16:creationId xmlns:a16="http://schemas.microsoft.com/office/drawing/2014/main" id="{9D598F77-B17E-D6D2-E471-B9F680231D2E}"/>
                </a:ext>
              </a:extLst>
            </p:cNvPr>
            <p:cNvSpPr>
              <a:spLocks/>
            </p:cNvSpPr>
            <p:nvPr/>
          </p:nvSpPr>
          <p:spPr bwMode="auto">
            <a:xfrm>
              <a:off x="6795452" y="3272745"/>
              <a:ext cx="327025" cy="327025"/>
            </a:xfrm>
            <a:custGeom>
              <a:avLst/>
              <a:gdLst>
                <a:gd name="T0" fmla="*/ 144 w 206"/>
                <a:gd name="T1" fmla="*/ 0 h 206"/>
                <a:gd name="T2" fmla="*/ 0 w 206"/>
                <a:gd name="T3" fmla="*/ 0 h 206"/>
                <a:gd name="T4" fmla="*/ 0 w 206"/>
                <a:gd name="T5" fmla="*/ 206 h 206"/>
                <a:gd name="T6" fmla="*/ 206 w 206"/>
                <a:gd name="T7" fmla="*/ 206 h 206"/>
                <a:gd name="T8" fmla="*/ 206 w 206"/>
                <a:gd name="T9" fmla="*/ 94 h 206"/>
                <a:gd name="T10" fmla="*/ 144 w 206"/>
                <a:gd name="T11" fmla="*/ 0 h 206"/>
              </a:gdLst>
              <a:ahLst/>
              <a:cxnLst>
                <a:cxn ang="0">
                  <a:pos x="T0" y="T1"/>
                </a:cxn>
                <a:cxn ang="0">
                  <a:pos x="T2" y="T3"/>
                </a:cxn>
                <a:cxn ang="0">
                  <a:pos x="T4" y="T5"/>
                </a:cxn>
                <a:cxn ang="0">
                  <a:pos x="T6" y="T7"/>
                </a:cxn>
                <a:cxn ang="0">
                  <a:pos x="T8" y="T9"/>
                </a:cxn>
                <a:cxn ang="0">
                  <a:pos x="T10" y="T11"/>
                </a:cxn>
              </a:cxnLst>
              <a:rect l="0" t="0" r="r" b="b"/>
              <a:pathLst>
                <a:path w="206" h="206">
                  <a:moveTo>
                    <a:pt x="144" y="0"/>
                  </a:moveTo>
                  <a:lnTo>
                    <a:pt x="0" y="0"/>
                  </a:lnTo>
                  <a:lnTo>
                    <a:pt x="0" y="206"/>
                  </a:lnTo>
                  <a:lnTo>
                    <a:pt x="206" y="206"/>
                  </a:lnTo>
                  <a:lnTo>
                    <a:pt x="206" y="94"/>
                  </a:lnTo>
                  <a:lnTo>
                    <a:pt x="144" y="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2" name="Freeform 1461">
              <a:extLst>
                <a:ext uri="{FF2B5EF4-FFF2-40B4-BE49-F238E27FC236}">
                  <a16:creationId xmlns:a16="http://schemas.microsoft.com/office/drawing/2014/main" id="{886D842F-4EC3-2212-E752-69BD9A48DB38}"/>
                </a:ext>
              </a:extLst>
            </p:cNvPr>
            <p:cNvSpPr>
              <a:spLocks/>
            </p:cNvSpPr>
            <p:nvPr/>
          </p:nvSpPr>
          <p:spPr bwMode="auto">
            <a:xfrm>
              <a:off x="6855777" y="3318782"/>
              <a:ext cx="196850" cy="96838"/>
            </a:xfrm>
            <a:custGeom>
              <a:avLst/>
              <a:gdLst>
                <a:gd name="T0" fmla="*/ 124 w 124"/>
                <a:gd name="T1" fmla="*/ 61 h 61"/>
                <a:gd name="T2" fmla="*/ 84 w 124"/>
                <a:gd name="T3" fmla="*/ 0 h 61"/>
                <a:gd name="T4" fmla="*/ 0 w 124"/>
                <a:gd name="T5" fmla="*/ 0 h 61"/>
                <a:gd name="T6" fmla="*/ 0 w 124"/>
                <a:gd name="T7" fmla="*/ 61 h 61"/>
                <a:gd name="T8" fmla="*/ 124 w 124"/>
                <a:gd name="T9" fmla="*/ 61 h 61"/>
              </a:gdLst>
              <a:ahLst/>
              <a:cxnLst>
                <a:cxn ang="0">
                  <a:pos x="T0" y="T1"/>
                </a:cxn>
                <a:cxn ang="0">
                  <a:pos x="T2" y="T3"/>
                </a:cxn>
                <a:cxn ang="0">
                  <a:pos x="T4" y="T5"/>
                </a:cxn>
                <a:cxn ang="0">
                  <a:pos x="T6" y="T7"/>
                </a:cxn>
                <a:cxn ang="0">
                  <a:pos x="T8" y="T9"/>
                </a:cxn>
              </a:cxnLst>
              <a:rect l="0" t="0" r="r" b="b"/>
              <a:pathLst>
                <a:path w="124" h="61">
                  <a:moveTo>
                    <a:pt x="124" y="61"/>
                  </a:moveTo>
                  <a:lnTo>
                    <a:pt x="84" y="0"/>
                  </a:lnTo>
                  <a:lnTo>
                    <a:pt x="0" y="0"/>
                  </a:lnTo>
                  <a:lnTo>
                    <a:pt x="0" y="61"/>
                  </a:lnTo>
                  <a:lnTo>
                    <a:pt x="124" y="61"/>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3" name="Freeform 1462">
              <a:extLst>
                <a:ext uri="{FF2B5EF4-FFF2-40B4-BE49-F238E27FC236}">
                  <a16:creationId xmlns:a16="http://schemas.microsoft.com/office/drawing/2014/main" id="{72A38033-5E42-1C98-0F02-EE20DB8094D2}"/>
                </a:ext>
              </a:extLst>
            </p:cNvPr>
            <p:cNvSpPr>
              <a:spLocks/>
            </p:cNvSpPr>
            <p:nvPr/>
          </p:nvSpPr>
          <p:spPr bwMode="auto">
            <a:xfrm>
              <a:off x="6855777" y="3318782"/>
              <a:ext cx="196850" cy="96838"/>
            </a:xfrm>
            <a:custGeom>
              <a:avLst/>
              <a:gdLst>
                <a:gd name="T0" fmla="*/ 124 w 124"/>
                <a:gd name="T1" fmla="*/ 61 h 61"/>
                <a:gd name="T2" fmla="*/ 84 w 124"/>
                <a:gd name="T3" fmla="*/ 0 h 61"/>
                <a:gd name="T4" fmla="*/ 0 w 124"/>
                <a:gd name="T5" fmla="*/ 0 h 61"/>
                <a:gd name="T6" fmla="*/ 0 w 124"/>
                <a:gd name="T7" fmla="*/ 61 h 61"/>
                <a:gd name="T8" fmla="*/ 124 w 124"/>
                <a:gd name="T9" fmla="*/ 61 h 61"/>
              </a:gdLst>
              <a:ahLst/>
              <a:cxnLst>
                <a:cxn ang="0">
                  <a:pos x="T0" y="T1"/>
                </a:cxn>
                <a:cxn ang="0">
                  <a:pos x="T2" y="T3"/>
                </a:cxn>
                <a:cxn ang="0">
                  <a:pos x="T4" y="T5"/>
                </a:cxn>
                <a:cxn ang="0">
                  <a:pos x="T6" y="T7"/>
                </a:cxn>
                <a:cxn ang="0">
                  <a:pos x="T8" y="T9"/>
                </a:cxn>
              </a:cxnLst>
              <a:rect l="0" t="0" r="r" b="b"/>
              <a:pathLst>
                <a:path w="124" h="61">
                  <a:moveTo>
                    <a:pt x="124" y="61"/>
                  </a:moveTo>
                  <a:lnTo>
                    <a:pt x="84" y="0"/>
                  </a:lnTo>
                  <a:lnTo>
                    <a:pt x="0" y="0"/>
                  </a:lnTo>
                  <a:lnTo>
                    <a:pt x="0" y="61"/>
                  </a:lnTo>
                  <a:lnTo>
                    <a:pt x="124" y="61"/>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4" name="Line 1463">
              <a:extLst>
                <a:ext uri="{FF2B5EF4-FFF2-40B4-BE49-F238E27FC236}">
                  <a16:creationId xmlns:a16="http://schemas.microsoft.com/office/drawing/2014/main" id="{D9B216BF-51B3-0369-E22E-093E479BADFA}"/>
                </a:ext>
              </a:extLst>
            </p:cNvPr>
            <p:cNvSpPr>
              <a:spLocks noChangeShapeType="1"/>
            </p:cNvSpPr>
            <p:nvPr/>
          </p:nvSpPr>
          <p:spPr bwMode="auto">
            <a:xfrm>
              <a:off x="6844665" y="3468007"/>
              <a:ext cx="58737" cy="0"/>
            </a:xfrm>
            <a:prstGeom prst="line">
              <a:avLst/>
            </a:prstGeom>
            <a:noFill/>
            <a:ln w="1270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5" name="Rectangle 1464">
              <a:extLst>
                <a:ext uri="{FF2B5EF4-FFF2-40B4-BE49-F238E27FC236}">
                  <a16:creationId xmlns:a16="http://schemas.microsoft.com/office/drawing/2014/main" id="{71E50274-DB08-1214-894A-0F903431A7BE}"/>
                </a:ext>
              </a:extLst>
            </p:cNvPr>
            <p:cNvSpPr>
              <a:spLocks noChangeArrowheads="1"/>
            </p:cNvSpPr>
            <p:nvPr/>
          </p:nvSpPr>
          <p:spPr bwMode="auto">
            <a:xfrm>
              <a:off x="6155690" y="3599770"/>
              <a:ext cx="966787" cy="38100"/>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6" name="Rectangle 1465">
              <a:extLst>
                <a:ext uri="{FF2B5EF4-FFF2-40B4-BE49-F238E27FC236}">
                  <a16:creationId xmlns:a16="http://schemas.microsoft.com/office/drawing/2014/main" id="{D57484FB-E0DA-4048-0752-B6D8BD33EAC0}"/>
                </a:ext>
              </a:extLst>
            </p:cNvPr>
            <p:cNvSpPr>
              <a:spLocks noChangeArrowheads="1"/>
            </p:cNvSpPr>
            <p:nvPr/>
          </p:nvSpPr>
          <p:spPr bwMode="auto">
            <a:xfrm>
              <a:off x="6155690" y="3599770"/>
              <a:ext cx="966787" cy="38100"/>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7" name="Rectangle 1466">
              <a:extLst>
                <a:ext uri="{FF2B5EF4-FFF2-40B4-BE49-F238E27FC236}">
                  <a16:creationId xmlns:a16="http://schemas.microsoft.com/office/drawing/2014/main" id="{1F7204FB-27AB-D372-12F3-8560811964C0}"/>
                </a:ext>
              </a:extLst>
            </p:cNvPr>
            <p:cNvSpPr>
              <a:spLocks noChangeArrowheads="1"/>
            </p:cNvSpPr>
            <p:nvPr/>
          </p:nvSpPr>
          <p:spPr bwMode="auto">
            <a:xfrm>
              <a:off x="6155690" y="3120345"/>
              <a:ext cx="639762" cy="479425"/>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8" name="Rectangle 1467">
              <a:extLst>
                <a:ext uri="{FF2B5EF4-FFF2-40B4-BE49-F238E27FC236}">
                  <a16:creationId xmlns:a16="http://schemas.microsoft.com/office/drawing/2014/main" id="{72E1B4A3-7A5F-0C2C-1A19-107BA12D3E99}"/>
                </a:ext>
              </a:extLst>
            </p:cNvPr>
            <p:cNvSpPr>
              <a:spLocks noChangeArrowheads="1"/>
            </p:cNvSpPr>
            <p:nvPr/>
          </p:nvSpPr>
          <p:spPr bwMode="auto">
            <a:xfrm>
              <a:off x="6155690" y="3120345"/>
              <a:ext cx="639762" cy="479425"/>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9" name="Rectangle 1468">
              <a:extLst>
                <a:ext uri="{FF2B5EF4-FFF2-40B4-BE49-F238E27FC236}">
                  <a16:creationId xmlns:a16="http://schemas.microsoft.com/office/drawing/2014/main" id="{96FD9ECF-486B-F62C-7BC4-B7BB3AA4BCA6}"/>
                </a:ext>
              </a:extLst>
            </p:cNvPr>
            <p:cNvSpPr>
              <a:spLocks noChangeArrowheads="1"/>
            </p:cNvSpPr>
            <p:nvPr/>
          </p:nvSpPr>
          <p:spPr bwMode="auto">
            <a:xfrm>
              <a:off x="6473190" y="3120345"/>
              <a:ext cx="122237" cy="122238"/>
            </a:xfrm>
            <a:prstGeom prst="rect">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0" name="Rectangle 1469">
              <a:extLst>
                <a:ext uri="{FF2B5EF4-FFF2-40B4-BE49-F238E27FC236}">
                  <a16:creationId xmlns:a16="http://schemas.microsoft.com/office/drawing/2014/main" id="{32078FF1-F7C5-24E2-878D-6DE9E39B109A}"/>
                </a:ext>
              </a:extLst>
            </p:cNvPr>
            <p:cNvSpPr>
              <a:spLocks noChangeArrowheads="1"/>
            </p:cNvSpPr>
            <p:nvPr/>
          </p:nvSpPr>
          <p:spPr bwMode="auto">
            <a:xfrm>
              <a:off x="6473190" y="3120345"/>
              <a:ext cx="122237" cy="122238"/>
            </a:xfrm>
            <a:prstGeom prst="rect">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1" name="Line 1470">
              <a:extLst>
                <a:ext uri="{FF2B5EF4-FFF2-40B4-BE49-F238E27FC236}">
                  <a16:creationId xmlns:a16="http://schemas.microsoft.com/office/drawing/2014/main" id="{27B82E72-6F9B-00A3-3DB3-61DD94978F7E}"/>
                </a:ext>
              </a:extLst>
            </p:cNvPr>
            <p:cNvSpPr>
              <a:spLocks noChangeShapeType="1"/>
            </p:cNvSpPr>
            <p:nvPr/>
          </p:nvSpPr>
          <p:spPr bwMode="auto">
            <a:xfrm>
              <a:off x="6225540" y="3463245"/>
              <a:ext cx="268287" cy="0"/>
            </a:xfrm>
            <a:prstGeom prst="line">
              <a:avLst/>
            </a:prstGeom>
            <a:noFill/>
            <a:ln w="1270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2" name="Line 1471">
              <a:extLst>
                <a:ext uri="{FF2B5EF4-FFF2-40B4-BE49-F238E27FC236}">
                  <a16:creationId xmlns:a16="http://schemas.microsoft.com/office/drawing/2014/main" id="{A68ECEE0-FA6A-7F12-A3A5-F88D7947B1CC}"/>
                </a:ext>
              </a:extLst>
            </p:cNvPr>
            <p:cNvSpPr>
              <a:spLocks noChangeShapeType="1"/>
            </p:cNvSpPr>
            <p:nvPr/>
          </p:nvSpPr>
          <p:spPr bwMode="auto">
            <a:xfrm>
              <a:off x="6225540" y="3512457"/>
              <a:ext cx="268287" cy="0"/>
            </a:xfrm>
            <a:prstGeom prst="line">
              <a:avLst/>
            </a:prstGeom>
            <a:noFill/>
            <a:ln w="12700" cap="rnd">
              <a:solidFill>
                <a:srgbClr val="D9281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3" name="Freeform 1472">
              <a:extLst>
                <a:ext uri="{FF2B5EF4-FFF2-40B4-BE49-F238E27FC236}">
                  <a16:creationId xmlns:a16="http://schemas.microsoft.com/office/drawing/2014/main" id="{39058DFE-368E-80B8-3320-05C716D90C35}"/>
                </a:ext>
              </a:extLst>
            </p:cNvPr>
            <p:cNvSpPr>
              <a:spLocks/>
            </p:cNvSpPr>
            <p:nvPr/>
          </p:nvSpPr>
          <p:spPr bwMode="auto">
            <a:xfrm>
              <a:off x="7054215" y="3491820"/>
              <a:ext cx="68262" cy="38100"/>
            </a:xfrm>
            <a:custGeom>
              <a:avLst/>
              <a:gdLst>
                <a:gd name="T0" fmla="*/ 36 w 36"/>
                <a:gd name="T1" fmla="*/ 20 h 20"/>
                <a:gd name="T2" fmla="*/ 11 w 36"/>
                <a:gd name="T3" fmla="*/ 20 h 20"/>
                <a:gd name="T4" fmla="*/ 0 w 36"/>
                <a:gd name="T5" fmla="*/ 10 h 20"/>
                <a:gd name="T6" fmla="*/ 11 w 36"/>
                <a:gd name="T7" fmla="*/ 0 h 20"/>
                <a:gd name="T8" fmla="*/ 20 w 36"/>
                <a:gd name="T9" fmla="*/ 0 h 20"/>
                <a:gd name="T10" fmla="*/ 36 w 36"/>
                <a:gd name="T11" fmla="*/ 0 h 20"/>
                <a:gd name="T12" fmla="*/ 36 w 3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36" h="20">
                  <a:moveTo>
                    <a:pt x="36" y="20"/>
                  </a:moveTo>
                  <a:cubicBezTo>
                    <a:pt x="11" y="20"/>
                    <a:pt x="11" y="20"/>
                    <a:pt x="11" y="20"/>
                  </a:cubicBezTo>
                  <a:cubicBezTo>
                    <a:pt x="5" y="20"/>
                    <a:pt x="0" y="16"/>
                    <a:pt x="0" y="10"/>
                  </a:cubicBezTo>
                  <a:cubicBezTo>
                    <a:pt x="0" y="5"/>
                    <a:pt x="5" y="0"/>
                    <a:pt x="11" y="0"/>
                  </a:cubicBezTo>
                  <a:cubicBezTo>
                    <a:pt x="20" y="0"/>
                    <a:pt x="20" y="0"/>
                    <a:pt x="20" y="0"/>
                  </a:cubicBezTo>
                  <a:cubicBezTo>
                    <a:pt x="36" y="0"/>
                    <a:pt x="36" y="0"/>
                    <a:pt x="36" y="0"/>
                  </a:cubicBezTo>
                  <a:lnTo>
                    <a:pt x="36" y="20"/>
                  </a:ln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4" name="Freeform 1473">
              <a:extLst>
                <a:ext uri="{FF2B5EF4-FFF2-40B4-BE49-F238E27FC236}">
                  <a16:creationId xmlns:a16="http://schemas.microsoft.com/office/drawing/2014/main" id="{7E3A933B-9C51-5164-E15B-B25A189698DC}"/>
                </a:ext>
              </a:extLst>
            </p:cNvPr>
            <p:cNvSpPr>
              <a:spLocks/>
            </p:cNvSpPr>
            <p:nvPr/>
          </p:nvSpPr>
          <p:spPr bwMode="auto">
            <a:xfrm>
              <a:off x="7054215" y="3491820"/>
              <a:ext cx="68262" cy="38100"/>
            </a:xfrm>
            <a:custGeom>
              <a:avLst/>
              <a:gdLst>
                <a:gd name="T0" fmla="*/ 36 w 36"/>
                <a:gd name="T1" fmla="*/ 20 h 20"/>
                <a:gd name="T2" fmla="*/ 11 w 36"/>
                <a:gd name="T3" fmla="*/ 20 h 20"/>
                <a:gd name="T4" fmla="*/ 0 w 36"/>
                <a:gd name="T5" fmla="*/ 10 h 20"/>
                <a:gd name="T6" fmla="*/ 11 w 36"/>
                <a:gd name="T7" fmla="*/ 0 h 20"/>
                <a:gd name="T8" fmla="*/ 20 w 36"/>
                <a:gd name="T9" fmla="*/ 0 h 20"/>
                <a:gd name="T10" fmla="*/ 36 w 36"/>
                <a:gd name="T11" fmla="*/ 0 h 20"/>
                <a:gd name="T12" fmla="*/ 36 w 3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36" h="20">
                  <a:moveTo>
                    <a:pt x="36" y="20"/>
                  </a:moveTo>
                  <a:cubicBezTo>
                    <a:pt x="11" y="20"/>
                    <a:pt x="11" y="20"/>
                    <a:pt x="11" y="20"/>
                  </a:cubicBezTo>
                  <a:cubicBezTo>
                    <a:pt x="5" y="20"/>
                    <a:pt x="0" y="16"/>
                    <a:pt x="0" y="10"/>
                  </a:cubicBezTo>
                  <a:cubicBezTo>
                    <a:pt x="0" y="5"/>
                    <a:pt x="5" y="0"/>
                    <a:pt x="11" y="0"/>
                  </a:cubicBezTo>
                  <a:cubicBezTo>
                    <a:pt x="20" y="0"/>
                    <a:pt x="20" y="0"/>
                    <a:pt x="20" y="0"/>
                  </a:cubicBezTo>
                  <a:cubicBezTo>
                    <a:pt x="36" y="0"/>
                    <a:pt x="36" y="0"/>
                    <a:pt x="36" y="0"/>
                  </a:cubicBezTo>
                  <a:lnTo>
                    <a:pt x="36" y="20"/>
                  </a:lnTo>
                  <a:close/>
                </a:path>
              </a:pathLst>
            </a:cu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5" name="Oval 1474">
              <a:extLst>
                <a:ext uri="{FF2B5EF4-FFF2-40B4-BE49-F238E27FC236}">
                  <a16:creationId xmlns:a16="http://schemas.microsoft.com/office/drawing/2014/main" id="{19225B5A-6A42-787E-AE8B-1BC37F4FB414}"/>
                </a:ext>
              </a:extLst>
            </p:cNvPr>
            <p:cNvSpPr>
              <a:spLocks noChangeArrowheads="1"/>
            </p:cNvSpPr>
            <p:nvPr/>
          </p:nvSpPr>
          <p:spPr bwMode="auto">
            <a:xfrm>
              <a:off x="6262052" y="3614057"/>
              <a:ext cx="93662" cy="93663"/>
            </a:xfrm>
            <a:prstGeom prst="ellipse">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6" name="Freeform 1475">
              <a:extLst>
                <a:ext uri="{FF2B5EF4-FFF2-40B4-BE49-F238E27FC236}">
                  <a16:creationId xmlns:a16="http://schemas.microsoft.com/office/drawing/2014/main" id="{5C7AC022-A10E-0184-50B2-CD0C8F9C72A7}"/>
                </a:ext>
              </a:extLst>
            </p:cNvPr>
            <p:cNvSpPr>
              <a:spLocks noEditPoints="1"/>
            </p:cNvSpPr>
            <p:nvPr/>
          </p:nvSpPr>
          <p:spPr bwMode="auto">
            <a:xfrm>
              <a:off x="6209665" y="3561670"/>
              <a:ext cx="200025" cy="198438"/>
            </a:xfrm>
            <a:custGeom>
              <a:avLst/>
              <a:gdLst>
                <a:gd name="T0" fmla="*/ 53 w 106"/>
                <a:gd name="T1" fmla="*/ 0 h 106"/>
                <a:gd name="T2" fmla="*/ 106 w 106"/>
                <a:gd name="T3" fmla="*/ 53 h 106"/>
                <a:gd name="T4" fmla="*/ 53 w 106"/>
                <a:gd name="T5" fmla="*/ 106 h 106"/>
                <a:gd name="T6" fmla="*/ 0 w 106"/>
                <a:gd name="T7" fmla="*/ 53 h 106"/>
                <a:gd name="T8" fmla="*/ 53 w 106"/>
                <a:gd name="T9" fmla="*/ 0 h 106"/>
                <a:gd name="T10" fmla="*/ 78 w 106"/>
                <a:gd name="T11" fmla="*/ 53 h 106"/>
                <a:gd name="T12" fmla="*/ 53 w 106"/>
                <a:gd name="T13" fmla="*/ 28 h 106"/>
                <a:gd name="T14" fmla="*/ 28 w 106"/>
                <a:gd name="T15" fmla="*/ 53 h 106"/>
                <a:gd name="T16" fmla="*/ 53 w 106"/>
                <a:gd name="T17" fmla="*/ 78 h 106"/>
                <a:gd name="T18" fmla="*/ 78 w 106"/>
                <a:gd name="T19"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0"/>
                  </a:moveTo>
                  <a:cubicBezTo>
                    <a:pt x="83" y="0"/>
                    <a:pt x="106" y="24"/>
                    <a:pt x="106" y="53"/>
                  </a:cubicBezTo>
                  <a:cubicBezTo>
                    <a:pt x="106" y="82"/>
                    <a:pt x="83" y="106"/>
                    <a:pt x="53" y="106"/>
                  </a:cubicBezTo>
                  <a:cubicBezTo>
                    <a:pt x="24" y="106"/>
                    <a:pt x="0" y="82"/>
                    <a:pt x="0" y="53"/>
                  </a:cubicBezTo>
                  <a:cubicBezTo>
                    <a:pt x="0" y="24"/>
                    <a:pt x="24" y="0"/>
                    <a:pt x="53" y="0"/>
                  </a:cubicBezTo>
                  <a:close/>
                  <a:moveTo>
                    <a:pt x="78" y="53"/>
                  </a:moveTo>
                  <a:cubicBezTo>
                    <a:pt x="78" y="39"/>
                    <a:pt x="67" y="28"/>
                    <a:pt x="53" y="28"/>
                  </a:cubicBezTo>
                  <a:cubicBezTo>
                    <a:pt x="39" y="28"/>
                    <a:pt x="28" y="39"/>
                    <a:pt x="28" y="53"/>
                  </a:cubicBezTo>
                  <a:cubicBezTo>
                    <a:pt x="28" y="67"/>
                    <a:pt x="39" y="78"/>
                    <a:pt x="53" y="78"/>
                  </a:cubicBezTo>
                  <a:cubicBezTo>
                    <a:pt x="67" y="78"/>
                    <a:pt x="78" y="67"/>
                    <a:pt x="78" y="53"/>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7" name="Oval 1476">
              <a:extLst>
                <a:ext uri="{FF2B5EF4-FFF2-40B4-BE49-F238E27FC236}">
                  <a16:creationId xmlns:a16="http://schemas.microsoft.com/office/drawing/2014/main" id="{CF477A12-1352-9668-D7E1-CF61F570BF2E}"/>
                </a:ext>
              </a:extLst>
            </p:cNvPr>
            <p:cNvSpPr>
              <a:spLocks noChangeArrowheads="1"/>
            </p:cNvSpPr>
            <p:nvPr/>
          </p:nvSpPr>
          <p:spPr bwMode="auto">
            <a:xfrm>
              <a:off x="6209665" y="3561670"/>
              <a:ext cx="200025" cy="198438"/>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8" name="Oval 1477">
              <a:extLst>
                <a:ext uri="{FF2B5EF4-FFF2-40B4-BE49-F238E27FC236}">
                  <a16:creationId xmlns:a16="http://schemas.microsoft.com/office/drawing/2014/main" id="{77EB7523-A8ED-FB23-A45F-778EBE858509}"/>
                </a:ext>
              </a:extLst>
            </p:cNvPr>
            <p:cNvSpPr>
              <a:spLocks noChangeArrowheads="1"/>
            </p:cNvSpPr>
            <p:nvPr/>
          </p:nvSpPr>
          <p:spPr bwMode="auto">
            <a:xfrm>
              <a:off x="6262052" y="3614057"/>
              <a:ext cx="93662" cy="93663"/>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9" name="Oval 1478">
              <a:extLst>
                <a:ext uri="{FF2B5EF4-FFF2-40B4-BE49-F238E27FC236}">
                  <a16:creationId xmlns:a16="http://schemas.microsoft.com/office/drawing/2014/main" id="{3DCE8E23-2F68-F433-3398-DA8FA5BCBC55}"/>
                </a:ext>
              </a:extLst>
            </p:cNvPr>
            <p:cNvSpPr>
              <a:spLocks noChangeArrowheads="1"/>
            </p:cNvSpPr>
            <p:nvPr/>
          </p:nvSpPr>
          <p:spPr bwMode="auto">
            <a:xfrm>
              <a:off x="6919277" y="3614057"/>
              <a:ext cx="93662" cy="93663"/>
            </a:xfrm>
            <a:prstGeom prst="ellipse">
              <a:avLst/>
            </a:pr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0" name="Freeform 1479">
              <a:extLst>
                <a:ext uri="{FF2B5EF4-FFF2-40B4-BE49-F238E27FC236}">
                  <a16:creationId xmlns:a16="http://schemas.microsoft.com/office/drawing/2014/main" id="{CAEFD0D4-4993-04B1-AC00-B9905770AC6D}"/>
                </a:ext>
              </a:extLst>
            </p:cNvPr>
            <p:cNvSpPr>
              <a:spLocks noEditPoints="1"/>
            </p:cNvSpPr>
            <p:nvPr/>
          </p:nvSpPr>
          <p:spPr bwMode="auto">
            <a:xfrm>
              <a:off x="6866890" y="3561670"/>
              <a:ext cx="198437" cy="198438"/>
            </a:xfrm>
            <a:custGeom>
              <a:avLst/>
              <a:gdLst>
                <a:gd name="T0" fmla="*/ 53 w 106"/>
                <a:gd name="T1" fmla="*/ 0 h 106"/>
                <a:gd name="T2" fmla="*/ 106 w 106"/>
                <a:gd name="T3" fmla="*/ 53 h 106"/>
                <a:gd name="T4" fmla="*/ 53 w 106"/>
                <a:gd name="T5" fmla="*/ 106 h 106"/>
                <a:gd name="T6" fmla="*/ 0 w 106"/>
                <a:gd name="T7" fmla="*/ 53 h 106"/>
                <a:gd name="T8" fmla="*/ 53 w 106"/>
                <a:gd name="T9" fmla="*/ 0 h 106"/>
                <a:gd name="T10" fmla="*/ 78 w 106"/>
                <a:gd name="T11" fmla="*/ 53 h 106"/>
                <a:gd name="T12" fmla="*/ 53 w 106"/>
                <a:gd name="T13" fmla="*/ 28 h 106"/>
                <a:gd name="T14" fmla="*/ 28 w 106"/>
                <a:gd name="T15" fmla="*/ 53 h 106"/>
                <a:gd name="T16" fmla="*/ 53 w 106"/>
                <a:gd name="T17" fmla="*/ 78 h 106"/>
                <a:gd name="T18" fmla="*/ 78 w 106"/>
                <a:gd name="T19"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0"/>
                  </a:moveTo>
                  <a:cubicBezTo>
                    <a:pt x="82" y="0"/>
                    <a:pt x="106" y="24"/>
                    <a:pt x="106" y="53"/>
                  </a:cubicBezTo>
                  <a:cubicBezTo>
                    <a:pt x="106" y="82"/>
                    <a:pt x="82" y="106"/>
                    <a:pt x="53" y="106"/>
                  </a:cubicBezTo>
                  <a:cubicBezTo>
                    <a:pt x="23" y="106"/>
                    <a:pt x="0" y="82"/>
                    <a:pt x="0" y="53"/>
                  </a:cubicBezTo>
                  <a:cubicBezTo>
                    <a:pt x="0" y="24"/>
                    <a:pt x="23" y="0"/>
                    <a:pt x="53" y="0"/>
                  </a:cubicBezTo>
                  <a:close/>
                  <a:moveTo>
                    <a:pt x="78" y="53"/>
                  </a:moveTo>
                  <a:cubicBezTo>
                    <a:pt x="78" y="39"/>
                    <a:pt x="67" y="28"/>
                    <a:pt x="53" y="28"/>
                  </a:cubicBezTo>
                  <a:cubicBezTo>
                    <a:pt x="39" y="28"/>
                    <a:pt x="28" y="39"/>
                    <a:pt x="28" y="53"/>
                  </a:cubicBezTo>
                  <a:cubicBezTo>
                    <a:pt x="28" y="67"/>
                    <a:pt x="39" y="78"/>
                    <a:pt x="53" y="78"/>
                  </a:cubicBezTo>
                  <a:cubicBezTo>
                    <a:pt x="67" y="78"/>
                    <a:pt x="78" y="67"/>
                    <a:pt x="78" y="53"/>
                  </a:cubicBezTo>
                  <a:close/>
                </a:path>
              </a:pathLst>
            </a:custGeom>
            <a:solidFill>
              <a:srgbClr val="FFFFFF"/>
            </a:solidFill>
            <a:ln w="12700" cap="flat">
              <a:solidFill>
                <a:srgbClr val="D9281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1" name="Oval 1480">
              <a:extLst>
                <a:ext uri="{FF2B5EF4-FFF2-40B4-BE49-F238E27FC236}">
                  <a16:creationId xmlns:a16="http://schemas.microsoft.com/office/drawing/2014/main" id="{22E77A45-D02E-12F0-BF79-C2C7BF1713BA}"/>
                </a:ext>
              </a:extLst>
            </p:cNvPr>
            <p:cNvSpPr>
              <a:spLocks noChangeArrowheads="1"/>
            </p:cNvSpPr>
            <p:nvPr/>
          </p:nvSpPr>
          <p:spPr bwMode="auto">
            <a:xfrm>
              <a:off x="6866890" y="3561670"/>
              <a:ext cx="198437" cy="198438"/>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2" name="Oval 1481">
              <a:extLst>
                <a:ext uri="{FF2B5EF4-FFF2-40B4-BE49-F238E27FC236}">
                  <a16:creationId xmlns:a16="http://schemas.microsoft.com/office/drawing/2014/main" id="{D447A461-9A8F-B316-1F9A-08E4D709E593}"/>
                </a:ext>
              </a:extLst>
            </p:cNvPr>
            <p:cNvSpPr>
              <a:spLocks noChangeArrowheads="1"/>
            </p:cNvSpPr>
            <p:nvPr/>
          </p:nvSpPr>
          <p:spPr bwMode="auto">
            <a:xfrm>
              <a:off x="6919277" y="3614057"/>
              <a:ext cx="93662" cy="93663"/>
            </a:xfrm>
            <a:prstGeom prst="ellipse">
              <a:avLst/>
            </a:prstGeom>
            <a:noFill/>
            <a:ln w="12700" cap="rnd">
              <a:solidFill>
                <a:srgbClr val="D9281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grpSp>
      <p:sp>
        <p:nvSpPr>
          <p:cNvPr id="195" name="Retângulo Arredondado 194">
            <a:extLst>
              <a:ext uri="{FF2B5EF4-FFF2-40B4-BE49-F238E27FC236}">
                <a16:creationId xmlns:a16="http://schemas.microsoft.com/office/drawing/2014/main" id="{00D3C78F-6CD8-132E-6C85-D8B60FE00C67}"/>
              </a:ext>
            </a:extLst>
          </p:cNvPr>
          <p:cNvSpPr/>
          <p:nvPr/>
        </p:nvSpPr>
        <p:spPr>
          <a:xfrm>
            <a:off x="3342739" y="3551832"/>
            <a:ext cx="1380353" cy="248498"/>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mn-cs"/>
              </a:rPr>
              <a:t>See More</a:t>
            </a:r>
          </a:p>
        </p:txBody>
      </p:sp>
      <p:sp>
        <p:nvSpPr>
          <p:cNvPr id="219" name="Espaço Reservado para Conteúdo 218">
            <a:extLst>
              <a:ext uri="{FF2B5EF4-FFF2-40B4-BE49-F238E27FC236}">
                <a16:creationId xmlns:a16="http://schemas.microsoft.com/office/drawing/2014/main" id="{75890E8E-4977-39F6-79C1-C0DB6E0BD35A}"/>
              </a:ext>
            </a:extLst>
          </p:cNvPr>
          <p:cNvSpPr>
            <a:spLocks noGrp="1"/>
          </p:cNvSpPr>
          <p:nvPr>
            <p:ph idx="1"/>
          </p:nvPr>
        </p:nvSpPr>
        <p:spPr/>
        <p:txBody>
          <a:bodyPr/>
          <a:lstStyle/>
          <a:p>
            <a:r>
              <a:rPr kumimoji="0" lang="en-US" sz="2400" b="1" i="0" u="none" strike="noStrike" kern="1200" cap="none" spc="0" normalizeH="0" baseline="0" noProof="0">
                <a:ln>
                  <a:noFill/>
                </a:ln>
                <a:solidFill>
                  <a:schemeClr val="accent1"/>
                </a:solidFill>
                <a:effectLst/>
                <a:uLnTx/>
                <a:uFillTx/>
                <a:latin typeface="Aptos" panose="020B0004020202020204" pitchFamily="34" charset="0"/>
              </a:rPr>
              <a:t>Target Applications</a:t>
            </a:r>
          </a:p>
        </p:txBody>
      </p:sp>
      <p:sp>
        <p:nvSpPr>
          <p:cNvPr id="7" name="Retângulo Arredondado 6">
            <a:extLst>
              <a:ext uri="{FF2B5EF4-FFF2-40B4-BE49-F238E27FC236}">
                <a16:creationId xmlns:a16="http://schemas.microsoft.com/office/drawing/2014/main" id="{C9A66A61-7780-B0E0-9DCB-3441FD10118D}"/>
              </a:ext>
            </a:extLst>
          </p:cNvPr>
          <p:cNvSpPr/>
          <p:nvPr/>
        </p:nvSpPr>
        <p:spPr>
          <a:xfrm>
            <a:off x="5678202" y="3551832"/>
            <a:ext cx="1380353" cy="248498"/>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mn-cs"/>
              </a:rPr>
              <a:t>See More</a:t>
            </a:r>
          </a:p>
        </p:txBody>
      </p:sp>
      <p:sp>
        <p:nvSpPr>
          <p:cNvPr id="9" name="Retângulo Arredondado 8">
            <a:extLst>
              <a:ext uri="{FF2B5EF4-FFF2-40B4-BE49-F238E27FC236}">
                <a16:creationId xmlns:a16="http://schemas.microsoft.com/office/drawing/2014/main" id="{DE053738-406A-21EB-33BC-2C5DBB654DDA}"/>
              </a:ext>
            </a:extLst>
          </p:cNvPr>
          <p:cNvSpPr/>
          <p:nvPr/>
        </p:nvSpPr>
        <p:spPr>
          <a:xfrm>
            <a:off x="7935059" y="3551832"/>
            <a:ext cx="1380353" cy="248498"/>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mn-cs"/>
              </a:rPr>
              <a:t>See More</a:t>
            </a:r>
          </a:p>
        </p:txBody>
      </p:sp>
      <p:sp>
        <p:nvSpPr>
          <p:cNvPr id="10" name="Retângulo Arredondado 9">
            <a:extLst>
              <a:ext uri="{FF2B5EF4-FFF2-40B4-BE49-F238E27FC236}">
                <a16:creationId xmlns:a16="http://schemas.microsoft.com/office/drawing/2014/main" id="{3C3C6C2A-80B8-100A-1C49-AC28517C2097}"/>
              </a:ext>
            </a:extLst>
          </p:cNvPr>
          <p:cNvSpPr/>
          <p:nvPr/>
        </p:nvSpPr>
        <p:spPr>
          <a:xfrm>
            <a:off x="4460339" y="5478846"/>
            <a:ext cx="1380353" cy="248498"/>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mn-cs"/>
              </a:rPr>
              <a:t>See More</a:t>
            </a:r>
          </a:p>
        </p:txBody>
      </p:sp>
      <p:sp>
        <p:nvSpPr>
          <p:cNvPr id="22" name="Retângulo Arredondado 21">
            <a:extLst>
              <a:ext uri="{FF2B5EF4-FFF2-40B4-BE49-F238E27FC236}">
                <a16:creationId xmlns:a16="http://schemas.microsoft.com/office/drawing/2014/main" id="{25694CD0-D097-07F0-0214-89B5C2FBBA63}"/>
              </a:ext>
            </a:extLst>
          </p:cNvPr>
          <p:cNvSpPr/>
          <p:nvPr/>
        </p:nvSpPr>
        <p:spPr>
          <a:xfrm>
            <a:off x="6766659" y="5478846"/>
            <a:ext cx="1380353" cy="248498"/>
          </a:xfrm>
          <a:prstGeom prst="roundRect">
            <a:avLst>
              <a:gd name="adj" fmla="val 50000"/>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mn-cs"/>
              </a:rPr>
              <a:t>See More</a:t>
            </a:r>
          </a:p>
        </p:txBody>
      </p:sp>
      <p:sp>
        <p:nvSpPr>
          <p:cNvPr id="3" name="Rounded Rectangle 56">
            <a:extLst>
              <a:ext uri="{FF2B5EF4-FFF2-40B4-BE49-F238E27FC236}">
                <a16:creationId xmlns:a16="http://schemas.microsoft.com/office/drawing/2014/main" id="{4B41EB65-6E8E-7771-E73C-E2B97B232B50}"/>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4" name="Conector Reto 31">
            <a:extLst>
              <a:ext uri="{FF2B5EF4-FFF2-40B4-BE49-F238E27FC236}">
                <a16:creationId xmlns:a16="http://schemas.microsoft.com/office/drawing/2014/main" id="{855158F5-B118-178A-2AD8-CB6566B7F4AE}"/>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 name="Conector Reto 75">
            <a:extLst>
              <a:ext uri="{FF2B5EF4-FFF2-40B4-BE49-F238E27FC236}">
                <a16:creationId xmlns:a16="http://schemas.microsoft.com/office/drawing/2014/main" id="{F72F361C-782C-44C4-6C89-9641C5E7B2A2}"/>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6" name="Conector Reto 31">
            <a:extLst>
              <a:ext uri="{FF2B5EF4-FFF2-40B4-BE49-F238E27FC236}">
                <a16:creationId xmlns:a16="http://schemas.microsoft.com/office/drawing/2014/main" id="{2A563CFE-06D3-1420-7AD8-8AAEDC12AC91}"/>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Conector Reto 31">
            <a:extLst>
              <a:ext uri="{FF2B5EF4-FFF2-40B4-BE49-F238E27FC236}">
                <a16:creationId xmlns:a16="http://schemas.microsoft.com/office/drawing/2014/main" id="{23904110-024B-98E0-6B2E-2C94C9C69060}"/>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78">
            <a:extLst>
              <a:ext uri="{FF2B5EF4-FFF2-40B4-BE49-F238E27FC236}">
                <a16:creationId xmlns:a16="http://schemas.microsoft.com/office/drawing/2014/main" id="{2A76BF31-C059-ACB7-FB57-37255DE23364}"/>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Conector Reto 31">
            <a:extLst>
              <a:ext uri="{FF2B5EF4-FFF2-40B4-BE49-F238E27FC236}">
                <a16:creationId xmlns:a16="http://schemas.microsoft.com/office/drawing/2014/main" id="{AD17242A-69D3-CAB0-2792-90EFC40C6D53}"/>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6" name="CaixaDeTexto 80">
            <a:extLst>
              <a:ext uri="{FF2B5EF4-FFF2-40B4-BE49-F238E27FC236}">
                <a16:creationId xmlns:a16="http://schemas.microsoft.com/office/drawing/2014/main" id="{B083AFCC-C8F6-E69F-A824-054267293D4F}"/>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37" name="CaixaDeTexto 81">
            <a:extLst>
              <a:ext uri="{FF2B5EF4-FFF2-40B4-BE49-F238E27FC236}">
                <a16:creationId xmlns:a16="http://schemas.microsoft.com/office/drawing/2014/main" id="{02E6BCF1-689C-3403-B384-1E896C5EC042}"/>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38" name="CaixaDeTexto 82">
            <a:extLst>
              <a:ext uri="{FF2B5EF4-FFF2-40B4-BE49-F238E27FC236}">
                <a16:creationId xmlns:a16="http://schemas.microsoft.com/office/drawing/2014/main" id="{E6B8AAE4-3670-7E68-6141-440C33FA62CD}"/>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39" name="CaixaDeTexto 83">
            <a:extLst>
              <a:ext uri="{FF2B5EF4-FFF2-40B4-BE49-F238E27FC236}">
                <a16:creationId xmlns:a16="http://schemas.microsoft.com/office/drawing/2014/main" id="{6984F8D3-CA58-D762-0053-D3A32293D3F6}"/>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40" name="CaixaDeTexto 84">
            <a:extLst>
              <a:ext uri="{FF2B5EF4-FFF2-40B4-BE49-F238E27FC236}">
                <a16:creationId xmlns:a16="http://schemas.microsoft.com/office/drawing/2014/main" id="{28609CAD-55FC-EF6F-F116-C89C9FA1C8C9}"/>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pplications</a:t>
            </a:r>
          </a:p>
        </p:txBody>
      </p:sp>
      <p:sp>
        <p:nvSpPr>
          <p:cNvPr id="41" name="CaixaDeTexto 85">
            <a:extLst>
              <a:ext uri="{FF2B5EF4-FFF2-40B4-BE49-F238E27FC236}">
                <a16:creationId xmlns:a16="http://schemas.microsoft.com/office/drawing/2014/main" id="{2F100DE3-EBF1-947C-AF57-CBB3E4B4C5AD}"/>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42" name="CaixaDeTexto 86">
            <a:extLst>
              <a:ext uri="{FF2B5EF4-FFF2-40B4-BE49-F238E27FC236}">
                <a16:creationId xmlns:a16="http://schemas.microsoft.com/office/drawing/2014/main" id="{4315F329-E69B-738E-8D56-65582F931BDC}"/>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193" name="CaixaDeTexto 87">
            <a:extLst>
              <a:ext uri="{FF2B5EF4-FFF2-40B4-BE49-F238E27FC236}">
                <a16:creationId xmlns:a16="http://schemas.microsoft.com/office/drawing/2014/main" id="{4F3A7E86-1160-DF5E-D221-5062DB2C7AC9}"/>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194" name="Conector Reto 31">
            <a:extLst>
              <a:ext uri="{FF2B5EF4-FFF2-40B4-BE49-F238E27FC236}">
                <a16:creationId xmlns:a16="http://schemas.microsoft.com/office/drawing/2014/main" id="{D865F940-7BFF-7CBD-F9D6-D79CF0664484}"/>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6" name="Conector Reto 31">
            <a:extLst>
              <a:ext uri="{FF2B5EF4-FFF2-40B4-BE49-F238E27FC236}">
                <a16:creationId xmlns:a16="http://schemas.microsoft.com/office/drawing/2014/main" id="{13DCF35D-E50C-7D64-4681-C7D0946D11AD}"/>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7" name="Conector Reto 17">
            <a:extLst>
              <a:ext uri="{FF2B5EF4-FFF2-40B4-BE49-F238E27FC236}">
                <a16:creationId xmlns:a16="http://schemas.microsoft.com/office/drawing/2014/main" id="{48A785E8-3D64-614E-DAB7-272E7C95983A}"/>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198" name="Rounded Rectangle 141">
            <a:extLst>
              <a:ext uri="{FF2B5EF4-FFF2-40B4-BE49-F238E27FC236}">
                <a16:creationId xmlns:a16="http://schemas.microsoft.com/office/drawing/2014/main" id="{85746D66-8D0B-931A-5EA8-20713074E753}"/>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199" name="CaixaDeTexto 89">
            <a:extLst>
              <a:ext uri="{FF2B5EF4-FFF2-40B4-BE49-F238E27FC236}">
                <a16:creationId xmlns:a16="http://schemas.microsoft.com/office/drawing/2014/main" id="{51E36510-3432-FFCB-2E25-F82891D15542}"/>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200" name="Retângulo Arredondado 128">
            <a:extLst>
              <a:ext uri="{FF2B5EF4-FFF2-40B4-BE49-F238E27FC236}">
                <a16:creationId xmlns:a16="http://schemas.microsoft.com/office/drawing/2014/main" id="{04FB9D61-E96D-A05A-3BAF-E87849126107}"/>
              </a:ext>
            </a:extLst>
          </p:cNvPr>
          <p:cNvSpPr/>
          <p:nvPr/>
        </p:nvSpPr>
        <p:spPr>
          <a:xfrm>
            <a:off x="8783064"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02" name="TextBox 60">
            <a:extLst>
              <a:ext uri="{FF2B5EF4-FFF2-40B4-BE49-F238E27FC236}">
                <a16:creationId xmlns:a16="http://schemas.microsoft.com/office/drawing/2014/main" id="{221CFA3A-8458-2377-9230-DAB0453E6ADF}"/>
              </a:ext>
            </a:extLst>
          </p:cNvPr>
          <p:cNvSpPr txBox="1"/>
          <p:nvPr/>
        </p:nvSpPr>
        <p:spPr>
          <a:xfrm>
            <a:off x="8723924"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1/6</a:t>
            </a:r>
          </a:p>
        </p:txBody>
      </p:sp>
      <p:pic>
        <p:nvPicPr>
          <p:cNvPr id="223" name="Gráfico 130" descr="Acento Circunflexo à Direita com preenchimento sólido">
            <a:extLst>
              <a:ext uri="{FF2B5EF4-FFF2-40B4-BE49-F238E27FC236}">
                <a16:creationId xmlns:a16="http://schemas.microsoft.com/office/drawing/2014/main" id="{2EA2D9FD-36CA-F55E-3AD1-524F8B843A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2415" y="6546689"/>
            <a:ext cx="156462" cy="156462"/>
          </a:xfrm>
          <a:prstGeom prst="rect">
            <a:avLst/>
          </a:prstGeom>
        </p:spPr>
      </p:pic>
    </p:spTree>
    <p:extLst>
      <p:ext uri="{BB962C8B-B14F-4D97-AF65-F5344CB8AC3E}">
        <p14:creationId xmlns:p14="http://schemas.microsoft.com/office/powerpoint/2010/main" val="32655427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8A1D0A-A147-F866-BD2A-6E0C8E83A0A4}"/>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4D7B3762-DE26-8C0D-D7ED-AA64A6DE4F1B}"/>
              </a:ext>
            </a:extLst>
          </p:cNvPr>
          <p:cNvSpPr/>
          <p:nvPr/>
        </p:nvSpPr>
        <p:spPr>
          <a:xfrm>
            <a:off x="1365504" y="1247695"/>
            <a:ext cx="10039355"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2" name="Espaço Reservado para Imagem 10">
            <a:extLst>
              <a:ext uri="{FF2B5EF4-FFF2-40B4-BE49-F238E27FC236}">
                <a16:creationId xmlns:a16="http://schemas.microsoft.com/office/drawing/2014/main" id="{C1902AD2-45B0-B00E-6C98-8F113A2CB97B}"/>
              </a:ext>
            </a:extLst>
          </p:cNvPr>
          <p:cNvPicPr>
            <a:picLocks noChangeAspect="1"/>
          </p:cNvPicPr>
          <p:nvPr/>
        </p:nvPicPr>
        <p:blipFill>
          <a:blip r:embed="rId3"/>
          <a:srcRect l="39532" t="6389" r="15996" b="4472"/>
          <a:stretch/>
        </p:blipFill>
        <p:spPr>
          <a:xfrm>
            <a:off x="2028211" y="1541721"/>
            <a:ext cx="2846425" cy="4014738"/>
          </a:xfrm>
          <a:custGeom>
            <a:avLst/>
            <a:gdLst>
              <a:gd name="connsiteX0" fmla="*/ 2600409 w 6100200"/>
              <a:gd name="connsiteY0" fmla="*/ 0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0" fmla="*/ 1820968 w 6100200"/>
              <a:gd name="connsiteY0" fmla="*/ 562381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8" fmla="*/ 1820968 w 6100200"/>
              <a:gd name="connsiteY8" fmla="*/ 562381 h 6182557"/>
              <a:gd name="connsiteX0" fmla="*/ 1820968 w 6100200"/>
              <a:gd name="connsiteY0" fmla="*/ 0 h 5620176"/>
              <a:gd name="connsiteX1" fmla="*/ 5547685 w 6100200"/>
              <a:gd name="connsiteY1" fmla="*/ 0 h 5620176"/>
              <a:gd name="connsiteX2" fmla="*/ 6100200 w 6100200"/>
              <a:gd name="connsiteY2" fmla="*/ 4436520 h 5620176"/>
              <a:gd name="connsiteX3" fmla="*/ 4413173 w 6100200"/>
              <a:gd name="connsiteY3" fmla="*/ 5620176 h 5620176"/>
              <a:gd name="connsiteX4" fmla="*/ 232259 w 6100200"/>
              <a:gd name="connsiteY4" fmla="*/ 5620176 h 5620176"/>
              <a:gd name="connsiteX5" fmla="*/ 0 w 6100200"/>
              <a:gd name="connsiteY5" fmla="*/ 5388074 h 5620176"/>
              <a:gd name="connsiteX6" fmla="*/ 0 w 6100200"/>
              <a:gd name="connsiteY6" fmla="*/ 1383077 h 5620176"/>
              <a:gd name="connsiteX7" fmla="*/ 98758 w 6100200"/>
              <a:gd name="connsiteY7" fmla="*/ 1193072 h 5620176"/>
              <a:gd name="connsiteX8" fmla="*/ 1820968 w 610020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4413173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9867 h 5630043"/>
              <a:gd name="connsiteX1" fmla="*/ 5587150 w 5587150"/>
              <a:gd name="connsiteY1" fmla="*/ 0 h 5630043"/>
              <a:gd name="connsiteX2" fmla="*/ 5587150 w 5587150"/>
              <a:gd name="connsiteY2" fmla="*/ 3982669 h 5630043"/>
              <a:gd name="connsiteX3" fmla="*/ 3239079 w 5587150"/>
              <a:gd name="connsiteY3" fmla="*/ 5630043 h 5630043"/>
              <a:gd name="connsiteX4" fmla="*/ 232259 w 5587150"/>
              <a:gd name="connsiteY4" fmla="*/ 5630043 h 5630043"/>
              <a:gd name="connsiteX5" fmla="*/ 0 w 5587150"/>
              <a:gd name="connsiteY5" fmla="*/ 5397941 h 5630043"/>
              <a:gd name="connsiteX6" fmla="*/ 0 w 5587150"/>
              <a:gd name="connsiteY6" fmla="*/ 1392944 h 5630043"/>
              <a:gd name="connsiteX7" fmla="*/ 98758 w 5587150"/>
              <a:gd name="connsiteY7" fmla="*/ 1202939 h 5630043"/>
              <a:gd name="connsiteX8" fmla="*/ 1820968 w 5587150"/>
              <a:gd name="connsiteY8" fmla="*/ 9867 h 5630043"/>
              <a:gd name="connsiteX0" fmla="*/ 1820968 w 5587150"/>
              <a:gd name="connsiteY0" fmla="*/ 0 h 5620176"/>
              <a:gd name="connsiteX1" fmla="*/ 5191339 w 5587150"/>
              <a:gd name="connsiteY1" fmla="*/ 510004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87150 w 5587150"/>
              <a:gd name="connsiteY1" fmla="*/ 391851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98965"/>
              <a:gd name="connsiteY0" fmla="*/ 0 h 5620176"/>
              <a:gd name="connsiteX1" fmla="*/ 5598965 w 5598965"/>
              <a:gd name="connsiteY1" fmla="*/ 1948 h 5620176"/>
              <a:gd name="connsiteX2" fmla="*/ 5587150 w 5598965"/>
              <a:gd name="connsiteY2" fmla="*/ 3972802 h 5620176"/>
              <a:gd name="connsiteX3" fmla="*/ 3239079 w 5598965"/>
              <a:gd name="connsiteY3" fmla="*/ 5620176 h 5620176"/>
              <a:gd name="connsiteX4" fmla="*/ 232259 w 5598965"/>
              <a:gd name="connsiteY4" fmla="*/ 5620176 h 5620176"/>
              <a:gd name="connsiteX5" fmla="*/ 0 w 5598965"/>
              <a:gd name="connsiteY5" fmla="*/ 5388074 h 5620176"/>
              <a:gd name="connsiteX6" fmla="*/ 0 w 5598965"/>
              <a:gd name="connsiteY6" fmla="*/ 1383077 h 5620176"/>
              <a:gd name="connsiteX7" fmla="*/ 98758 w 5598965"/>
              <a:gd name="connsiteY7" fmla="*/ 1193072 h 5620176"/>
              <a:gd name="connsiteX8" fmla="*/ 1820968 w 5598965"/>
              <a:gd name="connsiteY8" fmla="*/ 0 h 5620176"/>
              <a:gd name="connsiteX0" fmla="*/ 1820968 w 5593058"/>
              <a:gd name="connsiteY0" fmla="*/ 0 h 5620176"/>
              <a:gd name="connsiteX1" fmla="*/ 5593058 w 5593058"/>
              <a:gd name="connsiteY1" fmla="*/ 1948 h 5620176"/>
              <a:gd name="connsiteX2" fmla="*/ 5587150 w 5593058"/>
              <a:gd name="connsiteY2" fmla="*/ 3972802 h 5620176"/>
              <a:gd name="connsiteX3" fmla="*/ 3239079 w 5593058"/>
              <a:gd name="connsiteY3" fmla="*/ 5620176 h 5620176"/>
              <a:gd name="connsiteX4" fmla="*/ 232259 w 5593058"/>
              <a:gd name="connsiteY4" fmla="*/ 5620176 h 5620176"/>
              <a:gd name="connsiteX5" fmla="*/ 0 w 5593058"/>
              <a:gd name="connsiteY5" fmla="*/ 5388074 h 5620176"/>
              <a:gd name="connsiteX6" fmla="*/ 0 w 5593058"/>
              <a:gd name="connsiteY6" fmla="*/ 1383077 h 5620176"/>
              <a:gd name="connsiteX7" fmla="*/ 98758 w 5593058"/>
              <a:gd name="connsiteY7" fmla="*/ 1193072 h 5620176"/>
              <a:gd name="connsiteX8" fmla="*/ 1820968 w 5593058"/>
              <a:gd name="connsiteY8" fmla="*/ 0 h 5620176"/>
              <a:gd name="connsiteX0" fmla="*/ 1820968 w 5871561"/>
              <a:gd name="connsiteY0" fmla="*/ 93271 h 5713447"/>
              <a:gd name="connsiteX1" fmla="*/ 5593058 w 5871561"/>
              <a:gd name="connsiteY1" fmla="*/ 95219 h 5713447"/>
              <a:gd name="connsiteX2" fmla="*/ 5589664 w 5871561"/>
              <a:gd name="connsiteY2" fmla="*/ 372747 h 5713447"/>
              <a:gd name="connsiteX3" fmla="*/ 5587150 w 5871561"/>
              <a:gd name="connsiteY3" fmla="*/ 4066073 h 5713447"/>
              <a:gd name="connsiteX4" fmla="*/ 3239079 w 5871561"/>
              <a:gd name="connsiteY4" fmla="*/ 5713447 h 5713447"/>
              <a:gd name="connsiteX5" fmla="*/ 232259 w 5871561"/>
              <a:gd name="connsiteY5" fmla="*/ 5713447 h 5713447"/>
              <a:gd name="connsiteX6" fmla="*/ 0 w 5871561"/>
              <a:gd name="connsiteY6" fmla="*/ 5481345 h 5713447"/>
              <a:gd name="connsiteX7" fmla="*/ 0 w 5871561"/>
              <a:gd name="connsiteY7" fmla="*/ 1476348 h 5713447"/>
              <a:gd name="connsiteX8" fmla="*/ 98758 w 5871561"/>
              <a:gd name="connsiteY8" fmla="*/ 1286343 h 5713447"/>
              <a:gd name="connsiteX9" fmla="*/ 1820968 w 5871561"/>
              <a:gd name="connsiteY9"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68964"/>
              <a:gd name="connsiteY0" fmla="*/ 0 h 5620176"/>
              <a:gd name="connsiteX1" fmla="*/ 5282468 w 5868964"/>
              <a:gd name="connsiteY1" fmla="*/ 1818 h 5620176"/>
              <a:gd name="connsiteX2" fmla="*/ 5593058 w 5868964"/>
              <a:gd name="connsiteY2" fmla="*/ 1948 h 5620176"/>
              <a:gd name="connsiteX3" fmla="*/ 5589664 w 5868964"/>
              <a:gd name="connsiteY3" fmla="*/ 279476 h 5620176"/>
              <a:gd name="connsiteX4" fmla="*/ 5587150 w 5868964"/>
              <a:gd name="connsiteY4" fmla="*/ 3972802 h 5620176"/>
              <a:gd name="connsiteX5" fmla="*/ 3239079 w 5868964"/>
              <a:gd name="connsiteY5" fmla="*/ 5620176 h 5620176"/>
              <a:gd name="connsiteX6" fmla="*/ 232259 w 5868964"/>
              <a:gd name="connsiteY6" fmla="*/ 5620176 h 5620176"/>
              <a:gd name="connsiteX7" fmla="*/ 0 w 5868964"/>
              <a:gd name="connsiteY7" fmla="*/ 5388074 h 5620176"/>
              <a:gd name="connsiteX8" fmla="*/ 0 w 5868964"/>
              <a:gd name="connsiteY8" fmla="*/ 1383077 h 5620176"/>
              <a:gd name="connsiteX9" fmla="*/ 98758 w 5868964"/>
              <a:gd name="connsiteY9" fmla="*/ 1193072 h 5620176"/>
              <a:gd name="connsiteX10" fmla="*/ 1820968 w 5868964"/>
              <a:gd name="connsiteY10" fmla="*/ 0 h 5620176"/>
              <a:gd name="connsiteX0" fmla="*/ 1820968 w 5593273"/>
              <a:gd name="connsiteY0" fmla="*/ 0 h 5620176"/>
              <a:gd name="connsiteX1" fmla="*/ 5282468 w 5593273"/>
              <a:gd name="connsiteY1" fmla="*/ 1818 h 5620176"/>
              <a:gd name="connsiteX2" fmla="*/ 5589664 w 5593273"/>
              <a:gd name="connsiteY2" fmla="*/ 279476 h 5620176"/>
              <a:gd name="connsiteX3" fmla="*/ 5587150 w 5593273"/>
              <a:gd name="connsiteY3" fmla="*/ 3972802 h 5620176"/>
              <a:gd name="connsiteX4" fmla="*/ 3239079 w 5593273"/>
              <a:gd name="connsiteY4" fmla="*/ 5620176 h 5620176"/>
              <a:gd name="connsiteX5" fmla="*/ 232259 w 5593273"/>
              <a:gd name="connsiteY5" fmla="*/ 5620176 h 5620176"/>
              <a:gd name="connsiteX6" fmla="*/ 0 w 5593273"/>
              <a:gd name="connsiteY6" fmla="*/ 5388074 h 5620176"/>
              <a:gd name="connsiteX7" fmla="*/ 0 w 5593273"/>
              <a:gd name="connsiteY7" fmla="*/ 1383077 h 5620176"/>
              <a:gd name="connsiteX8" fmla="*/ 98758 w 5593273"/>
              <a:gd name="connsiteY8" fmla="*/ 1193072 h 5620176"/>
              <a:gd name="connsiteX9" fmla="*/ 1820968 w 5593273"/>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2056"/>
              <a:gd name="connsiteY0" fmla="*/ 0 h 5620176"/>
              <a:gd name="connsiteX1" fmla="*/ 5282468 w 5592056"/>
              <a:gd name="connsiteY1" fmla="*/ 1818 h 5620176"/>
              <a:gd name="connsiteX2" fmla="*/ 5589664 w 5592056"/>
              <a:gd name="connsiteY2" fmla="*/ 279476 h 5620176"/>
              <a:gd name="connsiteX3" fmla="*/ 5587150 w 5592056"/>
              <a:gd name="connsiteY3" fmla="*/ 3972802 h 5620176"/>
              <a:gd name="connsiteX4" fmla="*/ 3239079 w 5592056"/>
              <a:gd name="connsiteY4" fmla="*/ 5620176 h 5620176"/>
              <a:gd name="connsiteX5" fmla="*/ 232259 w 5592056"/>
              <a:gd name="connsiteY5" fmla="*/ 5620176 h 5620176"/>
              <a:gd name="connsiteX6" fmla="*/ 0 w 5592056"/>
              <a:gd name="connsiteY6" fmla="*/ 5388074 h 5620176"/>
              <a:gd name="connsiteX7" fmla="*/ 0 w 5592056"/>
              <a:gd name="connsiteY7" fmla="*/ 1383077 h 5620176"/>
              <a:gd name="connsiteX8" fmla="*/ 98758 w 5592056"/>
              <a:gd name="connsiteY8" fmla="*/ 1193072 h 5620176"/>
              <a:gd name="connsiteX9" fmla="*/ 1820968 w 5592056"/>
              <a:gd name="connsiteY9" fmla="*/ 0 h 5620176"/>
              <a:gd name="connsiteX0" fmla="*/ 1820968 w 5741423"/>
              <a:gd name="connsiteY0" fmla="*/ 107707 h 5727883"/>
              <a:gd name="connsiteX1" fmla="*/ 3517637 w 5741423"/>
              <a:gd name="connsiteY1" fmla="*/ 109525 h 5727883"/>
              <a:gd name="connsiteX2" fmla="*/ 5589664 w 5741423"/>
              <a:gd name="connsiteY2" fmla="*/ 387183 h 5727883"/>
              <a:gd name="connsiteX3" fmla="*/ 5587150 w 5741423"/>
              <a:gd name="connsiteY3" fmla="*/ 4080509 h 5727883"/>
              <a:gd name="connsiteX4" fmla="*/ 3239079 w 5741423"/>
              <a:gd name="connsiteY4" fmla="*/ 5727883 h 5727883"/>
              <a:gd name="connsiteX5" fmla="*/ 232259 w 5741423"/>
              <a:gd name="connsiteY5" fmla="*/ 5727883 h 5727883"/>
              <a:gd name="connsiteX6" fmla="*/ 0 w 5741423"/>
              <a:gd name="connsiteY6" fmla="*/ 5495781 h 5727883"/>
              <a:gd name="connsiteX7" fmla="*/ 0 w 5741423"/>
              <a:gd name="connsiteY7" fmla="*/ 1490784 h 5727883"/>
              <a:gd name="connsiteX8" fmla="*/ 98758 w 5741423"/>
              <a:gd name="connsiteY8" fmla="*/ 1300779 h 5727883"/>
              <a:gd name="connsiteX9" fmla="*/ 1820968 w 5741423"/>
              <a:gd name="connsiteY9" fmla="*/ 107707 h 5727883"/>
              <a:gd name="connsiteX0" fmla="*/ 1820968 w 5587150"/>
              <a:gd name="connsiteY0" fmla="*/ 42791 h 5662967"/>
              <a:gd name="connsiteX1" fmla="*/ 3517637 w 5587150"/>
              <a:gd name="connsiteY1" fmla="*/ 44609 h 5662967"/>
              <a:gd name="connsiteX2" fmla="*/ 3930340 w 5587150"/>
              <a:gd name="connsiteY2" fmla="*/ 456548 h 5662967"/>
              <a:gd name="connsiteX3" fmla="*/ 5587150 w 5587150"/>
              <a:gd name="connsiteY3" fmla="*/ 4015593 h 5662967"/>
              <a:gd name="connsiteX4" fmla="*/ 3239079 w 5587150"/>
              <a:gd name="connsiteY4" fmla="*/ 5662967 h 5662967"/>
              <a:gd name="connsiteX5" fmla="*/ 232259 w 5587150"/>
              <a:gd name="connsiteY5" fmla="*/ 5662967 h 5662967"/>
              <a:gd name="connsiteX6" fmla="*/ 0 w 5587150"/>
              <a:gd name="connsiteY6" fmla="*/ 5430865 h 5662967"/>
              <a:gd name="connsiteX7" fmla="*/ 0 w 5587150"/>
              <a:gd name="connsiteY7" fmla="*/ 1425868 h 5662967"/>
              <a:gd name="connsiteX8" fmla="*/ 98758 w 5587150"/>
              <a:gd name="connsiteY8" fmla="*/ 1235863 h 5662967"/>
              <a:gd name="connsiteX9" fmla="*/ 1820968 w 5587150"/>
              <a:gd name="connsiteY9" fmla="*/ 42791 h 5662967"/>
              <a:gd name="connsiteX0" fmla="*/ 1820968 w 5587150"/>
              <a:gd name="connsiteY0" fmla="*/ 36807 h 5656983"/>
              <a:gd name="connsiteX1" fmla="*/ 3517637 w 5587150"/>
              <a:gd name="connsiteY1" fmla="*/ 38625 h 5656983"/>
              <a:gd name="connsiteX2" fmla="*/ 3930340 w 5587150"/>
              <a:gd name="connsiteY2" fmla="*/ 450564 h 5656983"/>
              <a:gd name="connsiteX3" fmla="*/ 5587150 w 5587150"/>
              <a:gd name="connsiteY3" fmla="*/ 4009609 h 5656983"/>
              <a:gd name="connsiteX4" fmla="*/ 3239079 w 5587150"/>
              <a:gd name="connsiteY4" fmla="*/ 5656983 h 5656983"/>
              <a:gd name="connsiteX5" fmla="*/ 232259 w 5587150"/>
              <a:gd name="connsiteY5" fmla="*/ 5656983 h 5656983"/>
              <a:gd name="connsiteX6" fmla="*/ 0 w 5587150"/>
              <a:gd name="connsiteY6" fmla="*/ 5424881 h 5656983"/>
              <a:gd name="connsiteX7" fmla="*/ 0 w 5587150"/>
              <a:gd name="connsiteY7" fmla="*/ 1419884 h 5656983"/>
              <a:gd name="connsiteX8" fmla="*/ 98758 w 5587150"/>
              <a:gd name="connsiteY8" fmla="*/ 1229879 h 5656983"/>
              <a:gd name="connsiteX9" fmla="*/ 1820968 w 5587150"/>
              <a:gd name="connsiteY9" fmla="*/ 36807 h 5656983"/>
              <a:gd name="connsiteX0" fmla="*/ 1820968 w 3962406"/>
              <a:gd name="connsiteY0" fmla="*/ 40271 h 5660447"/>
              <a:gd name="connsiteX1" fmla="*/ 3517637 w 3962406"/>
              <a:gd name="connsiteY1" fmla="*/ 42089 h 5660447"/>
              <a:gd name="connsiteX2" fmla="*/ 3930340 w 3962406"/>
              <a:gd name="connsiteY2" fmla="*/ 454028 h 5660447"/>
              <a:gd name="connsiteX3" fmla="*/ 3937417 w 3962406"/>
              <a:gd name="connsiteY3" fmla="*/ 3965115 h 5660447"/>
              <a:gd name="connsiteX4" fmla="*/ 3239079 w 3962406"/>
              <a:gd name="connsiteY4" fmla="*/ 5660447 h 5660447"/>
              <a:gd name="connsiteX5" fmla="*/ 232259 w 3962406"/>
              <a:gd name="connsiteY5" fmla="*/ 5660447 h 5660447"/>
              <a:gd name="connsiteX6" fmla="*/ 0 w 3962406"/>
              <a:gd name="connsiteY6" fmla="*/ 5428345 h 5660447"/>
              <a:gd name="connsiteX7" fmla="*/ 0 w 3962406"/>
              <a:gd name="connsiteY7" fmla="*/ 1423348 h 5660447"/>
              <a:gd name="connsiteX8" fmla="*/ 98758 w 3962406"/>
              <a:gd name="connsiteY8" fmla="*/ 1233343 h 5660447"/>
              <a:gd name="connsiteX9" fmla="*/ 1820968 w 3962406"/>
              <a:gd name="connsiteY9" fmla="*/ 40271 h 5660447"/>
              <a:gd name="connsiteX0" fmla="*/ 1820968 w 3962406"/>
              <a:gd name="connsiteY0" fmla="*/ 40271 h 5660447"/>
              <a:gd name="connsiteX1" fmla="*/ 3517637 w 3962406"/>
              <a:gd name="connsiteY1" fmla="*/ 42089 h 5660447"/>
              <a:gd name="connsiteX2" fmla="*/ 3930340 w 3962406"/>
              <a:gd name="connsiteY2" fmla="*/ 454028 h 5660447"/>
              <a:gd name="connsiteX3" fmla="*/ 3937417 w 3962406"/>
              <a:gd name="connsiteY3" fmla="*/ 3965115 h 5660447"/>
              <a:gd name="connsiteX4" fmla="*/ 2001779 w 3962406"/>
              <a:gd name="connsiteY4" fmla="*/ 5660447 h 5660447"/>
              <a:gd name="connsiteX5" fmla="*/ 232259 w 3962406"/>
              <a:gd name="connsiteY5" fmla="*/ 5660447 h 5660447"/>
              <a:gd name="connsiteX6" fmla="*/ 0 w 3962406"/>
              <a:gd name="connsiteY6" fmla="*/ 5428345 h 5660447"/>
              <a:gd name="connsiteX7" fmla="*/ 0 w 3962406"/>
              <a:gd name="connsiteY7" fmla="*/ 1423348 h 5660447"/>
              <a:gd name="connsiteX8" fmla="*/ 98758 w 3962406"/>
              <a:gd name="connsiteY8" fmla="*/ 1233343 h 5660447"/>
              <a:gd name="connsiteX9" fmla="*/ 1820968 w 3962406"/>
              <a:gd name="connsiteY9" fmla="*/ 40271 h 5660447"/>
              <a:gd name="connsiteX0" fmla="*/ 1820968 w 3984776"/>
              <a:gd name="connsiteY0" fmla="*/ 17641 h 5637817"/>
              <a:gd name="connsiteX1" fmla="*/ 3517637 w 3984776"/>
              <a:gd name="connsiteY1" fmla="*/ 19459 h 5637817"/>
              <a:gd name="connsiteX2" fmla="*/ 3959114 w 3984776"/>
              <a:gd name="connsiteY2" fmla="*/ 498538 h 5637817"/>
              <a:gd name="connsiteX3" fmla="*/ 3937417 w 3984776"/>
              <a:gd name="connsiteY3" fmla="*/ 3942485 h 5637817"/>
              <a:gd name="connsiteX4" fmla="*/ 2001779 w 3984776"/>
              <a:gd name="connsiteY4" fmla="*/ 5637817 h 5637817"/>
              <a:gd name="connsiteX5" fmla="*/ 232259 w 3984776"/>
              <a:gd name="connsiteY5" fmla="*/ 5637817 h 5637817"/>
              <a:gd name="connsiteX6" fmla="*/ 0 w 3984776"/>
              <a:gd name="connsiteY6" fmla="*/ 5405715 h 5637817"/>
              <a:gd name="connsiteX7" fmla="*/ 0 w 3984776"/>
              <a:gd name="connsiteY7" fmla="*/ 1400718 h 5637817"/>
              <a:gd name="connsiteX8" fmla="*/ 98758 w 3984776"/>
              <a:gd name="connsiteY8" fmla="*/ 1210713 h 5637817"/>
              <a:gd name="connsiteX9" fmla="*/ 1820968 w 3984776"/>
              <a:gd name="connsiteY9" fmla="*/ 17641 h 5637817"/>
              <a:gd name="connsiteX0" fmla="*/ 1820968 w 3961608"/>
              <a:gd name="connsiteY0" fmla="*/ 0 h 5620176"/>
              <a:gd name="connsiteX1" fmla="*/ 3517637 w 3961608"/>
              <a:gd name="connsiteY1" fmla="*/ 1818 h 5620176"/>
              <a:gd name="connsiteX2" fmla="*/ 3959114 w 3961608"/>
              <a:gd name="connsiteY2" fmla="*/ 480897 h 5620176"/>
              <a:gd name="connsiteX3" fmla="*/ 3937417 w 3961608"/>
              <a:gd name="connsiteY3" fmla="*/ 3924844 h 5620176"/>
              <a:gd name="connsiteX4" fmla="*/ 2001779 w 3961608"/>
              <a:gd name="connsiteY4" fmla="*/ 5620176 h 5620176"/>
              <a:gd name="connsiteX5" fmla="*/ 232259 w 3961608"/>
              <a:gd name="connsiteY5" fmla="*/ 5620176 h 5620176"/>
              <a:gd name="connsiteX6" fmla="*/ 0 w 3961608"/>
              <a:gd name="connsiteY6" fmla="*/ 5388074 h 5620176"/>
              <a:gd name="connsiteX7" fmla="*/ 0 w 3961608"/>
              <a:gd name="connsiteY7" fmla="*/ 1383077 h 5620176"/>
              <a:gd name="connsiteX8" fmla="*/ 98758 w 3961608"/>
              <a:gd name="connsiteY8" fmla="*/ 1193072 h 5620176"/>
              <a:gd name="connsiteX9" fmla="*/ 1820968 w 3961608"/>
              <a:gd name="connsiteY9" fmla="*/ 0 h 5620176"/>
              <a:gd name="connsiteX0" fmla="*/ 1820968 w 3993310"/>
              <a:gd name="connsiteY0" fmla="*/ 18021 h 5638197"/>
              <a:gd name="connsiteX1" fmla="*/ 3517637 w 3993310"/>
              <a:gd name="connsiteY1" fmla="*/ 19839 h 5638197"/>
              <a:gd name="connsiteX2" fmla="*/ 3959114 w 3993310"/>
              <a:gd name="connsiteY2" fmla="*/ 498918 h 5638197"/>
              <a:gd name="connsiteX3" fmla="*/ 3966192 w 3993310"/>
              <a:gd name="connsiteY3" fmla="*/ 3952457 h 5638197"/>
              <a:gd name="connsiteX4" fmla="*/ 2001779 w 3993310"/>
              <a:gd name="connsiteY4" fmla="*/ 5638197 h 5638197"/>
              <a:gd name="connsiteX5" fmla="*/ 232259 w 3993310"/>
              <a:gd name="connsiteY5" fmla="*/ 5638197 h 5638197"/>
              <a:gd name="connsiteX6" fmla="*/ 0 w 3993310"/>
              <a:gd name="connsiteY6" fmla="*/ 5406095 h 5638197"/>
              <a:gd name="connsiteX7" fmla="*/ 0 w 3993310"/>
              <a:gd name="connsiteY7" fmla="*/ 1401098 h 5638197"/>
              <a:gd name="connsiteX8" fmla="*/ 98758 w 3993310"/>
              <a:gd name="connsiteY8" fmla="*/ 1211093 h 5638197"/>
              <a:gd name="connsiteX9" fmla="*/ 1820968 w 3993310"/>
              <a:gd name="connsiteY9" fmla="*/ 18021 h 5638197"/>
              <a:gd name="connsiteX0" fmla="*/ 1820968 w 3967875"/>
              <a:gd name="connsiteY0" fmla="*/ 0 h 5620176"/>
              <a:gd name="connsiteX1" fmla="*/ 3517637 w 3967875"/>
              <a:gd name="connsiteY1" fmla="*/ 1818 h 5620176"/>
              <a:gd name="connsiteX2" fmla="*/ 3959114 w 3967875"/>
              <a:gd name="connsiteY2" fmla="*/ 480897 h 5620176"/>
              <a:gd name="connsiteX3" fmla="*/ 3966192 w 3967875"/>
              <a:gd name="connsiteY3" fmla="*/ 3934436 h 5620176"/>
              <a:gd name="connsiteX4" fmla="*/ 2001779 w 3967875"/>
              <a:gd name="connsiteY4" fmla="*/ 5620176 h 5620176"/>
              <a:gd name="connsiteX5" fmla="*/ 232259 w 3967875"/>
              <a:gd name="connsiteY5" fmla="*/ 5620176 h 5620176"/>
              <a:gd name="connsiteX6" fmla="*/ 0 w 3967875"/>
              <a:gd name="connsiteY6" fmla="*/ 5388074 h 5620176"/>
              <a:gd name="connsiteX7" fmla="*/ 0 w 3967875"/>
              <a:gd name="connsiteY7" fmla="*/ 1383077 h 5620176"/>
              <a:gd name="connsiteX8" fmla="*/ 98758 w 3967875"/>
              <a:gd name="connsiteY8" fmla="*/ 1193072 h 5620176"/>
              <a:gd name="connsiteX9" fmla="*/ 1820968 w 3967875"/>
              <a:gd name="connsiteY9" fmla="*/ 0 h 5620176"/>
              <a:gd name="connsiteX0" fmla="*/ 1820968 w 3967875"/>
              <a:gd name="connsiteY0" fmla="*/ 14242 h 5634418"/>
              <a:gd name="connsiteX1" fmla="*/ 3517637 w 3967875"/>
              <a:gd name="connsiteY1" fmla="*/ 16060 h 5634418"/>
              <a:gd name="connsiteX2" fmla="*/ 3959114 w 3967875"/>
              <a:gd name="connsiteY2" fmla="*/ 370450 h 5634418"/>
              <a:gd name="connsiteX3" fmla="*/ 3966192 w 3967875"/>
              <a:gd name="connsiteY3" fmla="*/ 3948678 h 5634418"/>
              <a:gd name="connsiteX4" fmla="*/ 2001779 w 3967875"/>
              <a:gd name="connsiteY4" fmla="*/ 5634418 h 5634418"/>
              <a:gd name="connsiteX5" fmla="*/ 232259 w 3967875"/>
              <a:gd name="connsiteY5" fmla="*/ 5634418 h 5634418"/>
              <a:gd name="connsiteX6" fmla="*/ 0 w 3967875"/>
              <a:gd name="connsiteY6" fmla="*/ 5402316 h 5634418"/>
              <a:gd name="connsiteX7" fmla="*/ 0 w 3967875"/>
              <a:gd name="connsiteY7" fmla="*/ 1397319 h 5634418"/>
              <a:gd name="connsiteX8" fmla="*/ 98758 w 3967875"/>
              <a:gd name="connsiteY8" fmla="*/ 1207314 h 5634418"/>
              <a:gd name="connsiteX9" fmla="*/ 1820968 w 3967875"/>
              <a:gd name="connsiteY9" fmla="*/ 14242 h 5634418"/>
              <a:gd name="connsiteX0" fmla="*/ 1820968 w 3966193"/>
              <a:gd name="connsiteY0" fmla="*/ 0 h 5620176"/>
              <a:gd name="connsiteX1" fmla="*/ 3517637 w 3966193"/>
              <a:gd name="connsiteY1" fmla="*/ 1818 h 5620176"/>
              <a:gd name="connsiteX2" fmla="*/ 3959114 w 3966193"/>
              <a:gd name="connsiteY2" fmla="*/ 356208 h 5620176"/>
              <a:gd name="connsiteX3" fmla="*/ 3966192 w 3966193"/>
              <a:gd name="connsiteY3" fmla="*/ 3934436 h 5620176"/>
              <a:gd name="connsiteX4" fmla="*/ 2001779 w 3966193"/>
              <a:gd name="connsiteY4" fmla="*/ 5620176 h 5620176"/>
              <a:gd name="connsiteX5" fmla="*/ 232259 w 3966193"/>
              <a:gd name="connsiteY5" fmla="*/ 5620176 h 5620176"/>
              <a:gd name="connsiteX6" fmla="*/ 0 w 3966193"/>
              <a:gd name="connsiteY6" fmla="*/ 5388074 h 5620176"/>
              <a:gd name="connsiteX7" fmla="*/ 0 w 3966193"/>
              <a:gd name="connsiteY7" fmla="*/ 1383077 h 5620176"/>
              <a:gd name="connsiteX8" fmla="*/ 98758 w 3966193"/>
              <a:gd name="connsiteY8" fmla="*/ 1193072 h 5620176"/>
              <a:gd name="connsiteX9" fmla="*/ 1820968 w 3966193"/>
              <a:gd name="connsiteY9" fmla="*/ 0 h 5620176"/>
              <a:gd name="connsiteX0" fmla="*/ 1820968 w 3970994"/>
              <a:gd name="connsiteY0" fmla="*/ 0 h 5620176"/>
              <a:gd name="connsiteX1" fmla="*/ 3517637 w 3970994"/>
              <a:gd name="connsiteY1" fmla="*/ 1818 h 5620176"/>
              <a:gd name="connsiteX2" fmla="*/ 3968705 w 3970994"/>
              <a:gd name="connsiteY2" fmla="*/ 442531 h 5620176"/>
              <a:gd name="connsiteX3" fmla="*/ 3966192 w 3970994"/>
              <a:gd name="connsiteY3" fmla="*/ 3934436 h 5620176"/>
              <a:gd name="connsiteX4" fmla="*/ 2001779 w 3970994"/>
              <a:gd name="connsiteY4" fmla="*/ 5620176 h 5620176"/>
              <a:gd name="connsiteX5" fmla="*/ 232259 w 3970994"/>
              <a:gd name="connsiteY5" fmla="*/ 5620176 h 5620176"/>
              <a:gd name="connsiteX6" fmla="*/ 0 w 3970994"/>
              <a:gd name="connsiteY6" fmla="*/ 5388074 h 5620176"/>
              <a:gd name="connsiteX7" fmla="*/ 0 w 3970994"/>
              <a:gd name="connsiteY7" fmla="*/ 1383077 h 5620176"/>
              <a:gd name="connsiteX8" fmla="*/ 98758 w 3970994"/>
              <a:gd name="connsiteY8" fmla="*/ 1193072 h 5620176"/>
              <a:gd name="connsiteX9" fmla="*/ 1820968 w 3970994"/>
              <a:gd name="connsiteY9" fmla="*/ 0 h 5620176"/>
              <a:gd name="connsiteX0" fmla="*/ 1820968 w 3975037"/>
              <a:gd name="connsiteY0" fmla="*/ 0 h 5620176"/>
              <a:gd name="connsiteX1" fmla="*/ 3517637 w 3975037"/>
              <a:gd name="connsiteY1" fmla="*/ 1818 h 5620176"/>
              <a:gd name="connsiteX2" fmla="*/ 3968705 w 3975037"/>
              <a:gd name="connsiteY2" fmla="*/ 442531 h 5620176"/>
              <a:gd name="connsiteX3" fmla="*/ 3966192 w 3975037"/>
              <a:gd name="connsiteY3" fmla="*/ 3934436 h 5620176"/>
              <a:gd name="connsiteX4" fmla="*/ 2001779 w 3975037"/>
              <a:gd name="connsiteY4" fmla="*/ 5620176 h 5620176"/>
              <a:gd name="connsiteX5" fmla="*/ 232259 w 3975037"/>
              <a:gd name="connsiteY5" fmla="*/ 5620176 h 5620176"/>
              <a:gd name="connsiteX6" fmla="*/ 0 w 3975037"/>
              <a:gd name="connsiteY6" fmla="*/ 5388074 h 5620176"/>
              <a:gd name="connsiteX7" fmla="*/ 0 w 3975037"/>
              <a:gd name="connsiteY7" fmla="*/ 1383077 h 5620176"/>
              <a:gd name="connsiteX8" fmla="*/ 98758 w 3975037"/>
              <a:gd name="connsiteY8" fmla="*/ 1193072 h 5620176"/>
              <a:gd name="connsiteX9" fmla="*/ 1820968 w 3975037"/>
              <a:gd name="connsiteY9" fmla="*/ 0 h 5620176"/>
              <a:gd name="connsiteX0" fmla="*/ 1820968 w 3977243"/>
              <a:gd name="connsiteY0" fmla="*/ 0 h 5620176"/>
              <a:gd name="connsiteX1" fmla="*/ 3517637 w 3977243"/>
              <a:gd name="connsiteY1" fmla="*/ 1818 h 5620176"/>
              <a:gd name="connsiteX2" fmla="*/ 3968705 w 3977243"/>
              <a:gd name="connsiteY2" fmla="*/ 442531 h 5620176"/>
              <a:gd name="connsiteX3" fmla="*/ 3966192 w 3977243"/>
              <a:gd name="connsiteY3" fmla="*/ 3934436 h 5620176"/>
              <a:gd name="connsiteX4" fmla="*/ 2001779 w 3977243"/>
              <a:gd name="connsiteY4" fmla="*/ 5620176 h 5620176"/>
              <a:gd name="connsiteX5" fmla="*/ 232259 w 3977243"/>
              <a:gd name="connsiteY5" fmla="*/ 5620176 h 5620176"/>
              <a:gd name="connsiteX6" fmla="*/ 0 w 3977243"/>
              <a:gd name="connsiteY6" fmla="*/ 5388074 h 5620176"/>
              <a:gd name="connsiteX7" fmla="*/ 0 w 3977243"/>
              <a:gd name="connsiteY7" fmla="*/ 1383077 h 5620176"/>
              <a:gd name="connsiteX8" fmla="*/ 98758 w 3977243"/>
              <a:gd name="connsiteY8" fmla="*/ 1193072 h 5620176"/>
              <a:gd name="connsiteX9" fmla="*/ 1820968 w 3977243"/>
              <a:gd name="connsiteY9" fmla="*/ 0 h 5620176"/>
              <a:gd name="connsiteX0" fmla="*/ 1820968 w 4002780"/>
              <a:gd name="connsiteY0" fmla="*/ 62256 h 5682432"/>
              <a:gd name="connsiteX1" fmla="*/ 3517637 w 4002780"/>
              <a:gd name="connsiteY1" fmla="*/ 64074 h 5682432"/>
              <a:gd name="connsiteX2" fmla="*/ 3968705 w 4002780"/>
              <a:gd name="connsiteY2" fmla="*/ 504787 h 5682432"/>
              <a:gd name="connsiteX3" fmla="*/ 3966192 w 4002780"/>
              <a:gd name="connsiteY3" fmla="*/ 4608267 h 5682432"/>
              <a:gd name="connsiteX4" fmla="*/ 2001779 w 4002780"/>
              <a:gd name="connsiteY4" fmla="*/ 5682432 h 5682432"/>
              <a:gd name="connsiteX5" fmla="*/ 232259 w 4002780"/>
              <a:gd name="connsiteY5" fmla="*/ 5682432 h 5682432"/>
              <a:gd name="connsiteX6" fmla="*/ 0 w 4002780"/>
              <a:gd name="connsiteY6" fmla="*/ 5450330 h 5682432"/>
              <a:gd name="connsiteX7" fmla="*/ 0 w 4002780"/>
              <a:gd name="connsiteY7" fmla="*/ 1445333 h 5682432"/>
              <a:gd name="connsiteX8" fmla="*/ 98758 w 4002780"/>
              <a:gd name="connsiteY8" fmla="*/ 1255328 h 5682432"/>
              <a:gd name="connsiteX9" fmla="*/ 1820968 w 4002780"/>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01333"/>
              <a:gd name="connsiteY0" fmla="*/ 62256 h 5682432"/>
              <a:gd name="connsiteX1" fmla="*/ 3517637 w 4001333"/>
              <a:gd name="connsiteY1" fmla="*/ 64074 h 5682432"/>
              <a:gd name="connsiteX2" fmla="*/ 3968705 w 4001333"/>
              <a:gd name="connsiteY2" fmla="*/ 504787 h 5682432"/>
              <a:gd name="connsiteX3" fmla="*/ 3966192 w 4001333"/>
              <a:gd name="connsiteY3" fmla="*/ 4608267 h 5682432"/>
              <a:gd name="connsiteX4" fmla="*/ 2919142 w 4001333"/>
              <a:gd name="connsiteY4" fmla="*/ 5671511 h 5682432"/>
              <a:gd name="connsiteX5" fmla="*/ 232259 w 4001333"/>
              <a:gd name="connsiteY5" fmla="*/ 5682432 h 5682432"/>
              <a:gd name="connsiteX6" fmla="*/ 0 w 4001333"/>
              <a:gd name="connsiteY6" fmla="*/ 5450330 h 5682432"/>
              <a:gd name="connsiteX7" fmla="*/ 0 w 4001333"/>
              <a:gd name="connsiteY7" fmla="*/ 1445333 h 5682432"/>
              <a:gd name="connsiteX8" fmla="*/ 98758 w 4001333"/>
              <a:gd name="connsiteY8" fmla="*/ 1255328 h 5682432"/>
              <a:gd name="connsiteX9" fmla="*/ 1820968 w 4001333"/>
              <a:gd name="connsiteY9" fmla="*/ 62256 h 5682432"/>
              <a:gd name="connsiteX0" fmla="*/ 1820968 w 4074451"/>
              <a:gd name="connsiteY0" fmla="*/ 0 h 5620176"/>
              <a:gd name="connsiteX1" fmla="*/ 3517637 w 4074451"/>
              <a:gd name="connsiteY1" fmla="*/ 1818 h 5620176"/>
              <a:gd name="connsiteX2" fmla="*/ 3990547 w 4074451"/>
              <a:gd name="connsiteY2" fmla="*/ 671872 h 5620176"/>
              <a:gd name="connsiteX3" fmla="*/ 3966192 w 4074451"/>
              <a:gd name="connsiteY3" fmla="*/ 4546011 h 5620176"/>
              <a:gd name="connsiteX4" fmla="*/ 2919142 w 4074451"/>
              <a:gd name="connsiteY4" fmla="*/ 5609255 h 5620176"/>
              <a:gd name="connsiteX5" fmla="*/ 232259 w 4074451"/>
              <a:gd name="connsiteY5" fmla="*/ 5620176 h 5620176"/>
              <a:gd name="connsiteX6" fmla="*/ 0 w 4074451"/>
              <a:gd name="connsiteY6" fmla="*/ 5388074 h 5620176"/>
              <a:gd name="connsiteX7" fmla="*/ 0 w 4074451"/>
              <a:gd name="connsiteY7" fmla="*/ 1383077 h 5620176"/>
              <a:gd name="connsiteX8" fmla="*/ 98758 w 4074451"/>
              <a:gd name="connsiteY8" fmla="*/ 1193072 h 5620176"/>
              <a:gd name="connsiteX9" fmla="*/ 1820968 w 4074451"/>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114989"/>
              <a:gd name="connsiteY0" fmla="*/ 0 h 5620176"/>
              <a:gd name="connsiteX1" fmla="*/ 3517637 w 4114989"/>
              <a:gd name="connsiteY1" fmla="*/ 1818 h 5620176"/>
              <a:gd name="connsiteX2" fmla="*/ 3990547 w 4114989"/>
              <a:gd name="connsiteY2" fmla="*/ 671872 h 5620176"/>
              <a:gd name="connsiteX3" fmla="*/ 3966192 w 4114989"/>
              <a:gd name="connsiteY3" fmla="*/ 4546011 h 5620176"/>
              <a:gd name="connsiteX4" fmla="*/ 2919142 w 4114989"/>
              <a:gd name="connsiteY4" fmla="*/ 5609255 h 5620176"/>
              <a:gd name="connsiteX5" fmla="*/ 232259 w 4114989"/>
              <a:gd name="connsiteY5" fmla="*/ 5620176 h 5620176"/>
              <a:gd name="connsiteX6" fmla="*/ 0 w 4114989"/>
              <a:gd name="connsiteY6" fmla="*/ 5388074 h 5620176"/>
              <a:gd name="connsiteX7" fmla="*/ 0 w 4114989"/>
              <a:gd name="connsiteY7" fmla="*/ 1383077 h 5620176"/>
              <a:gd name="connsiteX8" fmla="*/ 98758 w 4114989"/>
              <a:gd name="connsiteY8" fmla="*/ 1193072 h 5620176"/>
              <a:gd name="connsiteX9" fmla="*/ 1820968 w 4114989"/>
              <a:gd name="connsiteY9" fmla="*/ 0 h 5620176"/>
              <a:gd name="connsiteX0" fmla="*/ 1820968 w 3992085"/>
              <a:gd name="connsiteY0" fmla="*/ 0 h 5620176"/>
              <a:gd name="connsiteX1" fmla="*/ 3517637 w 3992085"/>
              <a:gd name="connsiteY1" fmla="*/ 1818 h 5620176"/>
              <a:gd name="connsiteX2" fmla="*/ 3990547 w 3992085"/>
              <a:gd name="connsiteY2" fmla="*/ 671872 h 5620176"/>
              <a:gd name="connsiteX3" fmla="*/ 3966192 w 3992085"/>
              <a:gd name="connsiteY3" fmla="*/ 4546011 h 5620176"/>
              <a:gd name="connsiteX4" fmla="*/ 2919142 w 3992085"/>
              <a:gd name="connsiteY4" fmla="*/ 5609255 h 5620176"/>
              <a:gd name="connsiteX5" fmla="*/ 232259 w 3992085"/>
              <a:gd name="connsiteY5" fmla="*/ 5620176 h 5620176"/>
              <a:gd name="connsiteX6" fmla="*/ 0 w 3992085"/>
              <a:gd name="connsiteY6" fmla="*/ 5388074 h 5620176"/>
              <a:gd name="connsiteX7" fmla="*/ 0 w 3992085"/>
              <a:gd name="connsiteY7" fmla="*/ 1383077 h 5620176"/>
              <a:gd name="connsiteX8" fmla="*/ 98758 w 3992085"/>
              <a:gd name="connsiteY8" fmla="*/ 1193072 h 5620176"/>
              <a:gd name="connsiteX9" fmla="*/ 1820968 w 3992085"/>
              <a:gd name="connsiteY9" fmla="*/ 0 h 5620176"/>
              <a:gd name="connsiteX0" fmla="*/ 1820968 w 4063883"/>
              <a:gd name="connsiteY0" fmla="*/ 0 h 5620176"/>
              <a:gd name="connsiteX1" fmla="*/ 3517637 w 4063883"/>
              <a:gd name="connsiteY1" fmla="*/ 1818 h 5620176"/>
              <a:gd name="connsiteX2" fmla="*/ 4012389 w 4063883"/>
              <a:gd name="connsiteY2" fmla="*/ 518978 h 5620176"/>
              <a:gd name="connsiteX3" fmla="*/ 3966192 w 4063883"/>
              <a:gd name="connsiteY3" fmla="*/ 4546011 h 5620176"/>
              <a:gd name="connsiteX4" fmla="*/ 2919142 w 4063883"/>
              <a:gd name="connsiteY4" fmla="*/ 5609255 h 5620176"/>
              <a:gd name="connsiteX5" fmla="*/ 232259 w 4063883"/>
              <a:gd name="connsiteY5" fmla="*/ 5620176 h 5620176"/>
              <a:gd name="connsiteX6" fmla="*/ 0 w 4063883"/>
              <a:gd name="connsiteY6" fmla="*/ 5388074 h 5620176"/>
              <a:gd name="connsiteX7" fmla="*/ 0 w 4063883"/>
              <a:gd name="connsiteY7" fmla="*/ 1383077 h 5620176"/>
              <a:gd name="connsiteX8" fmla="*/ 98758 w 4063883"/>
              <a:gd name="connsiteY8" fmla="*/ 1193072 h 5620176"/>
              <a:gd name="connsiteX9" fmla="*/ 1820968 w 4063883"/>
              <a:gd name="connsiteY9" fmla="*/ 0 h 5620176"/>
              <a:gd name="connsiteX0" fmla="*/ 1820968 w 4060681"/>
              <a:gd name="connsiteY0" fmla="*/ 0 h 5620176"/>
              <a:gd name="connsiteX1" fmla="*/ 3517637 w 4060681"/>
              <a:gd name="connsiteY1" fmla="*/ 1818 h 5620176"/>
              <a:gd name="connsiteX2" fmla="*/ 4012389 w 4060681"/>
              <a:gd name="connsiteY2" fmla="*/ 518978 h 5620176"/>
              <a:gd name="connsiteX3" fmla="*/ 3966192 w 4060681"/>
              <a:gd name="connsiteY3" fmla="*/ 4546011 h 5620176"/>
              <a:gd name="connsiteX4" fmla="*/ 2919142 w 4060681"/>
              <a:gd name="connsiteY4" fmla="*/ 5609255 h 5620176"/>
              <a:gd name="connsiteX5" fmla="*/ 232259 w 4060681"/>
              <a:gd name="connsiteY5" fmla="*/ 5620176 h 5620176"/>
              <a:gd name="connsiteX6" fmla="*/ 0 w 4060681"/>
              <a:gd name="connsiteY6" fmla="*/ 5388074 h 5620176"/>
              <a:gd name="connsiteX7" fmla="*/ 0 w 4060681"/>
              <a:gd name="connsiteY7" fmla="*/ 1383077 h 5620176"/>
              <a:gd name="connsiteX8" fmla="*/ 98758 w 4060681"/>
              <a:gd name="connsiteY8" fmla="*/ 1193072 h 5620176"/>
              <a:gd name="connsiteX9" fmla="*/ 1820968 w 4060681"/>
              <a:gd name="connsiteY9" fmla="*/ 0 h 5620176"/>
              <a:gd name="connsiteX0" fmla="*/ 1820968 w 4012393"/>
              <a:gd name="connsiteY0" fmla="*/ 0 h 5620176"/>
              <a:gd name="connsiteX1" fmla="*/ 3517637 w 4012393"/>
              <a:gd name="connsiteY1" fmla="*/ 1818 h 5620176"/>
              <a:gd name="connsiteX2" fmla="*/ 4012389 w 4012393"/>
              <a:gd name="connsiteY2" fmla="*/ 518978 h 5620176"/>
              <a:gd name="connsiteX3" fmla="*/ 3966192 w 4012393"/>
              <a:gd name="connsiteY3" fmla="*/ 4546011 h 5620176"/>
              <a:gd name="connsiteX4" fmla="*/ 2919142 w 4012393"/>
              <a:gd name="connsiteY4" fmla="*/ 5609255 h 5620176"/>
              <a:gd name="connsiteX5" fmla="*/ 232259 w 4012393"/>
              <a:gd name="connsiteY5" fmla="*/ 5620176 h 5620176"/>
              <a:gd name="connsiteX6" fmla="*/ 0 w 4012393"/>
              <a:gd name="connsiteY6" fmla="*/ 5388074 h 5620176"/>
              <a:gd name="connsiteX7" fmla="*/ 0 w 4012393"/>
              <a:gd name="connsiteY7" fmla="*/ 1383077 h 5620176"/>
              <a:gd name="connsiteX8" fmla="*/ 98758 w 4012393"/>
              <a:gd name="connsiteY8" fmla="*/ 1193072 h 5620176"/>
              <a:gd name="connsiteX9" fmla="*/ 1820968 w 4012393"/>
              <a:gd name="connsiteY9" fmla="*/ 0 h 5620176"/>
              <a:gd name="connsiteX0" fmla="*/ 1820968 w 4012393"/>
              <a:gd name="connsiteY0" fmla="*/ 0 h 5620176"/>
              <a:gd name="connsiteX1" fmla="*/ 3517637 w 4012393"/>
              <a:gd name="connsiteY1" fmla="*/ 1818 h 5620176"/>
              <a:gd name="connsiteX2" fmla="*/ 4012389 w 4012393"/>
              <a:gd name="connsiteY2" fmla="*/ 518978 h 5620176"/>
              <a:gd name="connsiteX3" fmla="*/ 3966192 w 4012393"/>
              <a:gd name="connsiteY3" fmla="*/ 4546011 h 5620176"/>
              <a:gd name="connsiteX4" fmla="*/ 2919142 w 4012393"/>
              <a:gd name="connsiteY4" fmla="*/ 5609255 h 5620176"/>
              <a:gd name="connsiteX5" fmla="*/ 232259 w 4012393"/>
              <a:gd name="connsiteY5" fmla="*/ 5620176 h 5620176"/>
              <a:gd name="connsiteX6" fmla="*/ 0 w 4012393"/>
              <a:gd name="connsiteY6" fmla="*/ 5388074 h 5620176"/>
              <a:gd name="connsiteX7" fmla="*/ 0 w 4012393"/>
              <a:gd name="connsiteY7" fmla="*/ 1383077 h 5620176"/>
              <a:gd name="connsiteX8" fmla="*/ 98758 w 4012393"/>
              <a:gd name="connsiteY8" fmla="*/ 1193072 h 5620176"/>
              <a:gd name="connsiteX9" fmla="*/ 1820968 w 4012393"/>
              <a:gd name="connsiteY9" fmla="*/ 0 h 5620176"/>
              <a:gd name="connsiteX0" fmla="*/ 1820968 w 4069229"/>
              <a:gd name="connsiteY0" fmla="*/ 12844 h 5633020"/>
              <a:gd name="connsiteX1" fmla="*/ 3517637 w 4069229"/>
              <a:gd name="connsiteY1" fmla="*/ 14662 h 5633020"/>
              <a:gd name="connsiteX2" fmla="*/ 4031549 w 4069229"/>
              <a:gd name="connsiteY2" fmla="*/ 321067 h 5633020"/>
              <a:gd name="connsiteX3" fmla="*/ 3966192 w 4069229"/>
              <a:gd name="connsiteY3" fmla="*/ 4558855 h 5633020"/>
              <a:gd name="connsiteX4" fmla="*/ 2919142 w 4069229"/>
              <a:gd name="connsiteY4" fmla="*/ 5622099 h 5633020"/>
              <a:gd name="connsiteX5" fmla="*/ 232259 w 4069229"/>
              <a:gd name="connsiteY5" fmla="*/ 5633020 h 5633020"/>
              <a:gd name="connsiteX6" fmla="*/ 0 w 4069229"/>
              <a:gd name="connsiteY6" fmla="*/ 5400918 h 5633020"/>
              <a:gd name="connsiteX7" fmla="*/ 0 w 4069229"/>
              <a:gd name="connsiteY7" fmla="*/ 1395921 h 5633020"/>
              <a:gd name="connsiteX8" fmla="*/ 98758 w 4069229"/>
              <a:gd name="connsiteY8" fmla="*/ 1205916 h 5633020"/>
              <a:gd name="connsiteX9" fmla="*/ 1820968 w 4069229"/>
              <a:gd name="connsiteY9" fmla="*/ 12844 h 5633020"/>
              <a:gd name="connsiteX0" fmla="*/ 1820968 w 4082268"/>
              <a:gd name="connsiteY0" fmla="*/ 0 h 5620176"/>
              <a:gd name="connsiteX1" fmla="*/ 3517637 w 4082268"/>
              <a:gd name="connsiteY1" fmla="*/ 1818 h 5620176"/>
              <a:gd name="connsiteX2" fmla="*/ 4031549 w 4082268"/>
              <a:gd name="connsiteY2" fmla="*/ 308223 h 5620176"/>
              <a:gd name="connsiteX3" fmla="*/ 3966192 w 4082268"/>
              <a:gd name="connsiteY3" fmla="*/ 4546011 h 5620176"/>
              <a:gd name="connsiteX4" fmla="*/ 2919142 w 4082268"/>
              <a:gd name="connsiteY4" fmla="*/ 5609255 h 5620176"/>
              <a:gd name="connsiteX5" fmla="*/ 232259 w 4082268"/>
              <a:gd name="connsiteY5" fmla="*/ 5620176 h 5620176"/>
              <a:gd name="connsiteX6" fmla="*/ 0 w 4082268"/>
              <a:gd name="connsiteY6" fmla="*/ 5388074 h 5620176"/>
              <a:gd name="connsiteX7" fmla="*/ 0 w 4082268"/>
              <a:gd name="connsiteY7" fmla="*/ 1383077 h 5620176"/>
              <a:gd name="connsiteX8" fmla="*/ 98758 w 4082268"/>
              <a:gd name="connsiteY8" fmla="*/ 1193072 h 5620176"/>
              <a:gd name="connsiteX9" fmla="*/ 1820968 w 4082268"/>
              <a:gd name="connsiteY9" fmla="*/ 0 h 5620176"/>
              <a:gd name="connsiteX0" fmla="*/ 1820968 w 4040328"/>
              <a:gd name="connsiteY0" fmla="*/ 0 h 5620176"/>
              <a:gd name="connsiteX1" fmla="*/ 3517637 w 4040328"/>
              <a:gd name="connsiteY1" fmla="*/ 1818 h 5620176"/>
              <a:gd name="connsiteX2" fmla="*/ 4031549 w 4040328"/>
              <a:gd name="connsiteY2" fmla="*/ 308223 h 5620176"/>
              <a:gd name="connsiteX3" fmla="*/ 3966192 w 4040328"/>
              <a:gd name="connsiteY3" fmla="*/ 4546011 h 5620176"/>
              <a:gd name="connsiteX4" fmla="*/ 2919142 w 4040328"/>
              <a:gd name="connsiteY4" fmla="*/ 5609255 h 5620176"/>
              <a:gd name="connsiteX5" fmla="*/ 232259 w 4040328"/>
              <a:gd name="connsiteY5" fmla="*/ 5620176 h 5620176"/>
              <a:gd name="connsiteX6" fmla="*/ 0 w 4040328"/>
              <a:gd name="connsiteY6" fmla="*/ 5388074 h 5620176"/>
              <a:gd name="connsiteX7" fmla="*/ 0 w 4040328"/>
              <a:gd name="connsiteY7" fmla="*/ 1383077 h 5620176"/>
              <a:gd name="connsiteX8" fmla="*/ 98758 w 4040328"/>
              <a:gd name="connsiteY8" fmla="*/ 1193072 h 5620176"/>
              <a:gd name="connsiteX9" fmla="*/ 1820968 w 4040328"/>
              <a:gd name="connsiteY9" fmla="*/ 0 h 5620176"/>
              <a:gd name="connsiteX0" fmla="*/ 1820968 w 4038720"/>
              <a:gd name="connsiteY0" fmla="*/ 0 h 5620176"/>
              <a:gd name="connsiteX1" fmla="*/ 3517637 w 4038720"/>
              <a:gd name="connsiteY1" fmla="*/ 1818 h 5620176"/>
              <a:gd name="connsiteX2" fmla="*/ 4031549 w 4038720"/>
              <a:gd name="connsiteY2" fmla="*/ 308223 h 5620176"/>
              <a:gd name="connsiteX3" fmla="*/ 3966192 w 4038720"/>
              <a:gd name="connsiteY3" fmla="*/ 4546011 h 5620176"/>
              <a:gd name="connsiteX4" fmla="*/ 2919142 w 4038720"/>
              <a:gd name="connsiteY4" fmla="*/ 5609255 h 5620176"/>
              <a:gd name="connsiteX5" fmla="*/ 232259 w 4038720"/>
              <a:gd name="connsiteY5" fmla="*/ 5620176 h 5620176"/>
              <a:gd name="connsiteX6" fmla="*/ 0 w 4038720"/>
              <a:gd name="connsiteY6" fmla="*/ 5388074 h 5620176"/>
              <a:gd name="connsiteX7" fmla="*/ 0 w 4038720"/>
              <a:gd name="connsiteY7" fmla="*/ 1383077 h 5620176"/>
              <a:gd name="connsiteX8" fmla="*/ 98758 w 4038720"/>
              <a:gd name="connsiteY8" fmla="*/ 1193072 h 5620176"/>
              <a:gd name="connsiteX9" fmla="*/ 1820968 w 4038720"/>
              <a:gd name="connsiteY9" fmla="*/ 0 h 5620176"/>
              <a:gd name="connsiteX0" fmla="*/ 1820968 w 4057143"/>
              <a:gd name="connsiteY0" fmla="*/ 0 h 5620176"/>
              <a:gd name="connsiteX1" fmla="*/ 3517637 w 4057143"/>
              <a:gd name="connsiteY1" fmla="*/ 1818 h 5620176"/>
              <a:gd name="connsiteX2" fmla="*/ 3977839 w 4057143"/>
              <a:gd name="connsiteY2" fmla="*/ 317174 h 5620176"/>
              <a:gd name="connsiteX3" fmla="*/ 3966192 w 4057143"/>
              <a:gd name="connsiteY3" fmla="*/ 4546011 h 5620176"/>
              <a:gd name="connsiteX4" fmla="*/ 2919142 w 4057143"/>
              <a:gd name="connsiteY4" fmla="*/ 5609255 h 5620176"/>
              <a:gd name="connsiteX5" fmla="*/ 232259 w 4057143"/>
              <a:gd name="connsiteY5" fmla="*/ 5620176 h 5620176"/>
              <a:gd name="connsiteX6" fmla="*/ 0 w 4057143"/>
              <a:gd name="connsiteY6" fmla="*/ 5388074 h 5620176"/>
              <a:gd name="connsiteX7" fmla="*/ 0 w 4057143"/>
              <a:gd name="connsiteY7" fmla="*/ 1383077 h 5620176"/>
              <a:gd name="connsiteX8" fmla="*/ 98758 w 4057143"/>
              <a:gd name="connsiteY8" fmla="*/ 1193072 h 5620176"/>
              <a:gd name="connsiteX9" fmla="*/ 1820968 w 4057143"/>
              <a:gd name="connsiteY9" fmla="*/ 0 h 5620176"/>
              <a:gd name="connsiteX0" fmla="*/ 1820968 w 4043846"/>
              <a:gd name="connsiteY0" fmla="*/ 0 h 5620176"/>
              <a:gd name="connsiteX1" fmla="*/ 3517637 w 4043846"/>
              <a:gd name="connsiteY1" fmla="*/ 1818 h 5620176"/>
              <a:gd name="connsiteX2" fmla="*/ 3942033 w 4043846"/>
              <a:gd name="connsiteY2" fmla="*/ 335077 h 5620176"/>
              <a:gd name="connsiteX3" fmla="*/ 3966192 w 4043846"/>
              <a:gd name="connsiteY3" fmla="*/ 4546011 h 5620176"/>
              <a:gd name="connsiteX4" fmla="*/ 2919142 w 4043846"/>
              <a:gd name="connsiteY4" fmla="*/ 5609255 h 5620176"/>
              <a:gd name="connsiteX5" fmla="*/ 232259 w 4043846"/>
              <a:gd name="connsiteY5" fmla="*/ 5620176 h 5620176"/>
              <a:gd name="connsiteX6" fmla="*/ 0 w 4043846"/>
              <a:gd name="connsiteY6" fmla="*/ 5388074 h 5620176"/>
              <a:gd name="connsiteX7" fmla="*/ 0 w 4043846"/>
              <a:gd name="connsiteY7" fmla="*/ 1383077 h 5620176"/>
              <a:gd name="connsiteX8" fmla="*/ 98758 w 4043846"/>
              <a:gd name="connsiteY8" fmla="*/ 1193072 h 5620176"/>
              <a:gd name="connsiteX9" fmla="*/ 1820968 w 4043846"/>
              <a:gd name="connsiteY9" fmla="*/ 0 h 5620176"/>
              <a:gd name="connsiteX0" fmla="*/ 1820968 w 4043847"/>
              <a:gd name="connsiteY0" fmla="*/ 96101 h 5716277"/>
              <a:gd name="connsiteX1" fmla="*/ 3517637 w 4043847"/>
              <a:gd name="connsiteY1" fmla="*/ 97919 h 5716277"/>
              <a:gd name="connsiteX2" fmla="*/ 3942033 w 4043847"/>
              <a:gd name="connsiteY2" fmla="*/ 431178 h 5716277"/>
              <a:gd name="connsiteX3" fmla="*/ 3966192 w 4043847"/>
              <a:gd name="connsiteY3" fmla="*/ 4642112 h 5716277"/>
              <a:gd name="connsiteX4" fmla="*/ 2919142 w 4043847"/>
              <a:gd name="connsiteY4" fmla="*/ 5705356 h 5716277"/>
              <a:gd name="connsiteX5" fmla="*/ 232259 w 4043847"/>
              <a:gd name="connsiteY5" fmla="*/ 5716277 h 5716277"/>
              <a:gd name="connsiteX6" fmla="*/ 0 w 4043847"/>
              <a:gd name="connsiteY6" fmla="*/ 5484175 h 5716277"/>
              <a:gd name="connsiteX7" fmla="*/ 0 w 4043847"/>
              <a:gd name="connsiteY7" fmla="*/ 1479178 h 5716277"/>
              <a:gd name="connsiteX8" fmla="*/ 98758 w 4043847"/>
              <a:gd name="connsiteY8" fmla="*/ 1289173 h 5716277"/>
              <a:gd name="connsiteX9" fmla="*/ 1820968 w 4043847"/>
              <a:gd name="connsiteY9" fmla="*/ 96101 h 5716277"/>
              <a:gd name="connsiteX0" fmla="*/ 1820968 w 4037989"/>
              <a:gd name="connsiteY0" fmla="*/ 0 h 5620176"/>
              <a:gd name="connsiteX1" fmla="*/ 3517637 w 4037989"/>
              <a:gd name="connsiteY1" fmla="*/ 1818 h 5620176"/>
              <a:gd name="connsiteX2" fmla="*/ 3942033 w 4037989"/>
              <a:gd name="connsiteY2" fmla="*/ 335077 h 5620176"/>
              <a:gd name="connsiteX3" fmla="*/ 3966192 w 4037989"/>
              <a:gd name="connsiteY3" fmla="*/ 4546011 h 5620176"/>
              <a:gd name="connsiteX4" fmla="*/ 2919142 w 4037989"/>
              <a:gd name="connsiteY4" fmla="*/ 5609255 h 5620176"/>
              <a:gd name="connsiteX5" fmla="*/ 232259 w 4037989"/>
              <a:gd name="connsiteY5" fmla="*/ 5620176 h 5620176"/>
              <a:gd name="connsiteX6" fmla="*/ 0 w 4037989"/>
              <a:gd name="connsiteY6" fmla="*/ 5388074 h 5620176"/>
              <a:gd name="connsiteX7" fmla="*/ 0 w 4037989"/>
              <a:gd name="connsiteY7" fmla="*/ 1383077 h 5620176"/>
              <a:gd name="connsiteX8" fmla="*/ 98758 w 4037989"/>
              <a:gd name="connsiteY8" fmla="*/ 1193072 h 5620176"/>
              <a:gd name="connsiteX9" fmla="*/ 1820968 w 4037989"/>
              <a:gd name="connsiteY9" fmla="*/ 0 h 5620176"/>
              <a:gd name="connsiteX0" fmla="*/ 1820968 w 4037989"/>
              <a:gd name="connsiteY0" fmla="*/ 0 h 5620176"/>
              <a:gd name="connsiteX1" fmla="*/ 3517637 w 4037989"/>
              <a:gd name="connsiteY1" fmla="*/ 1818 h 5620176"/>
              <a:gd name="connsiteX2" fmla="*/ 3942033 w 4037989"/>
              <a:gd name="connsiteY2" fmla="*/ 335077 h 5620176"/>
              <a:gd name="connsiteX3" fmla="*/ 3966192 w 4037989"/>
              <a:gd name="connsiteY3" fmla="*/ 4546011 h 5620176"/>
              <a:gd name="connsiteX4" fmla="*/ 2919142 w 4037989"/>
              <a:gd name="connsiteY4" fmla="*/ 5609255 h 5620176"/>
              <a:gd name="connsiteX5" fmla="*/ 232259 w 4037989"/>
              <a:gd name="connsiteY5" fmla="*/ 5620176 h 5620176"/>
              <a:gd name="connsiteX6" fmla="*/ 0 w 4037989"/>
              <a:gd name="connsiteY6" fmla="*/ 5388074 h 5620176"/>
              <a:gd name="connsiteX7" fmla="*/ 0 w 4037989"/>
              <a:gd name="connsiteY7" fmla="*/ 1383077 h 5620176"/>
              <a:gd name="connsiteX8" fmla="*/ 98758 w 4037989"/>
              <a:gd name="connsiteY8" fmla="*/ 1193072 h 5620176"/>
              <a:gd name="connsiteX9" fmla="*/ 1820968 w 4037989"/>
              <a:gd name="connsiteY9" fmla="*/ 0 h 5620176"/>
              <a:gd name="connsiteX0" fmla="*/ 1820968 w 3973157"/>
              <a:gd name="connsiteY0" fmla="*/ 0 h 5620176"/>
              <a:gd name="connsiteX1" fmla="*/ 3517637 w 3973157"/>
              <a:gd name="connsiteY1" fmla="*/ 1818 h 5620176"/>
              <a:gd name="connsiteX2" fmla="*/ 3942033 w 3973157"/>
              <a:gd name="connsiteY2" fmla="*/ 335077 h 5620176"/>
              <a:gd name="connsiteX3" fmla="*/ 3966192 w 3973157"/>
              <a:gd name="connsiteY3" fmla="*/ 4546011 h 5620176"/>
              <a:gd name="connsiteX4" fmla="*/ 2919142 w 3973157"/>
              <a:gd name="connsiteY4" fmla="*/ 5609255 h 5620176"/>
              <a:gd name="connsiteX5" fmla="*/ 232259 w 3973157"/>
              <a:gd name="connsiteY5" fmla="*/ 5620176 h 5620176"/>
              <a:gd name="connsiteX6" fmla="*/ 0 w 3973157"/>
              <a:gd name="connsiteY6" fmla="*/ 5388074 h 5620176"/>
              <a:gd name="connsiteX7" fmla="*/ 0 w 3973157"/>
              <a:gd name="connsiteY7" fmla="*/ 1383077 h 5620176"/>
              <a:gd name="connsiteX8" fmla="*/ 98758 w 3973157"/>
              <a:gd name="connsiteY8" fmla="*/ 1193072 h 5620176"/>
              <a:gd name="connsiteX9" fmla="*/ 1820968 w 3973157"/>
              <a:gd name="connsiteY9" fmla="*/ 0 h 5620176"/>
              <a:gd name="connsiteX0" fmla="*/ 1820968 w 4035310"/>
              <a:gd name="connsiteY0" fmla="*/ 0 h 5620176"/>
              <a:gd name="connsiteX1" fmla="*/ 3517637 w 4035310"/>
              <a:gd name="connsiteY1" fmla="*/ 1818 h 5620176"/>
              <a:gd name="connsiteX2" fmla="*/ 3933081 w 4035310"/>
              <a:gd name="connsiteY2" fmla="*/ 549916 h 5620176"/>
              <a:gd name="connsiteX3" fmla="*/ 3966192 w 4035310"/>
              <a:gd name="connsiteY3" fmla="*/ 4546011 h 5620176"/>
              <a:gd name="connsiteX4" fmla="*/ 2919142 w 4035310"/>
              <a:gd name="connsiteY4" fmla="*/ 5609255 h 5620176"/>
              <a:gd name="connsiteX5" fmla="*/ 232259 w 4035310"/>
              <a:gd name="connsiteY5" fmla="*/ 5620176 h 5620176"/>
              <a:gd name="connsiteX6" fmla="*/ 0 w 4035310"/>
              <a:gd name="connsiteY6" fmla="*/ 5388074 h 5620176"/>
              <a:gd name="connsiteX7" fmla="*/ 0 w 4035310"/>
              <a:gd name="connsiteY7" fmla="*/ 1383077 h 5620176"/>
              <a:gd name="connsiteX8" fmla="*/ 98758 w 4035310"/>
              <a:gd name="connsiteY8" fmla="*/ 1193072 h 5620176"/>
              <a:gd name="connsiteX9" fmla="*/ 1820968 w 4035310"/>
              <a:gd name="connsiteY9" fmla="*/ 0 h 5620176"/>
              <a:gd name="connsiteX0" fmla="*/ 1820968 w 4030291"/>
              <a:gd name="connsiteY0" fmla="*/ 0 h 5620176"/>
              <a:gd name="connsiteX1" fmla="*/ 3517637 w 4030291"/>
              <a:gd name="connsiteY1" fmla="*/ 1818 h 5620176"/>
              <a:gd name="connsiteX2" fmla="*/ 3915178 w 4030291"/>
              <a:gd name="connsiteY2" fmla="*/ 469353 h 5620176"/>
              <a:gd name="connsiteX3" fmla="*/ 3966192 w 4030291"/>
              <a:gd name="connsiteY3" fmla="*/ 4546011 h 5620176"/>
              <a:gd name="connsiteX4" fmla="*/ 2919142 w 4030291"/>
              <a:gd name="connsiteY4" fmla="*/ 5609255 h 5620176"/>
              <a:gd name="connsiteX5" fmla="*/ 232259 w 4030291"/>
              <a:gd name="connsiteY5" fmla="*/ 5620176 h 5620176"/>
              <a:gd name="connsiteX6" fmla="*/ 0 w 4030291"/>
              <a:gd name="connsiteY6" fmla="*/ 5388074 h 5620176"/>
              <a:gd name="connsiteX7" fmla="*/ 0 w 4030291"/>
              <a:gd name="connsiteY7" fmla="*/ 1383077 h 5620176"/>
              <a:gd name="connsiteX8" fmla="*/ 98758 w 4030291"/>
              <a:gd name="connsiteY8" fmla="*/ 1193072 h 5620176"/>
              <a:gd name="connsiteX9" fmla="*/ 1820968 w 4030291"/>
              <a:gd name="connsiteY9" fmla="*/ 0 h 5620176"/>
              <a:gd name="connsiteX0" fmla="*/ 1820968 w 4025909"/>
              <a:gd name="connsiteY0" fmla="*/ 0 h 5620176"/>
              <a:gd name="connsiteX1" fmla="*/ 3517637 w 4025909"/>
              <a:gd name="connsiteY1" fmla="*/ 1818 h 5620176"/>
              <a:gd name="connsiteX2" fmla="*/ 3915178 w 4025909"/>
              <a:gd name="connsiteY2" fmla="*/ 469353 h 5620176"/>
              <a:gd name="connsiteX3" fmla="*/ 3966192 w 4025909"/>
              <a:gd name="connsiteY3" fmla="*/ 4546011 h 5620176"/>
              <a:gd name="connsiteX4" fmla="*/ 2919142 w 4025909"/>
              <a:gd name="connsiteY4" fmla="*/ 5609255 h 5620176"/>
              <a:gd name="connsiteX5" fmla="*/ 232259 w 4025909"/>
              <a:gd name="connsiteY5" fmla="*/ 5620176 h 5620176"/>
              <a:gd name="connsiteX6" fmla="*/ 0 w 4025909"/>
              <a:gd name="connsiteY6" fmla="*/ 5388074 h 5620176"/>
              <a:gd name="connsiteX7" fmla="*/ 0 w 4025909"/>
              <a:gd name="connsiteY7" fmla="*/ 1383077 h 5620176"/>
              <a:gd name="connsiteX8" fmla="*/ 98758 w 4025909"/>
              <a:gd name="connsiteY8" fmla="*/ 1193072 h 5620176"/>
              <a:gd name="connsiteX9" fmla="*/ 1820968 w 4025909"/>
              <a:gd name="connsiteY9" fmla="*/ 0 h 5620176"/>
              <a:gd name="connsiteX0" fmla="*/ 1820968 w 4028866"/>
              <a:gd name="connsiteY0" fmla="*/ 0 h 5620176"/>
              <a:gd name="connsiteX1" fmla="*/ 3517637 w 4028866"/>
              <a:gd name="connsiteY1" fmla="*/ 1818 h 5620176"/>
              <a:gd name="connsiteX2" fmla="*/ 3915178 w 4028866"/>
              <a:gd name="connsiteY2" fmla="*/ 469353 h 5620176"/>
              <a:gd name="connsiteX3" fmla="*/ 3966192 w 4028866"/>
              <a:gd name="connsiteY3" fmla="*/ 4546011 h 5620176"/>
              <a:gd name="connsiteX4" fmla="*/ 2919142 w 4028866"/>
              <a:gd name="connsiteY4" fmla="*/ 5609255 h 5620176"/>
              <a:gd name="connsiteX5" fmla="*/ 232259 w 4028866"/>
              <a:gd name="connsiteY5" fmla="*/ 5620176 h 5620176"/>
              <a:gd name="connsiteX6" fmla="*/ 0 w 4028866"/>
              <a:gd name="connsiteY6" fmla="*/ 5388074 h 5620176"/>
              <a:gd name="connsiteX7" fmla="*/ 0 w 4028866"/>
              <a:gd name="connsiteY7" fmla="*/ 1383077 h 5620176"/>
              <a:gd name="connsiteX8" fmla="*/ 98758 w 4028866"/>
              <a:gd name="connsiteY8" fmla="*/ 1193072 h 5620176"/>
              <a:gd name="connsiteX9" fmla="*/ 1820968 w 4028866"/>
              <a:gd name="connsiteY9" fmla="*/ 0 h 5620176"/>
              <a:gd name="connsiteX0" fmla="*/ 1820968 w 4031247"/>
              <a:gd name="connsiteY0" fmla="*/ 0 h 5620176"/>
              <a:gd name="connsiteX1" fmla="*/ 3517637 w 4031247"/>
              <a:gd name="connsiteY1" fmla="*/ 1818 h 5620176"/>
              <a:gd name="connsiteX2" fmla="*/ 3924131 w 4031247"/>
              <a:gd name="connsiteY2" fmla="*/ 308224 h 5620176"/>
              <a:gd name="connsiteX3" fmla="*/ 3966192 w 4031247"/>
              <a:gd name="connsiteY3" fmla="*/ 4546011 h 5620176"/>
              <a:gd name="connsiteX4" fmla="*/ 2919142 w 4031247"/>
              <a:gd name="connsiteY4" fmla="*/ 5609255 h 5620176"/>
              <a:gd name="connsiteX5" fmla="*/ 232259 w 4031247"/>
              <a:gd name="connsiteY5" fmla="*/ 5620176 h 5620176"/>
              <a:gd name="connsiteX6" fmla="*/ 0 w 4031247"/>
              <a:gd name="connsiteY6" fmla="*/ 5388074 h 5620176"/>
              <a:gd name="connsiteX7" fmla="*/ 0 w 4031247"/>
              <a:gd name="connsiteY7" fmla="*/ 1383077 h 5620176"/>
              <a:gd name="connsiteX8" fmla="*/ 98758 w 4031247"/>
              <a:gd name="connsiteY8" fmla="*/ 1193072 h 5620176"/>
              <a:gd name="connsiteX9" fmla="*/ 1820968 w 4031247"/>
              <a:gd name="connsiteY9" fmla="*/ 0 h 5620176"/>
              <a:gd name="connsiteX0" fmla="*/ 1820968 w 4031456"/>
              <a:gd name="connsiteY0" fmla="*/ 0 h 5620176"/>
              <a:gd name="connsiteX1" fmla="*/ 3517637 w 4031456"/>
              <a:gd name="connsiteY1" fmla="*/ 1818 h 5620176"/>
              <a:gd name="connsiteX2" fmla="*/ 3924131 w 4031456"/>
              <a:gd name="connsiteY2" fmla="*/ 308224 h 5620176"/>
              <a:gd name="connsiteX3" fmla="*/ 3966192 w 4031456"/>
              <a:gd name="connsiteY3" fmla="*/ 4546011 h 5620176"/>
              <a:gd name="connsiteX4" fmla="*/ 2919142 w 4031456"/>
              <a:gd name="connsiteY4" fmla="*/ 5609255 h 5620176"/>
              <a:gd name="connsiteX5" fmla="*/ 232259 w 4031456"/>
              <a:gd name="connsiteY5" fmla="*/ 5620176 h 5620176"/>
              <a:gd name="connsiteX6" fmla="*/ 0 w 4031456"/>
              <a:gd name="connsiteY6" fmla="*/ 5388074 h 5620176"/>
              <a:gd name="connsiteX7" fmla="*/ 0 w 4031456"/>
              <a:gd name="connsiteY7" fmla="*/ 1383077 h 5620176"/>
              <a:gd name="connsiteX8" fmla="*/ 98758 w 4031456"/>
              <a:gd name="connsiteY8" fmla="*/ 1193072 h 5620176"/>
              <a:gd name="connsiteX9" fmla="*/ 1820968 w 4031456"/>
              <a:gd name="connsiteY9" fmla="*/ 0 h 5620176"/>
              <a:gd name="connsiteX0" fmla="*/ 1820968 w 4038829"/>
              <a:gd name="connsiteY0" fmla="*/ 104452 h 5724628"/>
              <a:gd name="connsiteX1" fmla="*/ 3723525 w 4038829"/>
              <a:gd name="connsiteY1" fmla="*/ 124173 h 5724628"/>
              <a:gd name="connsiteX2" fmla="*/ 3924131 w 4038829"/>
              <a:gd name="connsiteY2" fmla="*/ 412676 h 5724628"/>
              <a:gd name="connsiteX3" fmla="*/ 3966192 w 4038829"/>
              <a:gd name="connsiteY3" fmla="*/ 4650463 h 5724628"/>
              <a:gd name="connsiteX4" fmla="*/ 2919142 w 4038829"/>
              <a:gd name="connsiteY4" fmla="*/ 5713707 h 5724628"/>
              <a:gd name="connsiteX5" fmla="*/ 232259 w 4038829"/>
              <a:gd name="connsiteY5" fmla="*/ 5724628 h 5724628"/>
              <a:gd name="connsiteX6" fmla="*/ 0 w 4038829"/>
              <a:gd name="connsiteY6" fmla="*/ 5492526 h 5724628"/>
              <a:gd name="connsiteX7" fmla="*/ 0 w 4038829"/>
              <a:gd name="connsiteY7" fmla="*/ 1487529 h 5724628"/>
              <a:gd name="connsiteX8" fmla="*/ 98758 w 4038829"/>
              <a:gd name="connsiteY8" fmla="*/ 1297524 h 5724628"/>
              <a:gd name="connsiteX9" fmla="*/ 1820968 w 4038829"/>
              <a:gd name="connsiteY9" fmla="*/ 104452 h 5724628"/>
              <a:gd name="connsiteX0" fmla="*/ 1820968 w 4038829"/>
              <a:gd name="connsiteY0" fmla="*/ 124809 h 5744985"/>
              <a:gd name="connsiteX1" fmla="*/ 3723525 w 4038829"/>
              <a:gd name="connsiteY1" fmla="*/ 144530 h 5744985"/>
              <a:gd name="connsiteX2" fmla="*/ 3924131 w 4038829"/>
              <a:gd name="connsiteY2" fmla="*/ 433033 h 5744985"/>
              <a:gd name="connsiteX3" fmla="*/ 3966192 w 4038829"/>
              <a:gd name="connsiteY3" fmla="*/ 4670820 h 5744985"/>
              <a:gd name="connsiteX4" fmla="*/ 2919142 w 4038829"/>
              <a:gd name="connsiteY4" fmla="*/ 5734064 h 5744985"/>
              <a:gd name="connsiteX5" fmla="*/ 232259 w 4038829"/>
              <a:gd name="connsiteY5" fmla="*/ 5744985 h 5744985"/>
              <a:gd name="connsiteX6" fmla="*/ 0 w 4038829"/>
              <a:gd name="connsiteY6" fmla="*/ 5512883 h 5744985"/>
              <a:gd name="connsiteX7" fmla="*/ 0 w 4038829"/>
              <a:gd name="connsiteY7" fmla="*/ 1507886 h 5744985"/>
              <a:gd name="connsiteX8" fmla="*/ 98758 w 4038829"/>
              <a:gd name="connsiteY8" fmla="*/ 1317881 h 5744985"/>
              <a:gd name="connsiteX9" fmla="*/ 1820968 w 4038829"/>
              <a:gd name="connsiteY9" fmla="*/ 124809 h 5744985"/>
              <a:gd name="connsiteX0" fmla="*/ 1820968 w 4031921"/>
              <a:gd name="connsiteY0" fmla="*/ 0 h 5620176"/>
              <a:gd name="connsiteX1" fmla="*/ 3723525 w 4031921"/>
              <a:gd name="connsiteY1" fmla="*/ 19721 h 5620176"/>
              <a:gd name="connsiteX2" fmla="*/ 3924131 w 4031921"/>
              <a:gd name="connsiteY2" fmla="*/ 308224 h 5620176"/>
              <a:gd name="connsiteX3" fmla="*/ 3966192 w 4031921"/>
              <a:gd name="connsiteY3" fmla="*/ 4546011 h 5620176"/>
              <a:gd name="connsiteX4" fmla="*/ 2919142 w 4031921"/>
              <a:gd name="connsiteY4" fmla="*/ 5609255 h 5620176"/>
              <a:gd name="connsiteX5" fmla="*/ 232259 w 4031921"/>
              <a:gd name="connsiteY5" fmla="*/ 5620176 h 5620176"/>
              <a:gd name="connsiteX6" fmla="*/ 0 w 4031921"/>
              <a:gd name="connsiteY6" fmla="*/ 5388074 h 5620176"/>
              <a:gd name="connsiteX7" fmla="*/ 0 w 4031921"/>
              <a:gd name="connsiteY7" fmla="*/ 1383077 h 5620176"/>
              <a:gd name="connsiteX8" fmla="*/ 98758 w 4031921"/>
              <a:gd name="connsiteY8" fmla="*/ 1193072 h 5620176"/>
              <a:gd name="connsiteX9" fmla="*/ 1820968 w 4031921"/>
              <a:gd name="connsiteY9" fmla="*/ 0 h 5620176"/>
              <a:gd name="connsiteX0" fmla="*/ 1820968 w 3966823"/>
              <a:gd name="connsiteY0" fmla="*/ 0 h 5620176"/>
              <a:gd name="connsiteX1" fmla="*/ 3723525 w 3966823"/>
              <a:gd name="connsiteY1" fmla="*/ 19721 h 5620176"/>
              <a:gd name="connsiteX2" fmla="*/ 3924131 w 3966823"/>
              <a:gd name="connsiteY2" fmla="*/ 308224 h 5620176"/>
              <a:gd name="connsiteX3" fmla="*/ 3966192 w 3966823"/>
              <a:gd name="connsiteY3" fmla="*/ 4546011 h 5620176"/>
              <a:gd name="connsiteX4" fmla="*/ 2919142 w 3966823"/>
              <a:gd name="connsiteY4" fmla="*/ 5609255 h 5620176"/>
              <a:gd name="connsiteX5" fmla="*/ 232259 w 3966823"/>
              <a:gd name="connsiteY5" fmla="*/ 5620176 h 5620176"/>
              <a:gd name="connsiteX6" fmla="*/ 0 w 3966823"/>
              <a:gd name="connsiteY6" fmla="*/ 5388074 h 5620176"/>
              <a:gd name="connsiteX7" fmla="*/ 0 w 3966823"/>
              <a:gd name="connsiteY7" fmla="*/ 1383077 h 5620176"/>
              <a:gd name="connsiteX8" fmla="*/ 98758 w 3966823"/>
              <a:gd name="connsiteY8" fmla="*/ 1193072 h 5620176"/>
              <a:gd name="connsiteX9" fmla="*/ 1820968 w 3966823"/>
              <a:gd name="connsiteY9" fmla="*/ 0 h 5620176"/>
              <a:gd name="connsiteX0" fmla="*/ 1820968 w 4039827"/>
              <a:gd name="connsiteY0" fmla="*/ 0 h 5620176"/>
              <a:gd name="connsiteX1" fmla="*/ 3723525 w 4039827"/>
              <a:gd name="connsiteY1" fmla="*/ 19721 h 5620176"/>
              <a:gd name="connsiteX2" fmla="*/ 3950986 w 4039827"/>
              <a:gd name="connsiteY2" fmla="*/ 352982 h 5620176"/>
              <a:gd name="connsiteX3" fmla="*/ 3966192 w 4039827"/>
              <a:gd name="connsiteY3" fmla="*/ 4546011 h 5620176"/>
              <a:gd name="connsiteX4" fmla="*/ 2919142 w 4039827"/>
              <a:gd name="connsiteY4" fmla="*/ 5609255 h 5620176"/>
              <a:gd name="connsiteX5" fmla="*/ 232259 w 4039827"/>
              <a:gd name="connsiteY5" fmla="*/ 5620176 h 5620176"/>
              <a:gd name="connsiteX6" fmla="*/ 0 w 4039827"/>
              <a:gd name="connsiteY6" fmla="*/ 5388074 h 5620176"/>
              <a:gd name="connsiteX7" fmla="*/ 0 w 4039827"/>
              <a:gd name="connsiteY7" fmla="*/ 1383077 h 5620176"/>
              <a:gd name="connsiteX8" fmla="*/ 98758 w 4039827"/>
              <a:gd name="connsiteY8" fmla="*/ 1193072 h 5620176"/>
              <a:gd name="connsiteX9" fmla="*/ 1820968 w 4039827"/>
              <a:gd name="connsiteY9" fmla="*/ 0 h 5620176"/>
              <a:gd name="connsiteX0" fmla="*/ 1820968 w 4049324"/>
              <a:gd name="connsiteY0" fmla="*/ 109447 h 5729623"/>
              <a:gd name="connsiteX1" fmla="*/ 3687718 w 4049324"/>
              <a:gd name="connsiteY1" fmla="*/ 111265 h 5729623"/>
              <a:gd name="connsiteX2" fmla="*/ 3950986 w 4049324"/>
              <a:gd name="connsiteY2" fmla="*/ 462429 h 5729623"/>
              <a:gd name="connsiteX3" fmla="*/ 3966192 w 4049324"/>
              <a:gd name="connsiteY3" fmla="*/ 4655458 h 5729623"/>
              <a:gd name="connsiteX4" fmla="*/ 2919142 w 4049324"/>
              <a:gd name="connsiteY4" fmla="*/ 5718702 h 5729623"/>
              <a:gd name="connsiteX5" fmla="*/ 232259 w 4049324"/>
              <a:gd name="connsiteY5" fmla="*/ 5729623 h 5729623"/>
              <a:gd name="connsiteX6" fmla="*/ 0 w 4049324"/>
              <a:gd name="connsiteY6" fmla="*/ 5497521 h 5729623"/>
              <a:gd name="connsiteX7" fmla="*/ 0 w 4049324"/>
              <a:gd name="connsiteY7" fmla="*/ 1492524 h 5729623"/>
              <a:gd name="connsiteX8" fmla="*/ 98758 w 4049324"/>
              <a:gd name="connsiteY8" fmla="*/ 1302519 h 5729623"/>
              <a:gd name="connsiteX9" fmla="*/ 1820968 w 4049324"/>
              <a:gd name="connsiteY9" fmla="*/ 109447 h 5729623"/>
              <a:gd name="connsiteX0" fmla="*/ 1820968 w 4039210"/>
              <a:gd name="connsiteY0" fmla="*/ 0 h 5620176"/>
              <a:gd name="connsiteX1" fmla="*/ 3687718 w 4039210"/>
              <a:gd name="connsiteY1" fmla="*/ 1818 h 5620176"/>
              <a:gd name="connsiteX2" fmla="*/ 3950986 w 4039210"/>
              <a:gd name="connsiteY2" fmla="*/ 352982 h 5620176"/>
              <a:gd name="connsiteX3" fmla="*/ 3966192 w 4039210"/>
              <a:gd name="connsiteY3" fmla="*/ 4546011 h 5620176"/>
              <a:gd name="connsiteX4" fmla="*/ 2919142 w 4039210"/>
              <a:gd name="connsiteY4" fmla="*/ 5609255 h 5620176"/>
              <a:gd name="connsiteX5" fmla="*/ 232259 w 4039210"/>
              <a:gd name="connsiteY5" fmla="*/ 5620176 h 5620176"/>
              <a:gd name="connsiteX6" fmla="*/ 0 w 4039210"/>
              <a:gd name="connsiteY6" fmla="*/ 5388074 h 5620176"/>
              <a:gd name="connsiteX7" fmla="*/ 0 w 4039210"/>
              <a:gd name="connsiteY7" fmla="*/ 1383077 h 5620176"/>
              <a:gd name="connsiteX8" fmla="*/ 98758 w 4039210"/>
              <a:gd name="connsiteY8" fmla="*/ 1193072 h 5620176"/>
              <a:gd name="connsiteX9" fmla="*/ 1820968 w 4039210"/>
              <a:gd name="connsiteY9" fmla="*/ 0 h 5620176"/>
              <a:gd name="connsiteX0" fmla="*/ 1820968 w 3966352"/>
              <a:gd name="connsiteY0" fmla="*/ 0 h 5620176"/>
              <a:gd name="connsiteX1" fmla="*/ 3687718 w 3966352"/>
              <a:gd name="connsiteY1" fmla="*/ 1818 h 5620176"/>
              <a:gd name="connsiteX2" fmla="*/ 3950986 w 3966352"/>
              <a:gd name="connsiteY2" fmla="*/ 352982 h 5620176"/>
              <a:gd name="connsiteX3" fmla="*/ 3966192 w 3966352"/>
              <a:gd name="connsiteY3" fmla="*/ 4546011 h 5620176"/>
              <a:gd name="connsiteX4" fmla="*/ 2919142 w 3966352"/>
              <a:gd name="connsiteY4" fmla="*/ 5609255 h 5620176"/>
              <a:gd name="connsiteX5" fmla="*/ 232259 w 3966352"/>
              <a:gd name="connsiteY5" fmla="*/ 5620176 h 5620176"/>
              <a:gd name="connsiteX6" fmla="*/ 0 w 3966352"/>
              <a:gd name="connsiteY6" fmla="*/ 5388074 h 5620176"/>
              <a:gd name="connsiteX7" fmla="*/ 0 w 3966352"/>
              <a:gd name="connsiteY7" fmla="*/ 1383077 h 5620176"/>
              <a:gd name="connsiteX8" fmla="*/ 98758 w 3966352"/>
              <a:gd name="connsiteY8" fmla="*/ 1193072 h 5620176"/>
              <a:gd name="connsiteX9" fmla="*/ 1820968 w 3966352"/>
              <a:gd name="connsiteY9" fmla="*/ 0 h 5620176"/>
              <a:gd name="connsiteX0" fmla="*/ 1820968 w 3966491"/>
              <a:gd name="connsiteY0" fmla="*/ 0 h 5620176"/>
              <a:gd name="connsiteX1" fmla="*/ 3687718 w 3966491"/>
              <a:gd name="connsiteY1" fmla="*/ 1818 h 5620176"/>
              <a:gd name="connsiteX2" fmla="*/ 3950986 w 3966491"/>
              <a:gd name="connsiteY2" fmla="*/ 352982 h 5620176"/>
              <a:gd name="connsiteX3" fmla="*/ 3966192 w 3966491"/>
              <a:gd name="connsiteY3" fmla="*/ 4546011 h 5620176"/>
              <a:gd name="connsiteX4" fmla="*/ 2919142 w 3966491"/>
              <a:gd name="connsiteY4" fmla="*/ 5609255 h 5620176"/>
              <a:gd name="connsiteX5" fmla="*/ 232259 w 3966491"/>
              <a:gd name="connsiteY5" fmla="*/ 5620176 h 5620176"/>
              <a:gd name="connsiteX6" fmla="*/ 0 w 3966491"/>
              <a:gd name="connsiteY6" fmla="*/ 5388074 h 5620176"/>
              <a:gd name="connsiteX7" fmla="*/ 0 w 3966491"/>
              <a:gd name="connsiteY7" fmla="*/ 1383077 h 5620176"/>
              <a:gd name="connsiteX8" fmla="*/ 98758 w 3966491"/>
              <a:gd name="connsiteY8" fmla="*/ 1193072 h 5620176"/>
              <a:gd name="connsiteX9" fmla="*/ 1820968 w 3966491"/>
              <a:gd name="connsiteY9" fmla="*/ 0 h 5620176"/>
              <a:gd name="connsiteX0" fmla="*/ 1319679 w 3966490"/>
              <a:gd name="connsiteY0" fmla="*/ 17513 h 5619785"/>
              <a:gd name="connsiteX1" fmla="*/ 3687718 w 3966490"/>
              <a:gd name="connsiteY1" fmla="*/ 1427 h 5619785"/>
              <a:gd name="connsiteX2" fmla="*/ 3950986 w 3966490"/>
              <a:gd name="connsiteY2" fmla="*/ 352591 h 5619785"/>
              <a:gd name="connsiteX3" fmla="*/ 3966192 w 3966490"/>
              <a:gd name="connsiteY3" fmla="*/ 4545620 h 5619785"/>
              <a:gd name="connsiteX4" fmla="*/ 2919142 w 3966490"/>
              <a:gd name="connsiteY4" fmla="*/ 5608864 h 5619785"/>
              <a:gd name="connsiteX5" fmla="*/ 232259 w 3966490"/>
              <a:gd name="connsiteY5" fmla="*/ 5619785 h 5619785"/>
              <a:gd name="connsiteX6" fmla="*/ 0 w 3966490"/>
              <a:gd name="connsiteY6" fmla="*/ 5387683 h 5619785"/>
              <a:gd name="connsiteX7" fmla="*/ 0 w 3966490"/>
              <a:gd name="connsiteY7" fmla="*/ 1382686 h 5619785"/>
              <a:gd name="connsiteX8" fmla="*/ 98758 w 3966490"/>
              <a:gd name="connsiteY8" fmla="*/ 1192681 h 5619785"/>
              <a:gd name="connsiteX9" fmla="*/ 1319679 w 3966490"/>
              <a:gd name="connsiteY9" fmla="*/ 17513 h 5619785"/>
              <a:gd name="connsiteX0" fmla="*/ 1319679 w 3966490"/>
              <a:gd name="connsiteY0" fmla="*/ 17513 h 5619785"/>
              <a:gd name="connsiteX1" fmla="*/ 3687718 w 3966490"/>
              <a:gd name="connsiteY1" fmla="*/ 1427 h 5619785"/>
              <a:gd name="connsiteX2" fmla="*/ 3950986 w 3966490"/>
              <a:gd name="connsiteY2" fmla="*/ 352591 h 5619785"/>
              <a:gd name="connsiteX3" fmla="*/ 3966192 w 3966490"/>
              <a:gd name="connsiteY3" fmla="*/ 4545620 h 5619785"/>
              <a:gd name="connsiteX4" fmla="*/ 2919142 w 3966490"/>
              <a:gd name="connsiteY4" fmla="*/ 5608864 h 5619785"/>
              <a:gd name="connsiteX5" fmla="*/ 232259 w 3966490"/>
              <a:gd name="connsiteY5" fmla="*/ 5619785 h 5619785"/>
              <a:gd name="connsiteX6" fmla="*/ 0 w 3966490"/>
              <a:gd name="connsiteY6" fmla="*/ 5387683 h 5619785"/>
              <a:gd name="connsiteX7" fmla="*/ 0 w 3966490"/>
              <a:gd name="connsiteY7" fmla="*/ 1382686 h 5619785"/>
              <a:gd name="connsiteX8" fmla="*/ 116661 w 3966490"/>
              <a:gd name="connsiteY8" fmla="*/ 959939 h 5619785"/>
              <a:gd name="connsiteX9" fmla="*/ 1319679 w 3966490"/>
              <a:gd name="connsiteY9" fmla="*/ 17513 h 5619785"/>
              <a:gd name="connsiteX0" fmla="*/ 1337582 w 3984393"/>
              <a:gd name="connsiteY0" fmla="*/ 17513 h 5619785"/>
              <a:gd name="connsiteX1" fmla="*/ 3705621 w 3984393"/>
              <a:gd name="connsiteY1" fmla="*/ 1427 h 5619785"/>
              <a:gd name="connsiteX2" fmla="*/ 3968889 w 3984393"/>
              <a:gd name="connsiteY2" fmla="*/ 352591 h 5619785"/>
              <a:gd name="connsiteX3" fmla="*/ 3984095 w 3984393"/>
              <a:gd name="connsiteY3" fmla="*/ 4545620 h 5619785"/>
              <a:gd name="connsiteX4" fmla="*/ 2937045 w 3984393"/>
              <a:gd name="connsiteY4" fmla="*/ 5608864 h 5619785"/>
              <a:gd name="connsiteX5" fmla="*/ 250162 w 3984393"/>
              <a:gd name="connsiteY5" fmla="*/ 5619785 h 5619785"/>
              <a:gd name="connsiteX6" fmla="*/ 17903 w 3984393"/>
              <a:gd name="connsiteY6" fmla="*/ 5387683 h 5619785"/>
              <a:gd name="connsiteX7" fmla="*/ 0 w 3984393"/>
              <a:gd name="connsiteY7" fmla="*/ 1176799 h 5619785"/>
              <a:gd name="connsiteX8" fmla="*/ 134564 w 3984393"/>
              <a:gd name="connsiteY8" fmla="*/ 959939 h 5619785"/>
              <a:gd name="connsiteX9" fmla="*/ 1337582 w 3984393"/>
              <a:gd name="connsiteY9" fmla="*/ 17513 h 561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84393" h="5619785">
                <a:moveTo>
                  <a:pt x="1337582" y="17513"/>
                </a:moveTo>
                <a:lnTo>
                  <a:pt x="3705621" y="1427"/>
                </a:lnTo>
                <a:cubicBezTo>
                  <a:pt x="3710019" y="-5388"/>
                  <a:pt x="3967236" y="-1952"/>
                  <a:pt x="3968889" y="352591"/>
                </a:cubicBezTo>
                <a:cubicBezTo>
                  <a:pt x="3970542" y="707134"/>
                  <a:pt x="3977923" y="4540584"/>
                  <a:pt x="3984095" y="4545620"/>
                </a:cubicBezTo>
                <a:cubicBezTo>
                  <a:pt x="4004664" y="4562403"/>
                  <a:pt x="2956922" y="5608783"/>
                  <a:pt x="2937045" y="5608864"/>
                </a:cubicBezTo>
                <a:lnTo>
                  <a:pt x="250162" y="5619785"/>
                </a:lnTo>
                <a:cubicBezTo>
                  <a:pt x="121879" y="5619785"/>
                  <a:pt x="17903" y="5515879"/>
                  <a:pt x="17903" y="5387683"/>
                </a:cubicBezTo>
                <a:cubicBezTo>
                  <a:pt x="11935" y="3984055"/>
                  <a:pt x="5968" y="2580427"/>
                  <a:pt x="0" y="1176799"/>
                </a:cubicBezTo>
                <a:cubicBezTo>
                  <a:pt x="0" y="1101128"/>
                  <a:pt x="72713" y="1003434"/>
                  <a:pt x="134564" y="959939"/>
                </a:cubicBezTo>
                <a:lnTo>
                  <a:pt x="1337582" y="17513"/>
                </a:lnTo>
                <a:close/>
              </a:path>
            </a:pathLst>
          </a:custGeom>
        </p:spPr>
      </p:pic>
      <p:graphicFrame>
        <p:nvGraphicFramePr>
          <p:cNvPr id="19" name="Table 492">
            <a:extLst>
              <a:ext uri="{FF2B5EF4-FFF2-40B4-BE49-F238E27FC236}">
                <a16:creationId xmlns:a16="http://schemas.microsoft.com/office/drawing/2014/main" id="{57E2DC8E-4733-61BC-4904-C52BAF2490C8}"/>
              </a:ext>
            </a:extLst>
          </p:cNvPr>
          <p:cNvGraphicFramePr>
            <a:graphicFrameLocks noGrp="1"/>
          </p:cNvGraphicFramePr>
          <p:nvPr/>
        </p:nvGraphicFramePr>
        <p:xfrm>
          <a:off x="5723467" y="4209502"/>
          <a:ext cx="5220756" cy="1337544"/>
        </p:xfrm>
        <a:graphic>
          <a:graphicData uri="http://schemas.openxmlformats.org/drawingml/2006/table">
            <a:tbl>
              <a:tblPr>
                <a:tableStyleId>{9D7B26C5-4107-4FEC-AEDC-1716B250A1EF}</a:tableStyleId>
              </a:tblPr>
              <a:tblGrid>
                <a:gridCol w="1740252">
                  <a:extLst>
                    <a:ext uri="{9D8B030D-6E8A-4147-A177-3AD203B41FA5}">
                      <a16:colId xmlns:a16="http://schemas.microsoft.com/office/drawing/2014/main" val="1584487396"/>
                    </a:ext>
                  </a:extLst>
                </a:gridCol>
                <a:gridCol w="1740252">
                  <a:extLst>
                    <a:ext uri="{9D8B030D-6E8A-4147-A177-3AD203B41FA5}">
                      <a16:colId xmlns:a16="http://schemas.microsoft.com/office/drawing/2014/main" val="1073477736"/>
                    </a:ext>
                  </a:extLst>
                </a:gridCol>
                <a:gridCol w="1740252">
                  <a:extLst>
                    <a:ext uri="{9D8B030D-6E8A-4147-A177-3AD203B41FA5}">
                      <a16:colId xmlns:a16="http://schemas.microsoft.com/office/drawing/2014/main" val="833806050"/>
                    </a:ext>
                  </a:extLst>
                </a:gridCol>
              </a:tblGrid>
              <a:tr h="217634">
                <a:tc>
                  <a:txBody>
                    <a:bodyPr/>
                    <a:lstStyle/>
                    <a:p>
                      <a:pPr algn="ctr" rtl="0" fontAlgn="ctr">
                        <a:spcBef>
                          <a:spcPts val="0"/>
                        </a:spcBef>
                        <a:spcAft>
                          <a:spcPts val="0"/>
                        </a:spcAft>
                      </a:pPr>
                      <a:r>
                        <a:rPr lang="en-US" sz="1200" b="1" u="none" strike="noStrike" noProof="0">
                          <a:solidFill>
                            <a:schemeClr val="bg1"/>
                          </a:solidFill>
                          <a:effectLst/>
                        </a:rPr>
                        <a:t>Maintenance Event</a:t>
                      </a:r>
                      <a:endParaRPr lang="en-US" sz="12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spcBef>
                          <a:spcPts val="0"/>
                        </a:spcBef>
                        <a:spcAft>
                          <a:spcPts val="0"/>
                        </a:spcAft>
                      </a:pPr>
                      <a:r>
                        <a:rPr lang="en-US" sz="1200" b="1" noProof="0">
                          <a:solidFill>
                            <a:schemeClr val="bg1"/>
                          </a:solidFill>
                          <a:effectLst/>
                        </a:rPr>
                        <a:t>MD Target</a:t>
                      </a:r>
                      <a:endParaRPr lang="en-US" sz="12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spcBef>
                          <a:spcPts val="0"/>
                        </a:spcBef>
                        <a:spcAft>
                          <a:spcPts val="0"/>
                        </a:spcAft>
                      </a:pPr>
                      <a:r>
                        <a:rPr lang="en-US" sz="1200" b="1" noProof="0">
                          <a:solidFill>
                            <a:schemeClr val="bg1"/>
                          </a:solidFill>
                          <a:effectLst/>
                        </a:rPr>
                        <a:t>HD Target</a:t>
                      </a:r>
                      <a:endParaRPr lang="en-US" sz="12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460064979"/>
                  </a:ext>
                </a:extLst>
              </a:tr>
              <a:tr h="217634">
                <a:tc>
                  <a:txBody>
                    <a:bodyPr/>
                    <a:lstStyle/>
                    <a:p>
                      <a:pPr algn="ctr" rtl="0" fontAlgn="ctr">
                        <a:spcBef>
                          <a:spcPts val="0"/>
                        </a:spcBef>
                        <a:spcAft>
                          <a:spcPts val="0"/>
                        </a:spcAft>
                      </a:pPr>
                      <a:r>
                        <a:rPr lang="en-US" sz="1100" b="0" u="none" strike="noStrike" noProof="0">
                          <a:solidFill>
                            <a:srgbClr val="000000"/>
                          </a:solidFill>
                          <a:effectLst/>
                        </a:rPr>
                        <a:t>Oil and filter**</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a:noFill/>
                    </a:lnL>
                    <a:lnR w="3175" cap="flat" cmpd="sng" algn="ctr">
                      <a:solidFill>
                        <a:srgbClr val="A9A8A6"/>
                      </a:solidFill>
                      <a:prstDash val="solid"/>
                      <a:round/>
                      <a:headEnd type="none" w="med" len="med"/>
                      <a:tailEnd type="none" w="med" len="med"/>
                    </a:lnR>
                    <a:lnT>
                      <a:noFill/>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spcBef>
                          <a:spcPts val="0"/>
                        </a:spcBef>
                        <a:spcAft>
                          <a:spcPts val="0"/>
                        </a:spcAft>
                      </a:pPr>
                      <a:r>
                        <a:rPr lang="en-US" sz="1100" noProof="0">
                          <a:effectLst/>
                        </a:rPr>
                        <a:t>Up to 32k mi / 1500 </a:t>
                      </a:r>
                      <a:r>
                        <a:rPr lang="en-US" sz="1100" noProof="0" err="1">
                          <a:effectLst/>
                        </a:rPr>
                        <a:t>hr</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w="3175" cap="flat" cmpd="sng" algn="ctr">
                      <a:solidFill>
                        <a:srgbClr val="A9A8A6"/>
                      </a:solidFill>
                      <a:prstDash val="solid"/>
                      <a:round/>
                      <a:headEnd type="none" w="med" len="med"/>
                      <a:tailEnd type="none" w="med" len="med"/>
                    </a:lnL>
                    <a:lnR w="3175" cap="flat" cmpd="sng" algn="ctr">
                      <a:solidFill>
                        <a:srgbClr val="A9A8A6"/>
                      </a:solidFill>
                      <a:prstDash val="solid"/>
                      <a:round/>
                      <a:headEnd type="none" w="med" len="med"/>
                      <a:tailEnd type="none" w="med" len="med"/>
                    </a:lnR>
                    <a:lnT>
                      <a:noFill/>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379" rtl="0" eaLnBrk="1" fontAlgn="ctr" latinLnBrk="0" hangingPunct="1">
                        <a:lnSpc>
                          <a:spcPct val="100000"/>
                        </a:lnSpc>
                        <a:spcBef>
                          <a:spcPts val="0"/>
                        </a:spcBef>
                        <a:spcAft>
                          <a:spcPts val="0"/>
                        </a:spcAft>
                        <a:buClrTx/>
                        <a:buSzTx/>
                        <a:buFontTx/>
                        <a:buNone/>
                        <a:tabLst/>
                        <a:defRPr/>
                      </a:pPr>
                      <a:r>
                        <a:rPr lang="en-US" sz="1100" noProof="0">
                          <a:effectLst/>
                        </a:rPr>
                        <a:t>Up to 32k mi / 1500 </a:t>
                      </a:r>
                      <a:r>
                        <a:rPr lang="en-US" sz="1100" noProof="0" err="1">
                          <a:effectLst/>
                        </a:rPr>
                        <a:t>hr</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w="3175" cap="flat" cmpd="sng" algn="ctr">
                      <a:solidFill>
                        <a:srgbClr val="A9A8A6"/>
                      </a:solidFill>
                      <a:prstDash val="solid"/>
                      <a:round/>
                      <a:headEnd type="none" w="med" len="med"/>
                      <a:tailEnd type="none" w="med" len="med"/>
                    </a:lnL>
                    <a:lnR>
                      <a:noFill/>
                    </a:lnR>
                    <a:lnT>
                      <a:noFill/>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1482269"/>
                  </a:ext>
                </a:extLst>
              </a:tr>
              <a:tr h="217634">
                <a:tc>
                  <a:txBody>
                    <a:bodyPr/>
                    <a:lstStyle/>
                    <a:p>
                      <a:pPr algn="ctr" rtl="0" fontAlgn="ctr">
                        <a:spcBef>
                          <a:spcPts val="0"/>
                        </a:spcBef>
                        <a:spcAft>
                          <a:spcPts val="0"/>
                        </a:spcAft>
                      </a:pPr>
                      <a:r>
                        <a:rPr lang="en-US" sz="1100" b="0" u="none" strike="noStrike" noProof="0">
                          <a:solidFill>
                            <a:srgbClr val="000000"/>
                          </a:solidFill>
                          <a:effectLst/>
                        </a:rPr>
                        <a:t>Valve lash adjustment</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a:noFill/>
                    </a:lnL>
                    <a:lnR w="3175" cap="flat" cmpd="sng" algn="ctr">
                      <a:solidFill>
                        <a:srgbClr val="A9A8A6"/>
                      </a:solidFill>
                      <a:prstDash val="solid"/>
                      <a:round/>
                      <a:headEnd type="none" w="med" len="med"/>
                      <a:tailEnd type="none" w="med" len="med"/>
                    </a:ln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rtl="0" fontAlgn="ctr">
                        <a:spcBef>
                          <a:spcPts val="0"/>
                        </a:spcBef>
                        <a:spcAft>
                          <a:spcPts val="0"/>
                        </a:spcAft>
                      </a:pPr>
                      <a:r>
                        <a:rPr lang="en-US" sz="1100" noProof="0">
                          <a:effectLst/>
                        </a:rPr>
                        <a:t>300k mi</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w="3175" cap="flat" cmpd="sng" algn="ctr">
                      <a:solidFill>
                        <a:srgbClr val="A9A8A6"/>
                      </a:solidFill>
                      <a:prstDash val="solid"/>
                      <a:round/>
                      <a:headEnd type="none" w="med" len="med"/>
                      <a:tailEnd type="none" w="med" len="med"/>
                    </a:lnL>
                    <a:lnR>
                      <a:noFill/>
                    </a:ln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rtl="0" fontAlgn="ctr">
                        <a:spcBef>
                          <a:spcPts val="0"/>
                        </a:spcBef>
                        <a:spcAft>
                          <a:spcPts val="0"/>
                        </a:spcAft>
                      </a:pPr>
                      <a:endParaRPr lang="en-US" sz="900">
                        <a:effectLst/>
                        <a:latin typeface="Aptos" panose="020B0004020202020204" pitchFamily="34" charset="0"/>
                        <a:cs typeface="Arial" panose="020B0604020202020204" pitchFamily="34" charset="0"/>
                      </a:endParaRPr>
                    </a:p>
                  </a:txBody>
                  <a:tcPr marL="52743" marR="52743" marT="26372" marB="26372"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5686"/>
                      </a:srgbClr>
                    </a:solidFill>
                  </a:tcPr>
                </a:tc>
                <a:extLst>
                  <a:ext uri="{0D108BD9-81ED-4DB2-BD59-A6C34878D82A}">
                    <a16:rowId xmlns:a16="http://schemas.microsoft.com/office/drawing/2014/main" val="2496193975"/>
                  </a:ext>
                </a:extLst>
              </a:tr>
              <a:tr h="217634">
                <a:tc>
                  <a:txBody>
                    <a:bodyPr/>
                    <a:lstStyle/>
                    <a:p>
                      <a:pPr algn="ctr" rtl="0" fontAlgn="ctr">
                        <a:spcBef>
                          <a:spcPts val="0"/>
                        </a:spcBef>
                        <a:spcAft>
                          <a:spcPts val="0"/>
                        </a:spcAft>
                      </a:pPr>
                      <a:r>
                        <a:rPr lang="en-US" sz="1100" b="0" u="none" strike="noStrike" noProof="0">
                          <a:solidFill>
                            <a:srgbClr val="000000"/>
                          </a:solidFill>
                          <a:effectLst/>
                        </a:rPr>
                        <a:t>DPF clean</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a:noFill/>
                    </a:lnL>
                    <a:lnR w="3175" cap="flat" cmpd="sng" algn="ctr">
                      <a:solidFill>
                        <a:srgbClr val="A9A8A6"/>
                      </a:solidFill>
                      <a:prstDash val="solid"/>
                      <a:round/>
                      <a:headEnd type="none" w="med" len="med"/>
                      <a:tailEnd type="none" w="med" len="med"/>
                    </a:ln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spcBef>
                          <a:spcPts val="0"/>
                        </a:spcBef>
                        <a:spcAft>
                          <a:spcPts val="0"/>
                        </a:spcAft>
                      </a:pPr>
                      <a:r>
                        <a:rPr lang="en-US" sz="1100" noProof="0">
                          <a:effectLst/>
                        </a:rPr>
                        <a:t>225k mi</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w="3175" cap="flat" cmpd="sng" algn="ctr">
                      <a:solidFill>
                        <a:srgbClr val="A9A8A6"/>
                      </a:solidFill>
                      <a:prstDash val="solid"/>
                      <a:round/>
                      <a:headEnd type="none" w="med" len="med"/>
                      <a:tailEnd type="none" w="med" len="med"/>
                    </a:lnL>
                    <a:lnR w="3175" cap="flat" cmpd="sng" algn="ctr">
                      <a:solidFill>
                        <a:srgbClr val="A9A8A6"/>
                      </a:solidFill>
                      <a:prstDash val="solid"/>
                      <a:round/>
                      <a:headEnd type="none" w="med" len="med"/>
                      <a:tailEnd type="none" w="med" len="med"/>
                    </a:ln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spcBef>
                          <a:spcPts val="0"/>
                        </a:spcBef>
                        <a:spcAft>
                          <a:spcPts val="0"/>
                        </a:spcAft>
                      </a:pPr>
                      <a:r>
                        <a:rPr lang="en-US" sz="1100" noProof="0">
                          <a:effectLst/>
                        </a:rPr>
                        <a:t>Up to 800k mi</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w="3175" cap="flat" cmpd="sng" algn="ctr">
                      <a:solidFill>
                        <a:srgbClr val="A9A8A6"/>
                      </a:solidFill>
                      <a:prstDash val="solid"/>
                      <a:round/>
                      <a:headEnd type="none" w="med" len="med"/>
                      <a:tailEnd type="none" w="med" len="med"/>
                    </a:lnL>
                    <a:lnR>
                      <a:noFill/>
                    </a:ln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473948"/>
                  </a:ext>
                </a:extLst>
              </a:tr>
              <a:tr h="217634">
                <a:tc>
                  <a:txBody>
                    <a:bodyPr/>
                    <a:lstStyle/>
                    <a:p>
                      <a:pPr algn="ctr" rtl="0" fontAlgn="ctr">
                        <a:spcBef>
                          <a:spcPts val="0"/>
                        </a:spcBef>
                        <a:spcAft>
                          <a:spcPts val="0"/>
                        </a:spcAft>
                      </a:pPr>
                      <a:r>
                        <a:rPr lang="en-US" sz="1100" b="0" u="none" strike="noStrike" noProof="0">
                          <a:solidFill>
                            <a:srgbClr val="000000"/>
                          </a:solidFill>
                          <a:effectLst/>
                        </a:rPr>
                        <a:t>DEF filter</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a:noFill/>
                    </a:lnL>
                    <a:lnR w="3175" cap="flat" cmpd="sng" algn="ctr">
                      <a:solidFill>
                        <a:srgbClr val="A9A8A6"/>
                      </a:solidFill>
                      <a:prstDash val="solid"/>
                      <a:round/>
                      <a:headEnd type="none" w="med" len="med"/>
                      <a:tailEnd type="none" w="med" len="med"/>
                    </a:ln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rtl="0" fontAlgn="ctr">
                        <a:spcBef>
                          <a:spcPts val="0"/>
                        </a:spcBef>
                        <a:spcAft>
                          <a:spcPts val="0"/>
                        </a:spcAft>
                      </a:pPr>
                      <a:r>
                        <a:rPr lang="en-US" sz="1100" noProof="0">
                          <a:effectLst/>
                        </a:rPr>
                        <a:t>300k mi</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w="3175" cap="flat" cmpd="sng" algn="ctr">
                      <a:solidFill>
                        <a:srgbClr val="A9A8A6"/>
                      </a:solidFill>
                      <a:prstDash val="solid"/>
                      <a:round/>
                      <a:headEnd type="none" w="med" len="med"/>
                      <a:tailEnd type="none" w="med" len="med"/>
                    </a:lnL>
                    <a:lnR>
                      <a:noFill/>
                    </a:ln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52743" marR="52743" marT="26372" marB="26372"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5686"/>
                      </a:srgbClr>
                    </a:solidFill>
                  </a:tcPr>
                </a:tc>
                <a:extLst>
                  <a:ext uri="{0D108BD9-81ED-4DB2-BD59-A6C34878D82A}">
                    <a16:rowId xmlns:a16="http://schemas.microsoft.com/office/drawing/2014/main" val="2003982871"/>
                  </a:ext>
                </a:extLst>
              </a:tr>
              <a:tr h="217634">
                <a:tc>
                  <a:txBody>
                    <a:bodyPr/>
                    <a:lstStyle/>
                    <a:p>
                      <a:pPr algn="ctr" rtl="0" fontAlgn="ctr">
                        <a:spcBef>
                          <a:spcPts val="0"/>
                        </a:spcBef>
                        <a:spcAft>
                          <a:spcPts val="0"/>
                        </a:spcAft>
                      </a:pPr>
                      <a:r>
                        <a:rPr lang="en-US" sz="1100" b="0" noProof="0">
                          <a:effectLst/>
                        </a:rPr>
                        <a:t>Base warranty</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a:noFill/>
                    </a:lnL>
                    <a:lnR w="3175" cap="flat" cmpd="sng" algn="ctr">
                      <a:solidFill>
                        <a:srgbClr val="A9A8A6"/>
                      </a:solidFill>
                      <a:prstDash val="solid"/>
                      <a:round/>
                      <a:headEnd type="none" w="med" len="med"/>
                      <a:tailEnd type="none" w="med" len="med"/>
                    </a:ln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rtl="0" fontAlgn="ctr">
                        <a:spcBef>
                          <a:spcPts val="0"/>
                        </a:spcBef>
                        <a:spcAft>
                          <a:spcPts val="0"/>
                        </a:spcAft>
                      </a:pPr>
                      <a:r>
                        <a:rPr lang="en-US" sz="1100" noProof="0">
                          <a:effectLst/>
                        </a:rPr>
                        <a:t>2 yr / 250k mi</a:t>
                      </a:r>
                      <a:endParaRPr lang="en-US" sz="1100" b="0" i="0" noProof="0">
                        <a:effectLst/>
                        <a:latin typeface="Aptos" panose="020B0004020202020204" pitchFamily="34" charset="0"/>
                        <a:cs typeface="Arial" panose="020B0604020202020204" pitchFamily="34" charset="0"/>
                      </a:endParaRPr>
                    </a:p>
                  </a:txBody>
                  <a:tcPr marL="52743" marR="52743" marT="26372" marB="26372" anchor="ctr">
                    <a:lnL w="3175" cap="flat" cmpd="sng" algn="ctr">
                      <a:solidFill>
                        <a:srgbClr val="A9A8A6"/>
                      </a:solidFill>
                      <a:prstDash val="solid"/>
                      <a:round/>
                      <a:headEnd type="none" w="med" len="med"/>
                      <a:tailEnd type="none" w="med" len="med"/>
                    </a:lnL>
                    <a:lnR>
                      <a:noFill/>
                    </a:ln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52743" marR="52743" marT="26372" marB="26372"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2F2F2">
                        <a:alpha val="55686"/>
                      </a:srgbClr>
                    </a:solidFill>
                  </a:tcPr>
                </a:tc>
                <a:extLst>
                  <a:ext uri="{0D108BD9-81ED-4DB2-BD59-A6C34878D82A}">
                    <a16:rowId xmlns:a16="http://schemas.microsoft.com/office/drawing/2014/main" val="3065924489"/>
                  </a:ext>
                </a:extLst>
              </a:tr>
            </a:tbl>
          </a:graphicData>
        </a:graphic>
      </p:graphicFrame>
      <p:sp>
        <p:nvSpPr>
          <p:cNvPr id="140" name="TextBox 1">
            <a:extLst>
              <a:ext uri="{FF2B5EF4-FFF2-40B4-BE49-F238E27FC236}">
                <a16:creationId xmlns:a16="http://schemas.microsoft.com/office/drawing/2014/main" id="{4975D5B0-2E85-8335-E219-4188434A45A1}"/>
              </a:ext>
            </a:extLst>
          </p:cNvPr>
          <p:cNvSpPr txBox="1"/>
          <p:nvPr/>
        </p:nvSpPr>
        <p:spPr>
          <a:xfrm>
            <a:off x="9541120" y="5662203"/>
            <a:ext cx="25365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atest Update: </a:t>
            </a:r>
            <a:r>
              <a:rPr kumimoji="0" lang="en-US" sz="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January 31, 2025</a:t>
            </a:r>
          </a:p>
        </p:txBody>
      </p:sp>
      <p:sp>
        <p:nvSpPr>
          <p:cNvPr id="141" name="TextBox 7">
            <a:extLst>
              <a:ext uri="{FF2B5EF4-FFF2-40B4-BE49-F238E27FC236}">
                <a16:creationId xmlns:a16="http://schemas.microsoft.com/office/drawing/2014/main" id="{871DD42E-8903-9F81-2807-E36E25BD3BC8}"/>
              </a:ext>
            </a:extLst>
          </p:cNvPr>
          <p:cNvSpPr txBox="1"/>
          <p:nvPr/>
        </p:nvSpPr>
        <p:spPr>
          <a:xfrm>
            <a:off x="4885008" y="5952596"/>
            <a:ext cx="69456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a:t>
            </a:r>
            <a:r>
              <a:rPr kumimoji="0" lang="en-US" sz="800" b="0" i="0" u="none" strike="noStrike" kern="1200" cap="none" spc="0" normalizeH="0" baseline="0" noProof="0" err="1">
                <a:ln>
                  <a:noFill/>
                </a:ln>
                <a:solidFill>
                  <a:prstClr val="white">
                    <a:lumMod val="65000"/>
                  </a:prstClr>
                </a:solidFill>
                <a:effectLst/>
                <a:uLnTx/>
                <a:uFillTx/>
                <a:latin typeface="Aptos" panose="020B0004020202020204" pitchFamily="34" charset="0"/>
                <a:ea typeface="+mn-ea"/>
                <a:cs typeface="+mn-cs"/>
              </a:rPr>
              <a:t>Quickserve</a:t>
            </a: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 should be used for official maintenance schedule by ESN.      **Very dependent on oil pan size selected this is high capacity shown</a:t>
            </a:r>
          </a:p>
        </p:txBody>
      </p:sp>
      <p:sp>
        <p:nvSpPr>
          <p:cNvPr id="142" name="TextBox 137">
            <a:extLst>
              <a:ext uri="{FF2B5EF4-FFF2-40B4-BE49-F238E27FC236}">
                <a16:creationId xmlns:a16="http://schemas.microsoft.com/office/drawing/2014/main" id="{677FDD2F-1C76-6693-2A9B-68402971E875}"/>
              </a:ext>
            </a:extLst>
          </p:cNvPr>
          <p:cNvSpPr txBox="1"/>
          <p:nvPr/>
        </p:nvSpPr>
        <p:spPr>
          <a:xfrm>
            <a:off x="5708119" y="1864221"/>
            <a:ext cx="4970365" cy="1131079"/>
          </a:xfrm>
          <a:prstGeom prst="rect">
            <a:avLst/>
          </a:prstGeom>
          <a:noFill/>
        </p:spPr>
        <p:txBody>
          <a:bodyPr wrap="square" lIns="0" tIns="0" rIns="0" bIns="0" rtlCol="0" anchor="t">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livers up to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1650 lb-ft of torque </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with increased ratings over the L9 and similar ratings to the X12</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Provides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enhanced REPTO/FEPTO </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capabilities</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Features a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wet-sleeve design</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 continuing the reliability legacy of Cummins based on extensive experience with the X15</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signed with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braking capabilities up to 475 HP </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and will also have the option to equip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Cummins-owned Jacobs Engine Brakes  </a:t>
            </a:r>
          </a:p>
        </p:txBody>
      </p:sp>
      <p:grpSp>
        <p:nvGrpSpPr>
          <p:cNvPr id="143" name="Group 493">
            <a:extLst>
              <a:ext uri="{FF2B5EF4-FFF2-40B4-BE49-F238E27FC236}">
                <a16:creationId xmlns:a16="http://schemas.microsoft.com/office/drawing/2014/main" id="{CFD3FA30-9DB3-BAA3-2910-EE6685C314D6}"/>
              </a:ext>
            </a:extLst>
          </p:cNvPr>
          <p:cNvGrpSpPr/>
          <p:nvPr/>
        </p:nvGrpSpPr>
        <p:grpSpPr>
          <a:xfrm>
            <a:off x="8963942" y="3250788"/>
            <a:ext cx="2729468" cy="770439"/>
            <a:chOff x="8629830" y="3957185"/>
            <a:chExt cx="2729468" cy="770439"/>
          </a:xfrm>
        </p:grpSpPr>
        <p:sp>
          <p:nvSpPr>
            <p:cNvPr id="144" name="TextBox 496">
              <a:extLst>
                <a:ext uri="{FF2B5EF4-FFF2-40B4-BE49-F238E27FC236}">
                  <a16:creationId xmlns:a16="http://schemas.microsoft.com/office/drawing/2014/main" id="{05BA61D1-D54B-E6D9-FA46-CEB38A4096C1}"/>
                </a:ext>
              </a:extLst>
            </p:cNvPr>
            <p:cNvSpPr txBox="1"/>
            <p:nvPr/>
          </p:nvSpPr>
          <p:spPr>
            <a:xfrm>
              <a:off x="8629830" y="3957185"/>
              <a:ext cx="86389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Value Package</a:t>
              </a:r>
            </a:p>
          </p:txBody>
        </p:sp>
        <p:sp>
          <p:nvSpPr>
            <p:cNvPr id="145" name="TextBox 497">
              <a:extLst>
                <a:ext uri="{FF2B5EF4-FFF2-40B4-BE49-F238E27FC236}">
                  <a16:creationId xmlns:a16="http://schemas.microsoft.com/office/drawing/2014/main" id="{7C2FD2C9-1FF5-48CE-C09B-0041939F60D3}"/>
                </a:ext>
              </a:extLst>
            </p:cNvPr>
            <p:cNvSpPr txBox="1"/>
            <p:nvPr/>
          </p:nvSpPr>
          <p:spPr>
            <a:xfrm>
              <a:off x="9339587" y="3958183"/>
              <a:ext cx="2019711" cy="769441"/>
            </a:xfrm>
            <a:prstGeom prst="rect">
              <a:avLst/>
            </a:prstGeom>
            <a:noFill/>
          </p:spPr>
          <p:txBody>
            <a:bodyPr wrap="square" rtlCol="0">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Reliabilit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Durabilit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Increased power</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Harsh duty cycles</a:t>
              </a:r>
            </a:p>
          </p:txBody>
        </p:sp>
      </p:grpSp>
      <p:grpSp>
        <p:nvGrpSpPr>
          <p:cNvPr id="146" name="Group 504">
            <a:extLst>
              <a:ext uri="{FF2B5EF4-FFF2-40B4-BE49-F238E27FC236}">
                <a16:creationId xmlns:a16="http://schemas.microsoft.com/office/drawing/2014/main" id="{464B0646-1C8D-FC81-8C1B-7F2F6B7D4910}"/>
              </a:ext>
            </a:extLst>
          </p:cNvPr>
          <p:cNvGrpSpPr/>
          <p:nvPr/>
        </p:nvGrpSpPr>
        <p:grpSpPr>
          <a:xfrm>
            <a:off x="6614438" y="3270547"/>
            <a:ext cx="1971280" cy="752497"/>
            <a:chOff x="6589895" y="4055718"/>
            <a:chExt cx="1971280" cy="752497"/>
          </a:xfrm>
        </p:grpSpPr>
        <p:sp>
          <p:nvSpPr>
            <p:cNvPr id="147" name="TextBox 507">
              <a:extLst>
                <a:ext uri="{FF2B5EF4-FFF2-40B4-BE49-F238E27FC236}">
                  <a16:creationId xmlns:a16="http://schemas.microsoft.com/office/drawing/2014/main" id="{56723E02-D95C-8757-0B20-59E7E3642991}"/>
                </a:ext>
              </a:extLst>
            </p:cNvPr>
            <p:cNvSpPr txBox="1"/>
            <p:nvPr/>
          </p:nvSpPr>
          <p:spPr>
            <a:xfrm>
              <a:off x="6589895" y="4546605"/>
              <a:ext cx="8902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Vocational</a:t>
              </a:r>
            </a:p>
          </p:txBody>
        </p:sp>
        <p:sp>
          <p:nvSpPr>
            <p:cNvPr id="148" name="TextBox 510">
              <a:extLst>
                <a:ext uri="{FF2B5EF4-FFF2-40B4-BE49-F238E27FC236}">
                  <a16:creationId xmlns:a16="http://schemas.microsoft.com/office/drawing/2014/main" id="{EAA2050C-04B6-A28E-FB17-C4D0990CD9D1}"/>
                </a:ext>
              </a:extLst>
            </p:cNvPr>
            <p:cNvSpPr txBox="1"/>
            <p:nvPr/>
          </p:nvSpPr>
          <p:spPr>
            <a:xfrm>
              <a:off x="7518016" y="4546605"/>
              <a:ext cx="104315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Body builder</a:t>
              </a:r>
            </a:p>
          </p:txBody>
        </p:sp>
        <p:grpSp>
          <p:nvGrpSpPr>
            <p:cNvPr id="149" name="Group 388">
              <a:extLst>
                <a:ext uri="{FF2B5EF4-FFF2-40B4-BE49-F238E27FC236}">
                  <a16:creationId xmlns:a16="http://schemas.microsoft.com/office/drawing/2014/main" id="{F4C89A7B-91AF-82D2-9241-056DA2C37F26}"/>
                </a:ext>
              </a:extLst>
            </p:cNvPr>
            <p:cNvGrpSpPr>
              <a:grpSpLocks noChangeAspect="1"/>
            </p:cNvGrpSpPr>
            <p:nvPr/>
          </p:nvGrpSpPr>
          <p:grpSpPr>
            <a:xfrm>
              <a:off x="7639274" y="4055718"/>
              <a:ext cx="738390" cy="472453"/>
              <a:chOff x="5907247" y="5453970"/>
              <a:chExt cx="1203325" cy="769938"/>
            </a:xfrm>
          </p:grpSpPr>
          <p:sp>
            <p:nvSpPr>
              <p:cNvPr id="200" name="Freeform 1777">
                <a:extLst>
                  <a:ext uri="{FF2B5EF4-FFF2-40B4-BE49-F238E27FC236}">
                    <a16:creationId xmlns:a16="http://schemas.microsoft.com/office/drawing/2014/main" id="{364FBE66-7963-0D42-A99D-AFDD7F2C5744}"/>
                  </a:ext>
                </a:extLst>
              </p:cNvPr>
              <p:cNvSpPr>
                <a:spLocks/>
              </p:cNvSpPr>
              <p:nvPr/>
            </p:nvSpPr>
            <p:spPr bwMode="auto">
              <a:xfrm>
                <a:off x="5907247" y="5504770"/>
                <a:ext cx="185738" cy="200025"/>
              </a:xfrm>
              <a:custGeom>
                <a:avLst/>
                <a:gdLst>
                  <a:gd name="T0" fmla="*/ 117 w 117"/>
                  <a:gd name="T1" fmla="*/ 51 h 126"/>
                  <a:gd name="T2" fmla="*/ 0 w 117"/>
                  <a:gd name="T3" fmla="*/ 0 h 126"/>
                  <a:gd name="T4" fmla="*/ 0 w 117"/>
                  <a:gd name="T5" fmla="*/ 126 h 126"/>
                </a:gdLst>
                <a:ahLst/>
                <a:cxnLst>
                  <a:cxn ang="0">
                    <a:pos x="T0" y="T1"/>
                  </a:cxn>
                  <a:cxn ang="0">
                    <a:pos x="T2" y="T3"/>
                  </a:cxn>
                  <a:cxn ang="0">
                    <a:pos x="T4" y="T5"/>
                  </a:cxn>
                </a:cxnLst>
                <a:rect l="0" t="0" r="r" b="b"/>
                <a:pathLst>
                  <a:path w="117" h="126">
                    <a:moveTo>
                      <a:pt x="117" y="51"/>
                    </a:moveTo>
                    <a:lnTo>
                      <a:pt x="0" y="0"/>
                    </a:lnTo>
                    <a:lnTo>
                      <a:pt x="0" y="126"/>
                    </a:lnTo>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01" name="Freeform 1778">
                <a:extLst>
                  <a:ext uri="{FF2B5EF4-FFF2-40B4-BE49-F238E27FC236}">
                    <a16:creationId xmlns:a16="http://schemas.microsoft.com/office/drawing/2014/main" id="{7B8253B8-3ADC-C2CE-8D1A-EBB5030FE335}"/>
                  </a:ext>
                </a:extLst>
              </p:cNvPr>
              <p:cNvSpPr>
                <a:spLocks/>
              </p:cNvSpPr>
              <p:nvPr/>
            </p:nvSpPr>
            <p:spPr bwMode="auto">
              <a:xfrm>
                <a:off x="5907247" y="5634945"/>
                <a:ext cx="196850" cy="331788"/>
              </a:xfrm>
              <a:custGeom>
                <a:avLst/>
                <a:gdLst>
                  <a:gd name="T0" fmla="*/ 124 w 124"/>
                  <a:gd name="T1" fmla="*/ 149 h 209"/>
                  <a:gd name="T2" fmla="*/ 124 w 124"/>
                  <a:gd name="T3" fmla="*/ 209 h 209"/>
                  <a:gd name="T4" fmla="*/ 0 w 124"/>
                  <a:gd name="T5" fmla="*/ 209 h 209"/>
                  <a:gd name="T6" fmla="*/ 0 w 124"/>
                  <a:gd name="T7" fmla="*/ 0 h 209"/>
                  <a:gd name="T8" fmla="*/ 124 w 124"/>
                  <a:gd name="T9" fmla="*/ 149 h 209"/>
                </a:gdLst>
                <a:ahLst/>
                <a:cxnLst>
                  <a:cxn ang="0">
                    <a:pos x="T0" y="T1"/>
                  </a:cxn>
                  <a:cxn ang="0">
                    <a:pos x="T2" y="T3"/>
                  </a:cxn>
                  <a:cxn ang="0">
                    <a:pos x="T4" y="T5"/>
                  </a:cxn>
                  <a:cxn ang="0">
                    <a:pos x="T6" y="T7"/>
                  </a:cxn>
                  <a:cxn ang="0">
                    <a:pos x="T8" y="T9"/>
                  </a:cxn>
                </a:cxnLst>
                <a:rect l="0" t="0" r="r" b="b"/>
                <a:pathLst>
                  <a:path w="124" h="209">
                    <a:moveTo>
                      <a:pt x="124" y="149"/>
                    </a:moveTo>
                    <a:lnTo>
                      <a:pt x="124" y="209"/>
                    </a:lnTo>
                    <a:lnTo>
                      <a:pt x="0" y="209"/>
                    </a:lnTo>
                    <a:lnTo>
                      <a:pt x="0" y="0"/>
                    </a:lnTo>
                    <a:lnTo>
                      <a:pt x="124" y="149"/>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02" name="Freeform 1779">
                <a:extLst>
                  <a:ext uri="{FF2B5EF4-FFF2-40B4-BE49-F238E27FC236}">
                    <a16:creationId xmlns:a16="http://schemas.microsoft.com/office/drawing/2014/main" id="{D49D2891-D7C7-3715-20A8-654AA777E689}"/>
                  </a:ext>
                </a:extLst>
              </p:cNvPr>
              <p:cNvSpPr>
                <a:spLocks/>
              </p:cNvSpPr>
              <p:nvPr/>
            </p:nvSpPr>
            <p:spPr bwMode="auto">
              <a:xfrm>
                <a:off x="5907247" y="5634945"/>
                <a:ext cx="196850" cy="331788"/>
              </a:xfrm>
              <a:custGeom>
                <a:avLst/>
                <a:gdLst>
                  <a:gd name="T0" fmla="*/ 124 w 124"/>
                  <a:gd name="T1" fmla="*/ 149 h 209"/>
                  <a:gd name="T2" fmla="*/ 124 w 124"/>
                  <a:gd name="T3" fmla="*/ 209 h 209"/>
                  <a:gd name="T4" fmla="*/ 0 w 124"/>
                  <a:gd name="T5" fmla="*/ 209 h 209"/>
                  <a:gd name="T6" fmla="*/ 0 w 124"/>
                  <a:gd name="T7" fmla="*/ 0 h 209"/>
                </a:gdLst>
                <a:ahLst/>
                <a:cxnLst>
                  <a:cxn ang="0">
                    <a:pos x="T0" y="T1"/>
                  </a:cxn>
                  <a:cxn ang="0">
                    <a:pos x="T2" y="T3"/>
                  </a:cxn>
                  <a:cxn ang="0">
                    <a:pos x="T4" y="T5"/>
                  </a:cxn>
                  <a:cxn ang="0">
                    <a:pos x="T6" y="T7"/>
                  </a:cxn>
                </a:cxnLst>
                <a:rect l="0" t="0" r="r" b="b"/>
                <a:pathLst>
                  <a:path w="124" h="209">
                    <a:moveTo>
                      <a:pt x="124" y="149"/>
                    </a:moveTo>
                    <a:lnTo>
                      <a:pt x="124" y="209"/>
                    </a:lnTo>
                    <a:lnTo>
                      <a:pt x="0" y="209"/>
                    </a:lnTo>
                    <a:lnTo>
                      <a:pt x="0" y="0"/>
                    </a:lnTo>
                  </a:path>
                </a:pathLst>
              </a:custGeom>
              <a:noFill/>
              <a:ln w="12700"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03" name="Freeform 1780">
                <a:extLst>
                  <a:ext uri="{FF2B5EF4-FFF2-40B4-BE49-F238E27FC236}">
                    <a16:creationId xmlns:a16="http://schemas.microsoft.com/office/drawing/2014/main" id="{CA6FD94F-A7C0-CD3D-CE3F-D296EDFE619C}"/>
                  </a:ext>
                </a:extLst>
              </p:cNvPr>
              <p:cNvSpPr>
                <a:spLocks/>
              </p:cNvSpPr>
              <p:nvPr/>
            </p:nvSpPr>
            <p:spPr bwMode="auto">
              <a:xfrm>
                <a:off x="5907247" y="5634945"/>
                <a:ext cx="196850" cy="331788"/>
              </a:xfrm>
              <a:custGeom>
                <a:avLst/>
                <a:gdLst>
                  <a:gd name="T0" fmla="*/ 0 w 124"/>
                  <a:gd name="T1" fmla="*/ 209 h 209"/>
                  <a:gd name="T2" fmla="*/ 0 w 124"/>
                  <a:gd name="T3" fmla="*/ 0 h 209"/>
                  <a:gd name="T4" fmla="*/ 124 w 124"/>
                  <a:gd name="T5" fmla="*/ 149 h 209"/>
                  <a:gd name="T6" fmla="*/ 124 w 124"/>
                  <a:gd name="T7" fmla="*/ 209 h 209"/>
                  <a:gd name="T8" fmla="*/ 0 w 124"/>
                  <a:gd name="T9" fmla="*/ 209 h 209"/>
                </a:gdLst>
                <a:ahLst/>
                <a:cxnLst>
                  <a:cxn ang="0">
                    <a:pos x="T0" y="T1"/>
                  </a:cxn>
                  <a:cxn ang="0">
                    <a:pos x="T2" y="T3"/>
                  </a:cxn>
                  <a:cxn ang="0">
                    <a:pos x="T4" y="T5"/>
                  </a:cxn>
                  <a:cxn ang="0">
                    <a:pos x="T6" y="T7"/>
                  </a:cxn>
                  <a:cxn ang="0">
                    <a:pos x="T8" y="T9"/>
                  </a:cxn>
                </a:cxnLst>
                <a:rect l="0" t="0" r="r" b="b"/>
                <a:pathLst>
                  <a:path w="124" h="209">
                    <a:moveTo>
                      <a:pt x="0" y="209"/>
                    </a:moveTo>
                    <a:lnTo>
                      <a:pt x="0" y="0"/>
                    </a:lnTo>
                    <a:lnTo>
                      <a:pt x="124" y="149"/>
                    </a:lnTo>
                    <a:lnTo>
                      <a:pt x="124" y="209"/>
                    </a:lnTo>
                    <a:lnTo>
                      <a:pt x="0" y="209"/>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04" name="Freeform 1781">
                <a:extLst>
                  <a:ext uri="{FF2B5EF4-FFF2-40B4-BE49-F238E27FC236}">
                    <a16:creationId xmlns:a16="http://schemas.microsoft.com/office/drawing/2014/main" id="{980D5343-C1DA-ECB7-F949-6F0CCE753875}"/>
                  </a:ext>
                </a:extLst>
              </p:cNvPr>
              <p:cNvSpPr>
                <a:spLocks/>
              </p:cNvSpPr>
              <p:nvPr/>
            </p:nvSpPr>
            <p:spPr bwMode="auto">
              <a:xfrm>
                <a:off x="6593047" y="5757183"/>
                <a:ext cx="144463" cy="330200"/>
              </a:xfrm>
              <a:custGeom>
                <a:avLst/>
                <a:gdLst>
                  <a:gd name="T0" fmla="*/ 31 w 91"/>
                  <a:gd name="T1" fmla="*/ 0 h 208"/>
                  <a:gd name="T2" fmla="*/ 91 w 91"/>
                  <a:gd name="T3" fmla="*/ 0 h 208"/>
                  <a:gd name="T4" fmla="*/ 91 w 91"/>
                  <a:gd name="T5" fmla="*/ 208 h 208"/>
                  <a:gd name="T6" fmla="*/ 20 w 91"/>
                  <a:gd name="T7" fmla="*/ 208 h 208"/>
                  <a:gd name="T8" fmla="*/ 20 w 91"/>
                  <a:gd name="T9" fmla="*/ 123 h 208"/>
                  <a:gd name="T10" fmla="*/ 0 w 91"/>
                  <a:gd name="T11" fmla="*/ 74 h 208"/>
                  <a:gd name="T12" fmla="*/ 29 w 91"/>
                  <a:gd name="T13" fmla="*/ 0 h 208"/>
                  <a:gd name="T14" fmla="*/ 31 w 91"/>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208">
                    <a:moveTo>
                      <a:pt x="31" y="0"/>
                    </a:moveTo>
                    <a:lnTo>
                      <a:pt x="91" y="0"/>
                    </a:lnTo>
                    <a:lnTo>
                      <a:pt x="91" y="208"/>
                    </a:lnTo>
                    <a:lnTo>
                      <a:pt x="20" y="208"/>
                    </a:lnTo>
                    <a:lnTo>
                      <a:pt x="20" y="123"/>
                    </a:lnTo>
                    <a:lnTo>
                      <a:pt x="0" y="74"/>
                    </a:lnTo>
                    <a:lnTo>
                      <a:pt x="29" y="0"/>
                    </a:lnTo>
                    <a:lnTo>
                      <a:pt x="31"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05" name="Freeform 1782">
                <a:extLst>
                  <a:ext uri="{FF2B5EF4-FFF2-40B4-BE49-F238E27FC236}">
                    <a16:creationId xmlns:a16="http://schemas.microsoft.com/office/drawing/2014/main" id="{5C2A8D92-82DD-8412-5C75-24563118AB10}"/>
                  </a:ext>
                </a:extLst>
              </p:cNvPr>
              <p:cNvSpPr>
                <a:spLocks/>
              </p:cNvSpPr>
              <p:nvPr/>
            </p:nvSpPr>
            <p:spPr bwMode="auto">
              <a:xfrm>
                <a:off x="6593047" y="5757183"/>
                <a:ext cx="144463" cy="330200"/>
              </a:xfrm>
              <a:custGeom>
                <a:avLst/>
                <a:gdLst>
                  <a:gd name="T0" fmla="*/ 31 w 91"/>
                  <a:gd name="T1" fmla="*/ 0 h 208"/>
                  <a:gd name="T2" fmla="*/ 91 w 91"/>
                  <a:gd name="T3" fmla="*/ 0 h 208"/>
                  <a:gd name="T4" fmla="*/ 91 w 91"/>
                  <a:gd name="T5" fmla="*/ 208 h 208"/>
                  <a:gd name="T6" fmla="*/ 20 w 91"/>
                  <a:gd name="T7" fmla="*/ 208 h 208"/>
                  <a:gd name="T8" fmla="*/ 20 w 91"/>
                  <a:gd name="T9" fmla="*/ 123 h 208"/>
                  <a:gd name="T10" fmla="*/ 0 w 91"/>
                  <a:gd name="T11" fmla="*/ 74 h 208"/>
                  <a:gd name="T12" fmla="*/ 29 w 91"/>
                  <a:gd name="T13" fmla="*/ 0 h 208"/>
                  <a:gd name="T14" fmla="*/ 31 w 91"/>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208">
                    <a:moveTo>
                      <a:pt x="31" y="0"/>
                    </a:moveTo>
                    <a:lnTo>
                      <a:pt x="91" y="0"/>
                    </a:lnTo>
                    <a:lnTo>
                      <a:pt x="91" y="208"/>
                    </a:lnTo>
                    <a:lnTo>
                      <a:pt x="20" y="208"/>
                    </a:lnTo>
                    <a:lnTo>
                      <a:pt x="20" y="123"/>
                    </a:lnTo>
                    <a:lnTo>
                      <a:pt x="0" y="74"/>
                    </a:lnTo>
                    <a:lnTo>
                      <a:pt x="29" y="0"/>
                    </a:lnTo>
                    <a:lnTo>
                      <a:pt x="31"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06" name="Rectangle 1783">
                <a:extLst>
                  <a:ext uri="{FF2B5EF4-FFF2-40B4-BE49-F238E27FC236}">
                    <a16:creationId xmlns:a16="http://schemas.microsoft.com/office/drawing/2014/main" id="{B1726BB5-EE2D-400E-063B-D4F73D5EE653}"/>
                  </a:ext>
                </a:extLst>
              </p:cNvPr>
              <p:cNvSpPr>
                <a:spLocks noChangeArrowheads="1"/>
              </p:cNvSpPr>
              <p:nvPr/>
            </p:nvSpPr>
            <p:spPr bwMode="auto">
              <a:xfrm>
                <a:off x="5907247" y="5958795"/>
                <a:ext cx="717550" cy="173038"/>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07" name="Rectangle 1784">
                <a:extLst>
                  <a:ext uri="{FF2B5EF4-FFF2-40B4-BE49-F238E27FC236}">
                    <a16:creationId xmlns:a16="http://schemas.microsoft.com/office/drawing/2014/main" id="{039227BD-D1A5-62A0-8E67-E15D1837D184}"/>
                  </a:ext>
                </a:extLst>
              </p:cNvPr>
              <p:cNvSpPr>
                <a:spLocks noChangeArrowheads="1"/>
              </p:cNvSpPr>
              <p:nvPr/>
            </p:nvSpPr>
            <p:spPr bwMode="auto">
              <a:xfrm>
                <a:off x="5907247" y="5958795"/>
                <a:ext cx="717550" cy="173038"/>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08" name="Rectangle 1785">
                <a:extLst>
                  <a:ext uri="{FF2B5EF4-FFF2-40B4-BE49-F238E27FC236}">
                    <a16:creationId xmlns:a16="http://schemas.microsoft.com/office/drawing/2014/main" id="{956B8FC8-3779-08D8-FA36-BAE4F123FD3F}"/>
                  </a:ext>
                </a:extLst>
              </p:cNvPr>
              <p:cNvSpPr>
                <a:spLocks noChangeArrowheads="1"/>
              </p:cNvSpPr>
              <p:nvPr/>
            </p:nvSpPr>
            <p:spPr bwMode="auto">
              <a:xfrm>
                <a:off x="5907247" y="6087383"/>
                <a:ext cx="1203325" cy="44450"/>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09" name="Rectangle 1786">
                <a:extLst>
                  <a:ext uri="{FF2B5EF4-FFF2-40B4-BE49-F238E27FC236}">
                    <a16:creationId xmlns:a16="http://schemas.microsoft.com/office/drawing/2014/main" id="{1BC16F3B-22FA-5465-7387-8DDC5462F453}"/>
                  </a:ext>
                </a:extLst>
              </p:cNvPr>
              <p:cNvSpPr>
                <a:spLocks noChangeArrowheads="1"/>
              </p:cNvSpPr>
              <p:nvPr/>
            </p:nvSpPr>
            <p:spPr bwMode="auto">
              <a:xfrm>
                <a:off x="5907247" y="6087383"/>
                <a:ext cx="1203325" cy="44450"/>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0" name="Freeform 1787">
                <a:extLst>
                  <a:ext uri="{FF2B5EF4-FFF2-40B4-BE49-F238E27FC236}">
                    <a16:creationId xmlns:a16="http://schemas.microsoft.com/office/drawing/2014/main" id="{CC7A1F27-FB30-B500-8862-E59B55A2E0A0}"/>
                  </a:ext>
                </a:extLst>
              </p:cNvPr>
              <p:cNvSpPr>
                <a:spLocks/>
              </p:cNvSpPr>
              <p:nvPr/>
            </p:nvSpPr>
            <p:spPr bwMode="auto">
              <a:xfrm>
                <a:off x="6683534" y="5628595"/>
                <a:ext cx="427038" cy="458788"/>
              </a:xfrm>
              <a:custGeom>
                <a:avLst/>
                <a:gdLst>
                  <a:gd name="T0" fmla="*/ 188 w 269"/>
                  <a:gd name="T1" fmla="*/ 0 h 289"/>
                  <a:gd name="T2" fmla="*/ 0 w 269"/>
                  <a:gd name="T3" fmla="*/ 0 h 289"/>
                  <a:gd name="T4" fmla="*/ 0 w 269"/>
                  <a:gd name="T5" fmla="*/ 289 h 289"/>
                  <a:gd name="T6" fmla="*/ 269 w 269"/>
                  <a:gd name="T7" fmla="*/ 289 h 289"/>
                  <a:gd name="T8" fmla="*/ 269 w 269"/>
                  <a:gd name="T9" fmla="*/ 133 h 289"/>
                  <a:gd name="T10" fmla="*/ 188 w 269"/>
                  <a:gd name="T11" fmla="*/ 0 h 289"/>
                </a:gdLst>
                <a:ahLst/>
                <a:cxnLst>
                  <a:cxn ang="0">
                    <a:pos x="T0" y="T1"/>
                  </a:cxn>
                  <a:cxn ang="0">
                    <a:pos x="T2" y="T3"/>
                  </a:cxn>
                  <a:cxn ang="0">
                    <a:pos x="T4" y="T5"/>
                  </a:cxn>
                  <a:cxn ang="0">
                    <a:pos x="T6" y="T7"/>
                  </a:cxn>
                  <a:cxn ang="0">
                    <a:pos x="T8" y="T9"/>
                  </a:cxn>
                  <a:cxn ang="0">
                    <a:pos x="T10" y="T11"/>
                  </a:cxn>
                </a:cxnLst>
                <a:rect l="0" t="0" r="r" b="b"/>
                <a:pathLst>
                  <a:path w="269" h="289">
                    <a:moveTo>
                      <a:pt x="188" y="0"/>
                    </a:moveTo>
                    <a:lnTo>
                      <a:pt x="0" y="0"/>
                    </a:lnTo>
                    <a:lnTo>
                      <a:pt x="0" y="289"/>
                    </a:lnTo>
                    <a:lnTo>
                      <a:pt x="269" y="289"/>
                    </a:lnTo>
                    <a:lnTo>
                      <a:pt x="269" y="133"/>
                    </a:lnTo>
                    <a:lnTo>
                      <a:pt x="188"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1" name="Freeform 1788">
                <a:extLst>
                  <a:ext uri="{FF2B5EF4-FFF2-40B4-BE49-F238E27FC236}">
                    <a16:creationId xmlns:a16="http://schemas.microsoft.com/office/drawing/2014/main" id="{93A77CA0-2E43-CADE-C249-0A74783D3488}"/>
                  </a:ext>
                </a:extLst>
              </p:cNvPr>
              <p:cNvSpPr>
                <a:spLocks/>
              </p:cNvSpPr>
              <p:nvPr/>
            </p:nvSpPr>
            <p:spPr bwMode="auto">
              <a:xfrm>
                <a:off x="6683534" y="5628595"/>
                <a:ext cx="427038" cy="458788"/>
              </a:xfrm>
              <a:custGeom>
                <a:avLst/>
                <a:gdLst>
                  <a:gd name="T0" fmla="*/ 188 w 269"/>
                  <a:gd name="T1" fmla="*/ 0 h 289"/>
                  <a:gd name="T2" fmla="*/ 0 w 269"/>
                  <a:gd name="T3" fmla="*/ 0 h 289"/>
                  <a:gd name="T4" fmla="*/ 0 w 269"/>
                  <a:gd name="T5" fmla="*/ 289 h 289"/>
                  <a:gd name="T6" fmla="*/ 269 w 269"/>
                  <a:gd name="T7" fmla="*/ 289 h 289"/>
                  <a:gd name="T8" fmla="*/ 269 w 269"/>
                  <a:gd name="T9" fmla="*/ 133 h 289"/>
                  <a:gd name="T10" fmla="*/ 188 w 269"/>
                  <a:gd name="T11" fmla="*/ 0 h 289"/>
                </a:gdLst>
                <a:ahLst/>
                <a:cxnLst>
                  <a:cxn ang="0">
                    <a:pos x="T0" y="T1"/>
                  </a:cxn>
                  <a:cxn ang="0">
                    <a:pos x="T2" y="T3"/>
                  </a:cxn>
                  <a:cxn ang="0">
                    <a:pos x="T4" y="T5"/>
                  </a:cxn>
                  <a:cxn ang="0">
                    <a:pos x="T6" y="T7"/>
                  </a:cxn>
                  <a:cxn ang="0">
                    <a:pos x="T8" y="T9"/>
                  </a:cxn>
                  <a:cxn ang="0">
                    <a:pos x="T10" y="T11"/>
                  </a:cxn>
                </a:cxnLst>
                <a:rect l="0" t="0" r="r" b="b"/>
                <a:pathLst>
                  <a:path w="269" h="289">
                    <a:moveTo>
                      <a:pt x="188" y="0"/>
                    </a:moveTo>
                    <a:lnTo>
                      <a:pt x="0" y="0"/>
                    </a:lnTo>
                    <a:lnTo>
                      <a:pt x="0" y="289"/>
                    </a:lnTo>
                    <a:lnTo>
                      <a:pt x="269" y="289"/>
                    </a:lnTo>
                    <a:lnTo>
                      <a:pt x="269" y="133"/>
                    </a:lnTo>
                    <a:lnTo>
                      <a:pt x="188"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2" name="Freeform 1789">
                <a:extLst>
                  <a:ext uri="{FF2B5EF4-FFF2-40B4-BE49-F238E27FC236}">
                    <a16:creationId xmlns:a16="http://schemas.microsoft.com/office/drawing/2014/main" id="{D5C88EE3-2C97-AA5B-4D11-982CC46DE617}"/>
                  </a:ext>
                </a:extLst>
              </p:cNvPr>
              <p:cNvSpPr>
                <a:spLocks/>
              </p:cNvSpPr>
              <p:nvPr/>
            </p:nvSpPr>
            <p:spPr bwMode="auto">
              <a:xfrm>
                <a:off x="6761322" y="5695270"/>
                <a:ext cx="257175" cy="133350"/>
              </a:xfrm>
              <a:custGeom>
                <a:avLst/>
                <a:gdLst>
                  <a:gd name="T0" fmla="*/ 162 w 162"/>
                  <a:gd name="T1" fmla="*/ 84 h 84"/>
                  <a:gd name="T2" fmla="*/ 111 w 162"/>
                  <a:gd name="T3" fmla="*/ 0 h 84"/>
                  <a:gd name="T4" fmla="*/ 0 w 162"/>
                  <a:gd name="T5" fmla="*/ 0 h 84"/>
                  <a:gd name="T6" fmla="*/ 0 w 162"/>
                  <a:gd name="T7" fmla="*/ 84 h 84"/>
                  <a:gd name="T8" fmla="*/ 162 w 162"/>
                  <a:gd name="T9" fmla="*/ 84 h 84"/>
                </a:gdLst>
                <a:ahLst/>
                <a:cxnLst>
                  <a:cxn ang="0">
                    <a:pos x="T0" y="T1"/>
                  </a:cxn>
                  <a:cxn ang="0">
                    <a:pos x="T2" y="T3"/>
                  </a:cxn>
                  <a:cxn ang="0">
                    <a:pos x="T4" y="T5"/>
                  </a:cxn>
                  <a:cxn ang="0">
                    <a:pos x="T6" y="T7"/>
                  </a:cxn>
                  <a:cxn ang="0">
                    <a:pos x="T8" y="T9"/>
                  </a:cxn>
                </a:cxnLst>
                <a:rect l="0" t="0" r="r" b="b"/>
                <a:pathLst>
                  <a:path w="162" h="84">
                    <a:moveTo>
                      <a:pt x="162" y="84"/>
                    </a:moveTo>
                    <a:lnTo>
                      <a:pt x="111" y="0"/>
                    </a:lnTo>
                    <a:lnTo>
                      <a:pt x="0" y="0"/>
                    </a:lnTo>
                    <a:lnTo>
                      <a:pt x="0" y="84"/>
                    </a:lnTo>
                    <a:lnTo>
                      <a:pt x="162" y="84"/>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3" name="Freeform 1790">
                <a:extLst>
                  <a:ext uri="{FF2B5EF4-FFF2-40B4-BE49-F238E27FC236}">
                    <a16:creationId xmlns:a16="http://schemas.microsoft.com/office/drawing/2014/main" id="{67AD70F8-4EED-BC24-0C26-D4341D1D9FF5}"/>
                  </a:ext>
                </a:extLst>
              </p:cNvPr>
              <p:cNvSpPr>
                <a:spLocks/>
              </p:cNvSpPr>
              <p:nvPr/>
            </p:nvSpPr>
            <p:spPr bwMode="auto">
              <a:xfrm>
                <a:off x="6761322" y="5695270"/>
                <a:ext cx="257175" cy="133350"/>
              </a:xfrm>
              <a:custGeom>
                <a:avLst/>
                <a:gdLst>
                  <a:gd name="T0" fmla="*/ 162 w 162"/>
                  <a:gd name="T1" fmla="*/ 84 h 84"/>
                  <a:gd name="T2" fmla="*/ 111 w 162"/>
                  <a:gd name="T3" fmla="*/ 0 h 84"/>
                  <a:gd name="T4" fmla="*/ 0 w 162"/>
                  <a:gd name="T5" fmla="*/ 0 h 84"/>
                  <a:gd name="T6" fmla="*/ 0 w 162"/>
                  <a:gd name="T7" fmla="*/ 84 h 84"/>
                  <a:gd name="T8" fmla="*/ 162 w 162"/>
                  <a:gd name="T9" fmla="*/ 84 h 84"/>
                </a:gdLst>
                <a:ahLst/>
                <a:cxnLst>
                  <a:cxn ang="0">
                    <a:pos x="T0" y="T1"/>
                  </a:cxn>
                  <a:cxn ang="0">
                    <a:pos x="T2" y="T3"/>
                  </a:cxn>
                  <a:cxn ang="0">
                    <a:pos x="T4" y="T5"/>
                  </a:cxn>
                  <a:cxn ang="0">
                    <a:pos x="T6" y="T7"/>
                  </a:cxn>
                  <a:cxn ang="0">
                    <a:pos x="T8" y="T9"/>
                  </a:cxn>
                </a:cxnLst>
                <a:rect l="0" t="0" r="r" b="b"/>
                <a:pathLst>
                  <a:path w="162" h="84">
                    <a:moveTo>
                      <a:pt x="162" y="84"/>
                    </a:moveTo>
                    <a:lnTo>
                      <a:pt x="111" y="0"/>
                    </a:lnTo>
                    <a:lnTo>
                      <a:pt x="0" y="0"/>
                    </a:lnTo>
                    <a:lnTo>
                      <a:pt x="0" y="84"/>
                    </a:lnTo>
                    <a:lnTo>
                      <a:pt x="162" y="84"/>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4" name="Line 1791">
                <a:extLst>
                  <a:ext uri="{FF2B5EF4-FFF2-40B4-BE49-F238E27FC236}">
                    <a16:creationId xmlns:a16="http://schemas.microsoft.com/office/drawing/2014/main" id="{E12041B9-1783-4B22-240A-4F90DA3F91EF}"/>
                  </a:ext>
                </a:extLst>
              </p:cNvPr>
              <p:cNvSpPr>
                <a:spLocks noChangeShapeType="1"/>
              </p:cNvSpPr>
              <p:nvPr/>
            </p:nvSpPr>
            <p:spPr bwMode="auto">
              <a:xfrm>
                <a:off x="6747034" y="5901645"/>
                <a:ext cx="76200" cy="0"/>
              </a:xfrm>
              <a:prstGeom prst="line">
                <a:avLst/>
              </a:prstGeom>
              <a:noFill/>
              <a:ln w="127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5" name="Line 1792">
                <a:extLst>
                  <a:ext uri="{FF2B5EF4-FFF2-40B4-BE49-F238E27FC236}">
                    <a16:creationId xmlns:a16="http://schemas.microsoft.com/office/drawing/2014/main" id="{6D6D9247-B632-D077-6FF8-ADC7B4A47356}"/>
                  </a:ext>
                </a:extLst>
              </p:cNvPr>
              <p:cNvSpPr>
                <a:spLocks noChangeShapeType="1"/>
              </p:cNvSpPr>
              <p:nvPr/>
            </p:nvSpPr>
            <p:spPr bwMode="auto">
              <a:xfrm>
                <a:off x="7053422" y="5944508"/>
                <a:ext cx="57150" cy="0"/>
              </a:xfrm>
              <a:prstGeom prst="line">
                <a:avLst/>
              </a:prstGeom>
              <a:noFill/>
              <a:ln w="127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6" name="Freeform 1793">
                <a:extLst>
                  <a:ext uri="{FF2B5EF4-FFF2-40B4-BE49-F238E27FC236}">
                    <a16:creationId xmlns:a16="http://schemas.microsoft.com/office/drawing/2014/main" id="{BCEE4A0B-3BBF-3E93-16E0-1EB6A96D3685}"/>
                  </a:ext>
                </a:extLst>
              </p:cNvPr>
              <p:cNvSpPr>
                <a:spLocks/>
              </p:cNvSpPr>
              <p:nvPr/>
            </p:nvSpPr>
            <p:spPr bwMode="auto">
              <a:xfrm>
                <a:off x="5969159" y="6000070"/>
                <a:ext cx="263525" cy="131763"/>
              </a:xfrm>
              <a:custGeom>
                <a:avLst/>
                <a:gdLst>
                  <a:gd name="T0" fmla="*/ 140 w 140"/>
                  <a:gd name="T1" fmla="*/ 70 h 70"/>
                  <a:gd name="T2" fmla="*/ 70 w 140"/>
                  <a:gd name="T3" fmla="*/ 0 h 70"/>
                  <a:gd name="T4" fmla="*/ 0 w 140"/>
                  <a:gd name="T5" fmla="*/ 70 h 70"/>
                  <a:gd name="T6" fmla="*/ 0 w 140"/>
                  <a:gd name="T7" fmla="*/ 70 h 70"/>
                  <a:gd name="T8" fmla="*/ 140 w 140"/>
                  <a:gd name="T9" fmla="*/ 70 h 70"/>
                </a:gdLst>
                <a:ahLst/>
                <a:cxnLst>
                  <a:cxn ang="0">
                    <a:pos x="T0" y="T1"/>
                  </a:cxn>
                  <a:cxn ang="0">
                    <a:pos x="T2" y="T3"/>
                  </a:cxn>
                  <a:cxn ang="0">
                    <a:pos x="T4" y="T5"/>
                  </a:cxn>
                  <a:cxn ang="0">
                    <a:pos x="T6" y="T7"/>
                  </a:cxn>
                  <a:cxn ang="0">
                    <a:pos x="T8" y="T9"/>
                  </a:cxn>
                </a:cxnLst>
                <a:rect l="0" t="0" r="r" b="b"/>
                <a:pathLst>
                  <a:path w="140" h="70">
                    <a:moveTo>
                      <a:pt x="140" y="70"/>
                    </a:moveTo>
                    <a:cubicBezTo>
                      <a:pt x="140" y="32"/>
                      <a:pt x="109" y="0"/>
                      <a:pt x="70" y="0"/>
                    </a:cubicBezTo>
                    <a:cubicBezTo>
                      <a:pt x="31" y="0"/>
                      <a:pt x="0" y="32"/>
                      <a:pt x="0" y="70"/>
                    </a:cubicBezTo>
                    <a:cubicBezTo>
                      <a:pt x="0" y="70"/>
                      <a:pt x="0" y="70"/>
                      <a:pt x="0" y="70"/>
                    </a:cubicBezTo>
                    <a:cubicBezTo>
                      <a:pt x="140" y="70"/>
                      <a:pt x="140" y="70"/>
                      <a:pt x="140" y="70"/>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7" name="Freeform 1794">
                <a:extLst>
                  <a:ext uri="{FF2B5EF4-FFF2-40B4-BE49-F238E27FC236}">
                    <a16:creationId xmlns:a16="http://schemas.microsoft.com/office/drawing/2014/main" id="{E8947BDF-9487-9EFE-4136-9A8719FBB981}"/>
                  </a:ext>
                </a:extLst>
              </p:cNvPr>
              <p:cNvSpPr>
                <a:spLocks/>
              </p:cNvSpPr>
              <p:nvPr/>
            </p:nvSpPr>
            <p:spPr bwMode="auto">
              <a:xfrm>
                <a:off x="5969159" y="6000069"/>
                <a:ext cx="263524" cy="131763"/>
              </a:xfrm>
              <a:custGeom>
                <a:avLst/>
                <a:gdLst>
                  <a:gd name="T0" fmla="*/ 140 w 140"/>
                  <a:gd name="T1" fmla="*/ 70 h 70"/>
                  <a:gd name="T2" fmla="*/ 70 w 140"/>
                  <a:gd name="T3" fmla="*/ 0 h 70"/>
                  <a:gd name="T4" fmla="*/ 0 w 140"/>
                  <a:gd name="T5" fmla="*/ 70 h 70"/>
                  <a:gd name="T6" fmla="*/ 0 w 140"/>
                  <a:gd name="T7" fmla="*/ 70 h 70"/>
                  <a:gd name="T8" fmla="*/ 140 w 140"/>
                  <a:gd name="T9" fmla="*/ 70 h 70"/>
                </a:gdLst>
                <a:ahLst/>
                <a:cxnLst>
                  <a:cxn ang="0">
                    <a:pos x="T0" y="T1"/>
                  </a:cxn>
                  <a:cxn ang="0">
                    <a:pos x="T2" y="T3"/>
                  </a:cxn>
                  <a:cxn ang="0">
                    <a:pos x="T4" y="T5"/>
                  </a:cxn>
                  <a:cxn ang="0">
                    <a:pos x="T6" y="T7"/>
                  </a:cxn>
                  <a:cxn ang="0">
                    <a:pos x="T8" y="T9"/>
                  </a:cxn>
                </a:cxnLst>
                <a:rect l="0" t="0" r="r" b="b"/>
                <a:pathLst>
                  <a:path w="140" h="70">
                    <a:moveTo>
                      <a:pt x="140" y="70"/>
                    </a:moveTo>
                    <a:cubicBezTo>
                      <a:pt x="140" y="32"/>
                      <a:pt x="109" y="0"/>
                      <a:pt x="70" y="0"/>
                    </a:cubicBezTo>
                    <a:cubicBezTo>
                      <a:pt x="31" y="0"/>
                      <a:pt x="0" y="32"/>
                      <a:pt x="0" y="70"/>
                    </a:cubicBezTo>
                    <a:cubicBezTo>
                      <a:pt x="0" y="70"/>
                      <a:pt x="0" y="70"/>
                      <a:pt x="0" y="70"/>
                    </a:cubicBezTo>
                    <a:cubicBezTo>
                      <a:pt x="140" y="70"/>
                      <a:pt x="140" y="70"/>
                      <a:pt x="140" y="70"/>
                    </a:cubicBez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8" name="Oval 1795">
                <a:extLst>
                  <a:ext uri="{FF2B5EF4-FFF2-40B4-BE49-F238E27FC236}">
                    <a16:creationId xmlns:a16="http://schemas.microsoft.com/office/drawing/2014/main" id="{B2C76BD3-FFCA-D77D-0E8F-E758A5CD36D1}"/>
                  </a:ext>
                </a:extLst>
              </p:cNvPr>
              <p:cNvSpPr>
                <a:spLocks noChangeArrowheads="1"/>
              </p:cNvSpPr>
              <p:nvPr/>
            </p:nvSpPr>
            <p:spPr bwMode="auto">
              <a:xfrm>
                <a:off x="6058059" y="6088970"/>
                <a:ext cx="85725" cy="85725"/>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19" name="Freeform 1796">
                <a:extLst>
                  <a:ext uri="{FF2B5EF4-FFF2-40B4-BE49-F238E27FC236}">
                    <a16:creationId xmlns:a16="http://schemas.microsoft.com/office/drawing/2014/main" id="{6A48541B-394C-8D63-4FA0-F623FD18187F}"/>
                  </a:ext>
                </a:extLst>
              </p:cNvPr>
              <p:cNvSpPr>
                <a:spLocks noEditPoints="1"/>
              </p:cNvSpPr>
              <p:nvPr/>
            </p:nvSpPr>
            <p:spPr bwMode="auto">
              <a:xfrm>
                <a:off x="6008847" y="6041345"/>
                <a:ext cx="184150" cy="182563"/>
              </a:xfrm>
              <a:custGeom>
                <a:avLst/>
                <a:gdLst>
                  <a:gd name="T0" fmla="*/ 49 w 98"/>
                  <a:gd name="T1" fmla="*/ 0 h 97"/>
                  <a:gd name="T2" fmla="*/ 98 w 98"/>
                  <a:gd name="T3" fmla="*/ 48 h 97"/>
                  <a:gd name="T4" fmla="*/ 49 w 98"/>
                  <a:gd name="T5" fmla="*/ 97 h 97"/>
                  <a:gd name="T6" fmla="*/ 0 w 98"/>
                  <a:gd name="T7" fmla="*/ 48 h 97"/>
                  <a:gd name="T8" fmla="*/ 49 w 98"/>
                  <a:gd name="T9" fmla="*/ 0 h 97"/>
                  <a:gd name="T10" fmla="*/ 72 w 98"/>
                  <a:gd name="T11" fmla="*/ 48 h 97"/>
                  <a:gd name="T12" fmla="*/ 49 w 98"/>
                  <a:gd name="T13" fmla="*/ 25 h 97"/>
                  <a:gd name="T14" fmla="*/ 26 w 98"/>
                  <a:gd name="T15" fmla="*/ 48 h 97"/>
                  <a:gd name="T16" fmla="*/ 49 w 98"/>
                  <a:gd name="T17" fmla="*/ 71 h 97"/>
                  <a:gd name="T18" fmla="*/ 72 w 98"/>
                  <a:gd name="T19"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7">
                    <a:moveTo>
                      <a:pt x="49" y="0"/>
                    </a:moveTo>
                    <a:cubicBezTo>
                      <a:pt x="76" y="0"/>
                      <a:pt x="98" y="21"/>
                      <a:pt x="98" y="48"/>
                    </a:cubicBezTo>
                    <a:cubicBezTo>
                      <a:pt x="98" y="75"/>
                      <a:pt x="76" y="97"/>
                      <a:pt x="49" y="97"/>
                    </a:cubicBezTo>
                    <a:cubicBezTo>
                      <a:pt x="22" y="97"/>
                      <a:pt x="0" y="75"/>
                      <a:pt x="0" y="48"/>
                    </a:cubicBezTo>
                    <a:cubicBezTo>
                      <a:pt x="0" y="21"/>
                      <a:pt x="22" y="0"/>
                      <a:pt x="49" y="0"/>
                    </a:cubicBezTo>
                    <a:close/>
                    <a:moveTo>
                      <a:pt x="72" y="48"/>
                    </a:moveTo>
                    <a:cubicBezTo>
                      <a:pt x="72" y="36"/>
                      <a:pt x="62" y="25"/>
                      <a:pt x="49" y="25"/>
                    </a:cubicBezTo>
                    <a:cubicBezTo>
                      <a:pt x="36" y="25"/>
                      <a:pt x="26" y="36"/>
                      <a:pt x="26" y="48"/>
                    </a:cubicBezTo>
                    <a:cubicBezTo>
                      <a:pt x="26" y="61"/>
                      <a:pt x="36" y="71"/>
                      <a:pt x="49" y="71"/>
                    </a:cubicBezTo>
                    <a:cubicBezTo>
                      <a:pt x="62" y="71"/>
                      <a:pt x="72" y="61"/>
                      <a:pt x="72" y="48"/>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0" name="Oval 1797">
                <a:extLst>
                  <a:ext uri="{FF2B5EF4-FFF2-40B4-BE49-F238E27FC236}">
                    <a16:creationId xmlns:a16="http://schemas.microsoft.com/office/drawing/2014/main" id="{DE297442-723F-DF67-2DE7-8E9E48D757BC}"/>
                  </a:ext>
                </a:extLst>
              </p:cNvPr>
              <p:cNvSpPr>
                <a:spLocks noChangeArrowheads="1"/>
              </p:cNvSpPr>
              <p:nvPr/>
            </p:nvSpPr>
            <p:spPr bwMode="auto">
              <a:xfrm>
                <a:off x="6008847" y="6041345"/>
                <a:ext cx="184150" cy="182563"/>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1" name="Oval 1798">
                <a:extLst>
                  <a:ext uri="{FF2B5EF4-FFF2-40B4-BE49-F238E27FC236}">
                    <a16:creationId xmlns:a16="http://schemas.microsoft.com/office/drawing/2014/main" id="{E108EDA1-5370-8F8E-6625-DF72D7436690}"/>
                  </a:ext>
                </a:extLst>
              </p:cNvPr>
              <p:cNvSpPr>
                <a:spLocks noChangeArrowheads="1"/>
              </p:cNvSpPr>
              <p:nvPr/>
            </p:nvSpPr>
            <p:spPr bwMode="auto">
              <a:xfrm>
                <a:off x="6058059" y="6088970"/>
                <a:ext cx="85725" cy="857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2" name="Freeform 1799">
                <a:extLst>
                  <a:ext uri="{FF2B5EF4-FFF2-40B4-BE49-F238E27FC236}">
                    <a16:creationId xmlns:a16="http://schemas.microsoft.com/office/drawing/2014/main" id="{D175D5E4-FE28-CF9D-892C-9896102E5E88}"/>
                  </a:ext>
                </a:extLst>
              </p:cNvPr>
              <p:cNvSpPr>
                <a:spLocks/>
              </p:cNvSpPr>
              <p:nvPr/>
            </p:nvSpPr>
            <p:spPr bwMode="auto">
              <a:xfrm>
                <a:off x="6289834" y="6000070"/>
                <a:ext cx="265113" cy="131763"/>
              </a:xfrm>
              <a:custGeom>
                <a:avLst/>
                <a:gdLst>
                  <a:gd name="T0" fmla="*/ 141 w 141"/>
                  <a:gd name="T1" fmla="*/ 70 h 70"/>
                  <a:gd name="T2" fmla="*/ 71 w 141"/>
                  <a:gd name="T3" fmla="*/ 0 h 70"/>
                  <a:gd name="T4" fmla="*/ 0 w 141"/>
                  <a:gd name="T5" fmla="*/ 70 h 70"/>
                  <a:gd name="T6" fmla="*/ 0 w 141"/>
                  <a:gd name="T7" fmla="*/ 70 h 70"/>
                  <a:gd name="T8" fmla="*/ 141 w 141"/>
                  <a:gd name="T9" fmla="*/ 70 h 70"/>
                </a:gdLst>
                <a:ahLst/>
                <a:cxnLst>
                  <a:cxn ang="0">
                    <a:pos x="T0" y="T1"/>
                  </a:cxn>
                  <a:cxn ang="0">
                    <a:pos x="T2" y="T3"/>
                  </a:cxn>
                  <a:cxn ang="0">
                    <a:pos x="T4" y="T5"/>
                  </a:cxn>
                  <a:cxn ang="0">
                    <a:pos x="T6" y="T7"/>
                  </a:cxn>
                  <a:cxn ang="0">
                    <a:pos x="T8" y="T9"/>
                  </a:cxn>
                </a:cxnLst>
                <a:rect l="0" t="0" r="r" b="b"/>
                <a:pathLst>
                  <a:path w="141" h="70">
                    <a:moveTo>
                      <a:pt x="141" y="70"/>
                    </a:moveTo>
                    <a:cubicBezTo>
                      <a:pt x="141" y="32"/>
                      <a:pt x="109" y="0"/>
                      <a:pt x="71" y="0"/>
                    </a:cubicBezTo>
                    <a:cubicBezTo>
                      <a:pt x="32" y="0"/>
                      <a:pt x="0" y="32"/>
                      <a:pt x="0" y="70"/>
                    </a:cubicBezTo>
                    <a:cubicBezTo>
                      <a:pt x="0" y="70"/>
                      <a:pt x="0" y="70"/>
                      <a:pt x="0" y="70"/>
                    </a:cubicBezTo>
                    <a:cubicBezTo>
                      <a:pt x="141" y="70"/>
                      <a:pt x="141" y="70"/>
                      <a:pt x="141" y="70"/>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3" name="Freeform 1800">
                <a:extLst>
                  <a:ext uri="{FF2B5EF4-FFF2-40B4-BE49-F238E27FC236}">
                    <a16:creationId xmlns:a16="http://schemas.microsoft.com/office/drawing/2014/main" id="{16931D60-281A-D5CF-9DA2-141EB1339FF1}"/>
                  </a:ext>
                </a:extLst>
              </p:cNvPr>
              <p:cNvSpPr>
                <a:spLocks/>
              </p:cNvSpPr>
              <p:nvPr/>
            </p:nvSpPr>
            <p:spPr bwMode="auto">
              <a:xfrm>
                <a:off x="6289834" y="6000070"/>
                <a:ext cx="265113" cy="131763"/>
              </a:xfrm>
              <a:custGeom>
                <a:avLst/>
                <a:gdLst>
                  <a:gd name="T0" fmla="*/ 141 w 141"/>
                  <a:gd name="T1" fmla="*/ 70 h 70"/>
                  <a:gd name="T2" fmla="*/ 71 w 141"/>
                  <a:gd name="T3" fmla="*/ 0 h 70"/>
                  <a:gd name="T4" fmla="*/ 0 w 141"/>
                  <a:gd name="T5" fmla="*/ 70 h 70"/>
                  <a:gd name="T6" fmla="*/ 0 w 141"/>
                  <a:gd name="T7" fmla="*/ 70 h 70"/>
                  <a:gd name="T8" fmla="*/ 141 w 141"/>
                  <a:gd name="T9" fmla="*/ 70 h 70"/>
                </a:gdLst>
                <a:ahLst/>
                <a:cxnLst>
                  <a:cxn ang="0">
                    <a:pos x="T0" y="T1"/>
                  </a:cxn>
                  <a:cxn ang="0">
                    <a:pos x="T2" y="T3"/>
                  </a:cxn>
                  <a:cxn ang="0">
                    <a:pos x="T4" y="T5"/>
                  </a:cxn>
                  <a:cxn ang="0">
                    <a:pos x="T6" y="T7"/>
                  </a:cxn>
                  <a:cxn ang="0">
                    <a:pos x="T8" y="T9"/>
                  </a:cxn>
                </a:cxnLst>
                <a:rect l="0" t="0" r="r" b="b"/>
                <a:pathLst>
                  <a:path w="141" h="70">
                    <a:moveTo>
                      <a:pt x="141" y="70"/>
                    </a:moveTo>
                    <a:cubicBezTo>
                      <a:pt x="141" y="32"/>
                      <a:pt x="109" y="0"/>
                      <a:pt x="71" y="0"/>
                    </a:cubicBezTo>
                    <a:cubicBezTo>
                      <a:pt x="32" y="0"/>
                      <a:pt x="0" y="32"/>
                      <a:pt x="0" y="70"/>
                    </a:cubicBezTo>
                    <a:cubicBezTo>
                      <a:pt x="0" y="70"/>
                      <a:pt x="0" y="70"/>
                      <a:pt x="0" y="70"/>
                    </a:cubicBezTo>
                    <a:cubicBezTo>
                      <a:pt x="141" y="70"/>
                      <a:pt x="141" y="70"/>
                      <a:pt x="141" y="70"/>
                    </a:cubicBez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4" name="Oval 1801">
                <a:extLst>
                  <a:ext uri="{FF2B5EF4-FFF2-40B4-BE49-F238E27FC236}">
                    <a16:creationId xmlns:a16="http://schemas.microsoft.com/office/drawing/2014/main" id="{C7122AA9-3AAC-9054-DA80-FFC4DD917970}"/>
                  </a:ext>
                </a:extLst>
              </p:cNvPr>
              <p:cNvSpPr>
                <a:spLocks noChangeArrowheads="1"/>
              </p:cNvSpPr>
              <p:nvPr/>
            </p:nvSpPr>
            <p:spPr bwMode="auto">
              <a:xfrm>
                <a:off x="6380322" y="6088970"/>
                <a:ext cx="84138" cy="85725"/>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5" name="Freeform 1802">
                <a:extLst>
                  <a:ext uri="{FF2B5EF4-FFF2-40B4-BE49-F238E27FC236}">
                    <a16:creationId xmlns:a16="http://schemas.microsoft.com/office/drawing/2014/main" id="{180AE863-3488-E37F-D618-7FFB668433C2}"/>
                  </a:ext>
                </a:extLst>
              </p:cNvPr>
              <p:cNvSpPr>
                <a:spLocks noEditPoints="1"/>
              </p:cNvSpPr>
              <p:nvPr/>
            </p:nvSpPr>
            <p:spPr bwMode="auto">
              <a:xfrm>
                <a:off x="6331109" y="6041345"/>
                <a:ext cx="182563" cy="182563"/>
              </a:xfrm>
              <a:custGeom>
                <a:avLst/>
                <a:gdLst>
                  <a:gd name="T0" fmla="*/ 49 w 97"/>
                  <a:gd name="T1" fmla="*/ 0 h 97"/>
                  <a:gd name="T2" fmla="*/ 97 w 97"/>
                  <a:gd name="T3" fmla="*/ 48 h 97"/>
                  <a:gd name="T4" fmla="*/ 49 w 97"/>
                  <a:gd name="T5" fmla="*/ 97 h 97"/>
                  <a:gd name="T6" fmla="*/ 0 w 97"/>
                  <a:gd name="T7" fmla="*/ 48 h 97"/>
                  <a:gd name="T8" fmla="*/ 49 w 97"/>
                  <a:gd name="T9" fmla="*/ 0 h 97"/>
                  <a:gd name="T10" fmla="*/ 71 w 97"/>
                  <a:gd name="T11" fmla="*/ 48 h 97"/>
                  <a:gd name="T12" fmla="*/ 49 w 97"/>
                  <a:gd name="T13" fmla="*/ 25 h 97"/>
                  <a:gd name="T14" fmla="*/ 26 w 97"/>
                  <a:gd name="T15" fmla="*/ 48 h 97"/>
                  <a:gd name="T16" fmla="*/ 49 w 97"/>
                  <a:gd name="T17" fmla="*/ 71 h 97"/>
                  <a:gd name="T18" fmla="*/ 71 w 97"/>
                  <a:gd name="T19"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7">
                    <a:moveTo>
                      <a:pt x="49" y="0"/>
                    </a:moveTo>
                    <a:cubicBezTo>
                      <a:pt x="75" y="0"/>
                      <a:pt x="97" y="21"/>
                      <a:pt x="97" y="48"/>
                    </a:cubicBezTo>
                    <a:cubicBezTo>
                      <a:pt x="97" y="75"/>
                      <a:pt x="75" y="97"/>
                      <a:pt x="49" y="97"/>
                    </a:cubicBezTo>
                    <a:cubicBezTo>
                      <a:pt x="22" y="97"/>
                      <a:pt x="0" y="75"/>
                      <a:pt x="0" y="48"/>
                    </a:cubicBezTo>
                    <a:cubicBezTo>
                      <a:pt x="0" y="21"/>
                      <a:pt x="22" y="0"/>
                      <a:pt x="49" y="0"/>
                    </a:cubicBezTo>
                    <a:close/>
                    <a:moveTo>
                      <a:pt x="71" y="48"/>
                    </a:moveTo>
                    <a:cubicBezTo>
                      <a:pt x="71" y="36"/>
                      <a:pt x="61" y="25"/>
                      <a:pt x="49" y="25"/>
                    </a:cubicBezTo>
                    <a:cubicBezTo>
                      <a:pt x="36" y="25"/>
                      <a:pt x="26" y="36"/>
                      <a:pt x="26" y="48"/>
                    </a:cubicBezTo>
                    <a:cubicBezTo>
                      <a:pt x="26" y="61"/>
                      <a:pt x="36" y="71"/>
                      <a:pt x="49" y="71"/>
                    </a:cubicBezTo>
                    <a:cubicBezTo>
                      <a:pt x="61" y="71"/>
                      <a:pt x="71" y="61"/>
                      <a:pt x="71" y="48"/>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6" name="Oval 1803">
                <a:extLst>
                  <a:ext uri="{FF2B5EF4-FFF2-40B4-BE49-F238E27FC236}">
                    <a16:creationId xmlns:a16="http://schemas.microsoft.com/office/drawing/2014/main" id="{4202435C-4E9E-B857-2140-BFA2A957DC82}"/>
                  </a:ext>
                </a:extLst>
              </p:cNvPr>
              <p:cNvSpPr>
                <a:spLocks noChangeArrowheads="1"/>
              </p:cNvSpPr>
              <p:nvPr/>
            </p:nvSpPr>
            <p:spPr bwMode="auto">
              <a:xfrm>
                <a:off x="6331109" y="6041345"/>
                <a:ext cx="182563" cy="182563"/>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7" name="Oval 1804">
                <a:extLst>
                  <a:ext uri="{FF2B5EF4-FFF2-40B4-BE49-F238E27FC236}">
                    <a16:creationId xmlns:a16="http://schemas.microsoft.com/office/drawing/2014/main" id="{6EEA5979-F241-7874-CFC1-176B9BCB122F}"/>
                  </a:ext>
                </a:extLst>
              </p:cNvPr>
              <p:cNvSpPr>
                <a:spLocks noChangeArrowheads="1"/>
              </p:cNvSpPr>
              <p:nvPr/>
            </p:nvSpPr>
            <p:spPr bwMode="auto">
              <a:xfrm>
                <a:off x="6380322" y="6088970"/>
                <a:ext cx="84138" cy="857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8" name="Freeform 1805">
                <a:extLst>
                  <a:ext uri="{FF2B5EF4-FFF2-40B4-BE49-F238E27FC236}">
                    <a16:creationId xmlns:a16="http://schemas.microsoft.com/office/drawing/2014/main" id="{FB45A329-DCAE-1BA1-4E46-1F05BA91AA90}"/>
                  </a:ext>
                </a:extLst>
              </p:cNvPr>
              <p:cNvSpPr>
                <a:spLocks/>
              </p:cNvSpPr>
              <p:nvPr/>
            </p:nvSpPr>
            <p:spPr bwMode="auto">
              <a:xfrm>
                <a:off x="6797834" y="6000070"/>
                <a:ext cx="263525" cy="131763"/>
              </a:xfrm>
              <a:custGeom>
                <a:avLst/>
                <a:gdLst>
                  <a:gd name="T0" fmla="*/ 141 w 141"/>
                  <a:gd name="T1" fmla="*/ 70 h 70"/>
                  <a:gd name="T2" fmla="*/ 71 w 141"/>
                  <a:gd name="T3" fmla="*/ 0 h 70"/>
                  <a:gd name="T4" fmla="*/ 0 w 141"/>
                  <a:gd name="T5" fmla="*/ 70 h 70"/>
                  <a:gd name="T6" fmla="*/ 0 w 141"/>
                  <a:gd name="T7" fmla="*/ 70 h 70"/>
                  <a:gd name="T8" fmla="*/ 141 w 141"/>
                  <a:gd name="T9" fmla="*/ 70 h 70"/>
                </a:gdLst>
                <a:ahLst/>
                <a:cxnLst>
                  <a:cxn ang="0">
                    <a:pos x="T0" y="T1"/>
                  </a:cxn>
                  <a:cxn ang="0">
                    <a:pos x="T2" y="T3"/>
                  </a:cxn>
                  <a:cxn ang="0">
                    <a:pos x="T4" y="T5"/>
                  </a:cxn>
                  <a:cxn ang="0">
                    <a:pos x="T6" y="T7"/>
                  </a:cxn>
                  <a:cxn ang="0">
                    <a:pos x="T8" y="T9"/>
                  </a:cxn>
                </a:cxnLst>
                <a:rect l="0" t="0" r="r" b="b"/>
                <a:pathLst>
                  <a:path w="141" h="70">
                    <a:moveTo>
                      <a:pt x="141" y="70"/>
                    </a:moveTo>
                    <a:cubicBezTo>
                      <a:pt x="141" y="32"/>
                      <a:pt x="109" y="0"/>
                      <a:pt x="71" y="0"/>
                    </a:cubicBezTo>
                    <a:cubicBezTo>
                      <a:pt x="32" y="0"/>
                      <a:pt x="0" y="32"/>
                      <a:pt x="0" y="70"/>
                    </a:cubicBezTo>
                    <a:cubicBezTo>
                      <a:pt x="0" y="70"/>
                      <a:pt x="0" y="70"/>
                      <a:pt x="0" y="70"/>
                    </a:cubicBezTo>
                    <a:cubicBezTo>
                      <a:pt x="141" y="70"/>
                      <a:pt x="141" y="70"/>
                      <a:pt x="141" y="70"/>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29" name="Freeform 1806">
                <a:extLst>
                  <a:ext uri="{FF2B5EF4-FFF2-40B4-BE49-F238E27FC236}">
                    <a16:creationId xmlns:a16="http://schemas.microsoft.com/office/drawing/2014/main" id="{4B13573B-6D2A-01B0-038D-FDD384EAB700}"/>
                  </a:ext>
                </a:extLst>
              </p:cNvPr>
              <p:cNvSpPr>
                <a:spLocks/>
              </p:cNvSpPr>
              <p:nvPr/>
            </p:nvSpPr>
            <p:spPr bwMode="auto">
              <a:xfrm>
                <a:off x="6797834" y="6000070"/>
                <a:ext cx="263525" cy="131763"/>
              </a:xfrm>
              <a:custGeom>
                <a:avLst/>
                <a:gdLst>
                  <a:gd name="T0" fmla="*/ 141 w 141"/>
                  <a:gd name="T1" fmla="*/ 70 h 70"/>
                  <a:gd name="T2" fmla="*/ 71 w 141"/>
                  <a:gd name="T3" fmla="*/ 0 h 70"/>
                  <a:gd name="T4" fmla="*/ 0 w 141"/>
                  <a:gd name="T5" fmla="*/ 70 h 70"/>
                  <a:gd name="T6" fmla="*/ 0 w 141"/>
                  <a:gd name="T7" fmla="*/ 70 h 70"/>
                  <a:gd name="T8" fmla="*/ 141 w 141"/>
                  <a:gd name="T9" fmla="*/ 70 h 70"/>
                </a:gdLst>
                <a:ahLst/>
                <a:cxnLst>
                  <a:cxn ang="0">
                    <a:pos x="T0" y="T1"/>
                  </a:cxn>
                  <a:cxn ang="0">
                    <a:pos x="T2" y="T3"/>
                  </a:cxn>
                  <a:cxn ang="0">
                    <a:pos x="T4" y="T5"/>
                  </a:cxn>
                  <a:cxn ang="0">
                    <a:pos x="T6" y="T7"/>
                  </a:cxn>
                  <a:cxn ang="0">
                    <a:pos x="T8" y="T9"/>
                  </a:cxn>
                </a:cxnLst>
                <a:rect l="0" t="0" r="r" b="b"/>
                <a:pathLst>
                  <a:path w="141" h="70">
                    <a:moveTo>
                      <a:pt x="141" y="70"/>
                    </a:moveTo>
                    <a:cubicBezTo>
                      <a:pt x="141" y="32"/>
                      <a:pt x="109" y="0"/>
                      <a:pt x="71" y="0"/>
                    </a:cubicBezTo>
                    <a:cubicBezTo>
                      <a:pt x="32" y="0"/>
                      <a:pt x="0" y="32"/>
                      <a:pt x="0" y="70"/>
                    </a:cubicBezTo>
                    <a:cubicBezTo>
                      <a:pt x="0" y="70"/>
                      <a:pt x="0" y="70"/>
                      <a:pt x="0" y="70"/>
                    </a:cubicBezTo>
                    <a:cubicBezTo>
                      <a:pt x="141" y="70"/>
                      <a:pt x="141" y="70"/>
                      <a:pt x="141" y="70"/>
                    </a:cubicBez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0" name="Oval 1807">
                <a:extLst>
                  <a:ext uri="{FF2B5EF4-FFF2-40B4-BE49-F238E27FC236}">
                    <a16:creationId xmlns:a16="http://schemas.microsoft.com/office/drawing/2014/main" id="{86C9F6F1-7A19-4B26-06DD-C255061E8F29}"/>
                  </a:ext>
                </a:extLst>
              </p:cNvPr>
              <p:cNvSpPr>
                <a:spLocks noChangeArrowheads="1"/>
              </p:cNvSpPr>
              <p:nvPr/>
            </p:nvSpPr>
            <p:spPr bwMode="auto">
              <a:xfrm>
                <a:off x="6886734" y="6088970"/>
                <a:ext cx="87313" cy="85725"/>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1" name="Freeform 1808">
                <a:extLst>
                  <a:ext uri="{FF2B5EF4-FFF2-40B4-BE49-F238E27FC236}">
                    <a16:creationId xmlns:a16="http://schemas.microsoft.com/office/drawing/2014/main" id="{A42BBBD0-A952-7738-3EE9-E98AA9B9987C}"/>
                  </a:ext>
                </a:extLst>
              </p:cNvPr>
              <p:cNvSpPr>
                <a:spLocks noEditPoints="1"/>
              </p:cNvSpPr>
              <p:nvPr/>
            </p:nvSpPr>
            <p:spPr bwMode="auto">
              <a:xfrm>
                <a:off x="6839109" y="6041345"/>
                <a:ext cx="180975" cy="182563"/>
              </a:xfrm>
              <a:custGeom>
                <a:avLst/>
                <a:gdLst>
                  <a:gd name="T0" fmla="*/ 49 w 97"/>
                  <a:gd name="T1" fmla="*/ 0 h 97"/>
                  <a:gd name="T2" fmla="*/ 97 w 97"/>
                  <a:gd name="T3" fmla="*/ 48 h 97"/>
                  <a:gd name="T4" fmla="*/ 49 w 97"/>
                  <a:gd name="T5" fmla="*/ 97 h 97"/>
                  <a:gd name="T6" fmla="*/ 0 w 97"/>
                  <a:gd name="T7" fmla="*/ 48 h 97"/>
                  <a:gd name="T8" fmla="*/ 49 w 97"/>
                  <a:gd name="T9" fmla="*/ 0 h 97"/>
                  <a:gd name="T10" fmla="*/ 72 w 97"/>
                  <a:gd name="T11" fmla="*/ 48 h 97"/>
                  <a:gd name="T12" fmla="*/ 49 w 97"/>
                  <a:gd name="T13" fmla="*/ 25 h 97"/>
                  <a:gd name="T14" fmla="*/ 26 w 97"/>
                  <a:gd name="T15" fmla="*/ 48 h 97"/>
                  <a:gd name="T16" fmla="*/ 49 w 97"/>
                  <a:gd name="T17" fmla="*/ 71 h 97"/>
                  <a:gd name="T18" fmla="*/ 72 w 97"/>
                  <a:gd name="T19"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7">
                    <a:moveTo>
                      <a:pt x="49" y="0"/>
                    </a:moveTo>
                    <a:cubicBezTo>
                      <a:pt x="76" y="0"/>
                      <a:pt x="97" y="21"/>
                      <a:pt x="97" y="48"/>
                    </a:cubicBezTo>
                    <a:cubicBezTo>
                      <a:pt x="97" y="75"/>
                      <a:pt x="76" y="97"/>
                      <a:pt x="49" y="97"/>
                    </a:cubicBezTo>
                    <a:cubicBezTo>
                      <a:pt x="22" y="97"/>
                      <a:pt x="0" y="75"/>
                      <a:pt x="0" y="48"/>
                    </a:cubicBezTo>
                    <a:cubicBezTo>
                      <a:pt x="0" y="21"/>
                      <a:pt x="22" y="0"/>
                      <a:pt x="49" y="0"/>
                    </a:cubicBezTo>
                    <a:close/>
                    <a:moveTo>
                      <a:pt x="72" y="48"/>
                    </a:moveTo>
                    <a:cubicBezTo>
                      <a:pt x="72" y="36"/>
                      <a:pt x="61" y="25"/>
                      <a:pt x="49" y="25"/>
                    </a:cubicBezTo>
                    <a:cubicBezTo>
                      <a:pt x="36" y="25"/>
                      <a:pt x="26" y="36"/>
                      <a:pt x="26" y="48"/>
                    </a:cubicBezTo>
                    <a:cubicBezTo>
                      <a:pt x="26" y="61"/>
                      <a:pt x="36" y="71"/>
                      <a:pt x="49" y="71"/>
                    </a:cubicBezTo>
                    <a:cubicBezTo>
                      <a:pt x="61" y="71"/>
                      <a:pt x="72" y="61"/>
                      <a:pt x="72" y="48"/>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2" name="Oval 1809">
                <a:extLst>
                  <a:ext uri="{FF2B5EF4-FFF2-40B4-BE49-F238E27FC236}">
                    <a16:creationId xmlns:a16="http://schemas.microsoft.com/office/drawing/2014/main" id="{DE6D6CF8-7692-ACB6-AE48-4C1F114B0EC7}"/>
                  </a:ext>
                </a:extLst>
              </p:cNvPr>
              <p:cNvSpPr>
                <a:spLocks noChangeArrowheads="1"/>
              </p:cNvSpPr>
              <p:nvPr/>
            </p:nvSpPr>
            <p:spPr bwMode="auto">
              <a:xfrm>
                <a:off x="6839109" y="6041345"/>
                <a:ext cx="180975" cy="182563"/>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3" name="Oval 1810">
                <a:extLst>
                  <a:ext uri="{FF2B5EF4-FFF2-40B4-BE49-F238E27FC236}">
                    <a16:creationId xmlns:a16="http://schemas.microsoft.com/office/drawing/2014/main" id="{BD22393F-CE2A-468D-2DED-756ACF9EEDBC}"/>
                  </a:ext>
                </a:extLst>
              </p:cNvPr>
              <p:cNvSpPr>
                <a:spLocks noChangeArrowheads="1"/>
              </p:cNvSpPr>
              <p:nvPr/>
            </p:nvSpPr>
            <p:spPr bwMode="auto">
              <a:xfrm>
                <a:off x="6886734" y="6088970"/>
                <a:ext cx="87313" cy="857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4" name="Freeform 1811">
                <a:extLst>
                  <a:ext uri="{FF2B5EF4-FFF2-40B4-BE49-F238E27FC236}">
                    <a16:creationId xmlns:a16="http://schemas.microsoft.com/office/drawing/2014/main" id="{87A6CAC6-D6DC-8AD0-1918-D3B764652F24}"/>
                  </a:ext>
                </a:extLst>
              </p:cNvPr>
              <p:cNvSpPr>
                <a:spLocks/>
              </p:cNvSpPr>
              <p:nvPr/>
            </p:nvSpPr>
            <p:spPr bwMode="auto">
              <a:xfrm>
                <a:off x="5940584" y="5474608"/>
                <a:ext cx="695325" cy="400050"/>
              </a:xfrm>
              <a:custGeom>
                <a:avLst/>
                <a:gdLst>
                  <a:gd name="T0" fmla="*/ 405 w 438"/>
                  <a:gd name="T1" fmla="*/ 252 h 252"/>
                  <a:gd name="T2" fmla="*/ 0 w 438"/>
                  <a:gd name="T3" fmla="*/ 75 h 252"/>
                  <a:gd name="T4" fmla="*/ 34 w 438"/>
                  <a:gd name="T5" fmla="*/ 0 h 252"/>
                  <a:gd name="T6" fmla="*/ 438 w 438"/>
                  <a:gd name="T7" fmla="*/ 178 h 252"/>
                  <a:gd name="T8" fmla="*/ 405 w 438"/>
                  <a:gd name="T9" fmla="*/ 252 h 252"/>
                </a:gdLst>
                <a:ahLst/>
                <a:cxnLst>
                  <a:cxn ang="0">
                    <a:pos x="T0" y="T1"/>
                  </a:cxn>
                  <a:cxn ang="0">
                    <a:pos x="T2" y="T3"/>
                  </a:cxn>
                  <a:cxn ang="0">
                    <a:pos x="T4" y="T5"/>
                  </a:cxn>
                  <a:cxn ang="0">
                    <a:pos x="T6" y="T7"/>
                  </a:cxn>
                  <a:cxn ang="0">
                    <a:pos x="T8" y="T9"/>
                  </a:cxn>
                </a:cxnLst>
                <a:rect l="0" t="0" r="r" b="b"/>
                <a:pathLst>
                  <a:path w="438" h="252">
                    <a:moveTo>
                      <a:pt x="405" y="252"/>
                    </a:moveTo>
                    <a:lnTo>
                      <a:pt x="0" y="75"/>
                    </a:lnTo>
                    <a:lnTo>
                      <a:pt x="34" y="0"/>
                    </a:lnTo>
                    <a:lnTo>
                      <a:pt x="438" y="178"/>
                    </a:lnTo>
                    <a:lnTo>
                      <a:pt x="405" y="252"/>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5" name="Freeform 1812">
                <a:extLst>
                  <a:ext uri="{FF2B5EF4-FFF2-40B4-BE49-F238E27FC236}">
                    <a16:creationId xmlns:a16="http://schemas.microsoft.com/office/drawing/2014/main" id="{48F638E1-6B12-06CC-20A0-94ADE1A565A5}"/>
                  </a:ext>
                </a:extLst>
              </p:cNvPr>
              <p:cNvSpPr>
                <a:spLocks/>
              </p:cNvSpPr>
              <p:nvPr/>
            </p:nvSpPr>
            <p:spPr bwMode="auto">
              <a:xfrm>
                <a:off x="5940584" y="5474608"/>
                <a:ext cx="695325" cy="400050"/>
              </a:xfrm>
              <a:custGeom>
                <a:avLst/>
                <a:gdLst>
                  <a:gd name="T0" fmla="*/ 405 w 438"/>
                  <a:gd name="T1" fmla="*/ 252 h 252"/>
                  <a:gd name="T2" fmla="*/ 0 w 438"/>
                  <a:gd name="T3" fmla="*/ 75 h 252"/>
                  <a:gd name="T4" fmla="*/ 34 w 438"/>
                  <a:gd name="T5" fmla="*/ 0 h 252"/>
                  <a:gd name="T6" fmla="*/ 438 w 438"/>
                  <a:gd name="T7" fmla="*/ 178 h 252"/>
                  <a:gd name="T8" fmla="*/ 405 w 438"/>
                  <a:gd name="T9" fmla="*/ 252 h 252"/>
                </a:gdLst>
                <a:ahLst/>
                <a:cxnLst>
                  <a:cxn ang="0">
                    <a:pos x="T0" y="T1"/>
                  </a:cxn>
                  <a:cxn ang="0">
                    <a:pos x="T2" y="T3"/>
                  </a:cxn>
                  <a:cxn ang="0">
                    <a:pos x="T4" y="T5"/>
                  </a:cxn>
                  <a:cxn ang="0">
                    <a:pos x="T6" y="T7"/>
                  </a:cxn>
                  <a:cxn ang="0">
                    <a:pos x="T8" y="T9"/>
                  </a:cxn>
                </a:cxnLst>
                <a:rect l="0" t="0" r="r" b="b"/>
                <a:pathLst>
                  <a:path w="438" h="252">
                    <a:moveTo>
                      <a:pt x="405" y="252"/>
                    </a:moveTo>
                    <a:lnTo>
                      <a:pt x="0" y="75"/>
                    </a:lnTo>
                    <a:lnTo>
                      <a:pt x="34" y="0"/>
                    </a:lnTo>
                    <a:lnTo>
                      <a:pt x="438" y="178"/>
                    </a:lnTo>
                    <a:lnTo>
                      <a:pt x="405" y="252"/>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6" name="Freeform 1813">
                <a:extLst>
                  <a:ext uri="{FF2B5EF4-FFF2-40B4-BE49-F238E27FC236}">
                    <a16:creationId xmlns:a16="http://schemas.microsoft.com/office/drawing/2014/main" id="{9E6C52AB-A687-4810-4747-FB785D29E328}"/>
                  </a:ext>
                </a:extLst>
              </p:cNvPr>
              <p:cNvSpPr>
                <a:spLocks/>
              </p:cNvSpPr>
              <p:nvPr/>
            </p:nvSpPr>
            <p:spPr bwMode="auto">
              <a:xfrm>
                <a:off x="5940584" y="5474608"/>
                <a:ext cx="695325" cy="400050"/>
              </a:xfrm>
              <a:custGeom>
                <a:avLst/>
                <a:gdLst>
                  <a:gd name="T0" fmla="*/ 405 w 438"/>
                  <a:gd name="T1" fmla="*/ 252 h 252"/>
                  <a:gd name="T2" fmla="*/ 0 w 438"/>
                  <a:gd name="T3" fmla="*/ 75 h 252"/>
                  <a:gd name="T4" fmla="*/ 34 w 438"/>
                  <a:gd name="T5" fmla="*/ 0 h 252"/>
                  <a:gd name="T6" fmla="*/ 438 w 438"/>
                  <a:gd name="T7" fmla="*/ 178 h 252"/>
                  <a:gd name="T8" fmla="*/ 405 w 438"/>
                  <a:gd name="T9" fmla="*/ 252 h 252"/>
                </a:gdLst>
                <a:ahLst/>
                <a:cxnLst>
                  <a:cxn ang="0">
                    <a:pos x="T0" y="T1"/>
                  </a:cxn>
                  <a:cxn ang="0">
                    <a:pos x="T2" y="T3"/>
                  </a:cxn>
                  <a:cxn ang="0">
                    <a:pos x="T4" y="T5"/>
                  </a:cxn>
                  <a:cxn ang="0">
                    <a:pos x="T6" y="T7"/>
                  </a:cxn>
                  <a:cxn ang="0">
                    <a:pos x="T8" y="T9"/>
                  </a:cxn>
                </a:cxnLst>
                <a:rect l="0" t="0" r="r" b="b"/>
                <a:pathLst>
                  <a:path w="438" h="252">
                    <a:moveTo>
                      <a:pt x="405" y="252"/>
                    </a:moveTo>
                    <a:lnTo>
                      <a:pt x="0" y="75"/>
                    </a:lnTo>
                    <a:lnTo>
                      <a:pt x="34" y="0"/>
                    </a:lnTo>
                    <a:lnTo>
                      <a:pt x="438" y="178"/>
                    </a:lnTo>
                    <a:lnTo>
                      <a:pt x="405" y="252"/>
                    </a:lnTo>
                    <a:close/>
                  </a:path>
                </a:pathLst>
              </a:custGeom>
              <a:noFill/>
              <a:ln w="12700"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7" name="Freeform 1814">
                <a:extLst>
                  <a:ext uri="{FF2B5EF4-FFF2-40B4-BE49-F238E27FC236}">
                    <a16:creationId xmlns:a16="http://schemas.microsoft.com/office/drawing/2014/main" id="{B55E80CF-9AD7-3FE7-FD66-CBBFC3638CBE}"/>
                  </a:ext>
                </a:extLst>
              </p:cNvPr>
              <p:cNvSpPr>
                <a:spLocks/>
              </p:cNvSpPr>
              <p:nvPr/>
            </p:nvSpPr>
            <p:spPr bwMode="auto">
              <a:xfrm>
                <a:off x="5940584" y="5474608"/>
                <a:ext cx="695325" cy="400050"/>
              </a:xfrm>
              <a:custGeom>
                <a:avLst/>
                <a:gdLst>
                  <a:gd name="T0" fmla="*/ 405 w 438"/>
                  <a:gd name="T1" fmla="*/ 252 h 252"/>
                  <a:gd name="T2" fmla="*/ 0 w 438"/>
                  <a:gd name="T3" fmla="*/ 75 h 252"/>
                  <a:gd name="T4" fmla="*/ 34 w 438"/>
                  <a:gd name="T5" fmla="*/ 0 h 252"/>
                  <a:gd name="T6" fmla="*/ 438 w 438"/>
                  <a:gd name="T7" fmla="*/ 178 h 252"/>
                  <a:gd name="T8" fmla="*/ 405 w 438"/>
                  <a:gd name="T9" fmla="*/ 252 h 252"/>
                </a:gdLst>
                <a:ahLst/>
                <a:cxnLst>
                  <a:cxn ang="0">
                    <a:pos x="T0" y="T1"/>
                  </a:cxn>
                  <a:cxn ang="0">
                    <a:pos x="T2" y="T3"/>
                  </a:cxn>
                  <a:cxn ang="0">
                    <a:pos x="T4" y="T5"/>
                  </a:cxn>
                  <a:cxn ang="0">
                    <a:pos x="T6" y="T7"/>
                  </a:cxn>
                  <a:cxn ang="0">
                    <a:pos x="T8" y="T9"/>
                  </a:cxn>
                </a:cxnLst>
                <a:rect l="0" t="0" r="r" b="b"/>
                <a:pathLst>
                  <a:path w="438" h="252">
                    <a:moveTo>
                      <a:pt x="405" y="252"/>
                    </a:moveTo>
                    <a:lnTo>
                      <a:pt x="0" y="75"/>
                    </a:lnTo>
                    <a:lnTo>
                      <a:pt x="34" y="0"/>
                    </a:lnTo>
                    <a:lnTo>
                      <a:pt x="438" y="178"/>
                    </a:lnTo>
                    <a:lnTo>
                      <a:pt x="405" y="252"/>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8" name="Freeform 1815">
                <a:extLst>
                  <a:ext uri="{FF2B5EF4-FFF2-40B4-BE49-F238E27FC236}">
                    <a16:creationId xmlns:a16="http://schemas.microsoft.com/office/drawing/2014/main" id="{3EE8D642-F147-3CC9-4137-FB671D824E3F}"/>
                  </a:ext>
                </a:extLst>
              </p:cNvPr>
              <p:cNvSpPr>
                <a:spLocks/>
              </p:cNvSpPr>
              <p:nvPr/>
            </p:nvSpPr>
            <p:spPr bwMode="auto">
              <a:xfrm>
                <a:off x="5989797" y="5453970"/>
                <a:ext cx="317500" cy="385763"/>
              </a:xfrm>
              <a:custGeom>
                <a:avLst/>
                <a:gdLst>
                  <a:gd name="T0" fmla="*/ 53 w 200"/>
                  <a:gd name="T1" fmla="*/ 7 h 243"/>
                  <a:gd name="T2" fmla="*/ 0 w 200"/>
                  <a:gd name="T3" fmla="*/ 128 h 243"/>
                  <a:gd name="T4" fmla="*/ 94 w 200"/>
                  <a:gd name="T5" fmla="*/ 243 h 243"/>
                  <a:gd name="T6" fmla="*/ 95 w 200"/>
                  <a:gd name="T7" fmla="*/ 243 h 243"/>
                  <a:gd name="T8" fmla="*/ 200 w 200"/>
                  <a:gd name="T9" fmla="*/ 0 h 243"/>
                  <a:gd name="T10" fmla="*/ 53 w 200"/>
                  <a:gd name="T11" fmla="*/ 7 h 243"/>
                </a:gdLst>
                <a:ahLst/>
                <a:cxnLst>
                  <a:cxn ang="0">
                    <a:pos x="T0" y="T1"/>
                  </a:cxn>
                  <a:cxn ang="0">
                    <a:pos x="T2" y="T3"/>
                  </a:cxn>
                  <a:cxn ang="0">
                    <a:pos x="T4" y="T5"/>
                  </a:cxn>
                  <a:cxn ang="0">
                    <a:pos x="T6" y="T7"/>
                  </a:cxn>
                  <a:cxn ang="0">
                    <a:pos x="T8" y="T9"/>
                  </a:cxn>
                  <a:cxn ang="0">
                    <a:pos x="T10" y="T11"/>
                  </a:cxn>
                </a:cxnLst>
                <a:rect l="0" t="0" r="r" b="b"/>
                <a:pathLst>
                  <a:path w="200" h="243">
                    <a:moveTo>
                      <a:pt x="53" y="7"/>
                    </a:moveTo>
                    <a:lnTo>
                      <a:pt x="0" y="128"/>
                    </a:lnTo>
                    <a:lnTo>
                      <a:pt x="94" y="243"/>
                    </a:lnTo>
                    <a:lnTo>
                      <a:pt x="95" y="243"/>
                    </a:lnTo>
                    <a:lnTo>
                      <a:pt x="200" y="0"/>
                    </a:lnTo>
                    <a:lnTo>
                      <a:pt x="53" y="7"/>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39" name="Freeform 1816">
                <a:extLst>
                  <a:ext uri="{FF2B5EF4-FFF2-40B4-BE49-F238E27FC236}">
                    <a16:creationId xmlns:a16="http://schemas.microsoft.com/office/drawing/2014/main" id="{BC7EEB9F-E93B-F113-B902-80EF60D13322}"/>
                  </a:ext>
                </a:extLst>
              </p:cNvPr>
              <p:cNvSpPr>
                <a:spLocks/>
              </p:cNvSpPr>
              <p:nvPr/>
            </p:nvSpPr>
            <p:spPr bwMode="auto">
              <a:xfrm>
                <a:off x="5989797" y="5453970"/>
                <a:ext cx="317500" cy="385763"/>
              </a:xfrm>
              <a:custGeom>
                <a:avLst/>
                <a:gdLst>
                  <a:gd name="T0" fmla="*/ 53 w 200"/>
                  <a:gd name="T1" fmla="*/ 7 h 243"/>
                  <a:gd name="T2" fmla="*/ 0 w 200"/>
                  <a:gd name="T3" fmla="*/ 128 h 243"/>
                  <a:gd name="T4" fmla="*/ 94 w 200"/>
                  <a:gd name="T5" fmla="*/ 243 h 243"/>
                  <a:gd name="T6" fmla="*/ 95 w 200"/>
                  <a:gd name="T7" fmla="*/ 243 h 243"/>
                  <a:gd name="T8" fmla="*/ 200 w 200"/>
                  <a:gd name="T9" fmla="*/ 0 h 243"/>
                  <a:gd name="T10" fmla="*/ 53 w 200"/>
                  <a:gd name="T11" fmla="*/ 7 h 243"/>
                </a:gdLst>
                <a:ahLst/>
                <a:cxnLst>
                  <a:cxn ang="0">
                    <a:pos x="T0" y="T1"/>
                  </a:cxn>
                  <a:cxn ang="0">
                    <a:pos x="T2" y="T3"/>
                  </a:cxn>
                  <a:cxn ang="0">
                    <a:pos x="T4" y="T5"/>
                  </a:cxn>
                  <a:cxn ang="0">
                    <a:pos x="T6" y="T7"/>
                  </a:cxn>
                  <a:cxn ang="0">
                    <a:pos x="T8" y="T9"/>
                  </a:cxn>
                  <a:cxn ang="0">
                    <a:pos x="T10" y="T11"/>
                  </a:cxn>
                </a:cxnLst>
                <a:rect l="0" t="0" r="r" b="b"/>
                <a:pathLst>
                  <a:path w="200" h="243">
                    <a:moveTo>
                      <a:pt x="53" y="7"/>
                    </a:moveTo>
                    <a:lnTo>
                      <a:pt x="0" y="128"/>
                    </a:lnTo>
                    <a:lnTo>
                      <a:pt x="94" y="243"/>
                    </a:lnTo>
                    <a:lnTo>
                      <a:pt x="95" y="243"/>
                    </a:lnTo>
                    <a:lnTo>
                      <a:pt x="200" y="0"/>
                    </a:lnTo>
                    <a:lnTo>
                      <a:pt x="53" y="7"/>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40" name="Freeform 1817">
                <a:extLst>
                  <a:ext uri="{FF2B5EF4-FFF2-40B4-BE49-F238E27FC236}">
                    <a16:creationId xmlns:a16="http://schemas.microsoft.com/office/drawing/2014/main" id="{4B9F5B1D-4875-6329-B4D2-FD45911FB5BE}"/>
                  </a:ext>
                </a:extLst>
              </p:cNvPr>
              <p:cNvSpPr>
                <a:spLocks/>
              </p:cNvSpPr>
              <p:nvPr/>
            </p:nvSpPr>
            <p:spPr bwMode="auto">
              <a:xfrm>
                <a:off x="6269197" y="5511120"/>
                <a:ext cx="319088" cy="385763"/>
              </a:xfrm>
              <a:custGeom>
                <a:avLst/>
                <a:gdLst>
                  <a:gd name="T0" fmla="*/ 201 w 201"/>
                  <a:gd name="T1" fmla="*/ 113 h 243"/>
                  <a:gd name="T2" fmla="*/ 148 w 201"/>
                  <a:gd name="T3" fmla="*/ 234 h 243"/>
                  <a:gd name="T4" fmla="*/ 2 w 201"/>
                  <a:gd name="T5" fmla="*/ 243 h 243"/>
                  <a:gd name="T6" fmla="*/ 0 w 201"/>
                  <a:gd name="T7" fmla="*/ 242 h 243"/>
                  <a:gd name="T8" fmla="*/ 107 w 201"/>
                  <a:gd name="T9" fmla="*/ 0 h 243"/>
                  <a:gd name="T10" fmla="*/ 201 w 201"/>
                  <a:gd name="T11" fmla="*/ 113 h 243"/>
                </a:gdLst>
                <a:ahLst/>
                <a:cxnLst>
                  <a:cxn ang="0">
                    <a:pos x="T0" y="T1"/>
                  </a:cxn>
                  <a:cxn ang="0">
                    <a:pos x="T2" y="T3"/>
                  </a:cxn>
                  <a:cxn ang="0">
                    <a:pos x="T4" y="T5"/>
                  </a:cxn>
                  <a:cxn ang="0">
                    <a:pos x="T6" y="T7"/>
                  </a:cxn>
                  <a:cxn ang="0">
                    <a:pos x="T8" y="T9"/>
                  </a:cxn>
                  <a:cxn ang="0">
                    <a:pos x="T10" y="T11"/>
                  </a:cxn>
                </a:cxnLst>
                <a:rect l="0" t="0" r="r" b="b"/>
                <a:pathLst>
                  <a:path w="201" h="243">
                    <a:moveTo>
                      <a:pt x="201" y="113"/>
                    </a:moveTo>
                    <a:lnTo>
                      <a:pt x="148" y="234"/>
                    </a:lnTo>
                    <a:lnTo>
                      <a:pt x="2" y="243"/>
                    </a:lnTo>
                    <a:lnTo>
                      <a:pt x="0" y="242"/>
                    </a:lnTo>
                    <a:lnTo>
                      <a:pt x="107" y="0"/>
                    </a:lnTo>
                    <a:lnTo>
                      <a:pt x="201" y="113"/>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41" name="Freeform 1818">
                <a:extLst>
                  <a:ext uri="{FF2B5EF4-FFF2-40B4-BE49-F238E27FC236}">
                    <a16:creationId xmlns:a16="http://schemas.microsoft.com/office/drawing/2014/main" id="{50E64C2D-E01C-A222-F197-C8431F29F172}"/>
                  </a:ext>
                </a:extLst>
              </p:cNvPr>
              <p:cNvSpPr>
                <a:spLocks/>
              </p:cNvSpPr>
              <p:nvPr/>
            </p:nvSpPr>
            <p:spPr bwMode="auto">
              <a:xfrm>
                <a:off x="6269197" y="5511120"/>
                <a:ext cx="319088" cy="385763"/>
              </a:xfrm>
              <a:custGeom>
                <a:avLst/>
                <a:gdLst>
                  <a:gd name="T0" fmla="*/ 201 w 201"/>
                  <a:gd name="T1" fmla="*/ 113 h 243"/>
                  <a:gd name="T2" fmla="*/ 148 w 201"/>
                  <a:gd name="T3" fmla="*/ 234 h 243"/>
                  <a:gd name="T4" fmla="*/ 2 w 201"/>
                  <a:gd name="T5" fmla="*/ 243 h 243"/>
                  <a:gd name="T6" fmla="*/ 0 w 201"/>
                  <a:gd name="T7" fmla="*/ 242 h 243"/>
                  <a:gd name="T8" fmla="*/ 107 w 201"/>
                  <a:gd name="T9" fmla="*/ 0 h 243"/>
                  <a:gd name="T10" fmla="*/ 201 w 201"/>
                  <a:gd name="T11" fmla="*/ 113 h 243"/>
                </a:gdLst>
                <a:ahLst/>
                <a:cxnLst>
                  <a:cxn ang="0">
                    <a:pos x="T0" y="T1"/>
                  </a:cxn>
                  <a:cxn ang="0">
                    <a:pos x="T2" y="T3"/>
                  </a:cxn>
                  <a:cxn ang="0">
                    <a:pos x="T4" y="T5"/>
                  </a:cxn>
                  <a:cxn ang="0">
                    <a:pos x="T6" y="T7"/>
                  </a:cxn>
                  <a:cxn ang="0">
                    <a:pos x="T8" y="T9"/>
                  </a:cxn>
                  <a:cxn ang="0">
                    <a:pos x="T10" y="T11"/>
                  </a:cxn>
                </a:cxnLst>
                <a:rect l="0" t="0" r="r" b="b"/>
                <a:pathLst>
                  <a:path w="201" h="243">
                    <a:moveTo>
                      <a:pt x="201" y="113"/>
                    </a:moveTo>
                    <a:lnTo>
                      <a:pt x="148" y="234"/>
                    </a:lnTo>
                    <a:lnTo>
                      <a:pt x="2" y="243"/>
                    </a:lnTo>
                    <a:lnTo>
                      <a:pt x="0" y="242"/>
                    </a:lnTo>
                    <a:lnTo>
                      <a:pt x="107" y="0"/>
                    </a:lnTo>
                    <a:lnTo>
                      <a:pt x="201" y="113"/>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42" name="Freeform 1819">
                <a:extLst>
                  <a:ext uri="{FF2B5EF4-FFF2-40B4-BE49-F238E27FC236}">
                    <a16:creationId xmlns:a16="http://schemas.microsoft.com/office/drawing/2014/main" id="{8973133C-B61A-BC69-88B7-BA991C0AAEA8}"/>
                  </a:ext>
                </a:extLst>
              </p:cNvPr>
              <p:cNvSpPr>
                <a:spLocks/>
              </p:cNvSpPr>
              <p:nvPr/>
            </p:nvSpPr>
            <p:spPr bwMode="auto">
              <a:xfrm>
                <a:off x="6140609" y="5453970"/>
                <a:ext cx="298450" cy="441325"/>
              </a:xfrm>
              <a:custGeom>
                <a:avLst/>
                <a:gdLst>
                  <a:gd name="T0" fmla="*/ 81 w 188"/>
                  <a:gd name="T1" fmla="*/ 278 h 278"/>
                  <a:gd name="T2" fmla="*/ 0 w 188"/>
                  <a:gd name="T3" fmla="*/ 243 h 278"/>
                  <a:gd name="T4" fmla="*/ 105 w 188"/>
                  <a:gd name="T5" fmla="*/ 0 h 278"/>
                  <a:gd name="T6" fmla="*/ 188 w 188"/>
                  <a:gd name="T7" fmla="*/ 36 h 278"/>
                  <a:gd name="T8" fmla="*/ 81 w 188"/>
                  <a:gd name="T9" fmla="*/ 278 h 278"/>
                </a:gdLst>
                <a:ahLst/>
                <a:cxnLst>
                  <a:cxn ang="0">
                    <a:pos x="T0" y="T1"/>
                  </a:cxn>
                  <a:cxn ang="0">
                    <a:pos x="T2" y="T3"/>
                  </a:cxn>
                  <a:cxn ang="0">
                    <a:pos x="T4" y="T5"/>
                  </a:cxn>
                  <a:cxn ang="0">
                    <a:pos x="T6" y="T7"/>
                  </a:cxn>
                  <a:cxn ang="0">
                    <a:pos x="T8" y="T9"/>
                  </a:cxn>
                </a:cxnLst>
                <a:rect l="0" t="0" r="r" b="b"/>
                <a:pathLst>
                  <a:path w="188" h="278">
                    <a:moveTo>
                      <a:pt x="81" y="278"/>
                    </a:moveTo>
                    <a:lnTo>
                      <a:pt x="0" y="243"/>
                    </a:lnTo>
                    <a:lnTo>
                      <a:pt x="105" y="0"/>
                    </a:lnTo>
                    <a:lnTo>
                      <a:pt x="188" y="36"/>
                    </a:lnTo>
                    <a:lnTo>
                      <a:pt x="81" y="278"/>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243" name="Freeform 1820">
                <a:extLst>
                  <a:ext uri="{FF2B5EF4-FFF2-40B4-BE49-F238E27FC236}">
                    <a16:creationId xmlns:a16="http://schemas.microsoft.com/office/drawing/2014/main" id="{68AD5C09-4646-92D7-CA50-E4E809FB2306}"/>
                  </a:ext>
                </a:extLst>
              </p:cNvPr>
              <p:cNvSpPr>
                <a:spLocks/>
              </p:cNvSpPr>
              <p:nvPr/>
            </p:nvSpPr>
            <p:spPr bwMode="auto">
              <a:xfrm>
                <a:off x="6140609" y="5453970"/>
                <a:ext cx="298450" cy="441325"/>
              </a:xfrm>
              <a:custGeom>
                <a:avLst/>
                <a:gdLst>
                  <a:gd name="T0" fmla="*/ 81 w 188"/>
                  <a:gd name="T1" fmla="*/ 278 h 278"/>
                  <a:gd name="T2" fmla="*/ 0 w 188"/>
                  <a:gd name="T3" fmla="*/ 243 h 278"/>
                  <a:gd name="T4" fmla="*/ 105 w 188"/>
                  <a:gd name="T5" fmla="*/ 0 h 278"/>
                  <a:gd name="T6" fmla="*/ 188 w 188"/>
                  <a:gd name="T7" fmla="*/ 36 h 278"/>
                  <a:gd name="T8" fmla="*/ 81 w 188"/>
                  <a:gd name="T9" fmla="*/ 278 h 278"/>
                </a:gdLst>
                <a:ahLst/>
                <a:cxnLst>
                  <a:cxn ang="0">
                    <a:pos x="T0" y="T1"/>
                  </a:cxn>
                  <a:cxn ang="0">
                    <a:pos x="T2" y="T3"/>
                  </a:cxn>
                  <a:cxn ang="0">
                    <a:pos x="T4" y="T5"/>
                  </a:cxn>
                  <a:cxn ang="0">
                    <a:pos x="T6" y="T7"/>
                  </a:cxn>
                  <a:cxn ang="0">
                    <a:pos x="T8" y="T9"/>
                  </a:cxn>
                </a:cxnLst>
                <a:rect l="0" t="0" r="r" b="b"/>
                <a:pathLst>
                  <a:path w="188" h="278">
                    <a:moveTo>
                      <a:pt x="81" y="278"/>
                    </a:moveTo>
                    <a:lnTo>
                      <a:pt x="0" y="243"/>
                    </a:lnTo>
                    <a:lnTo>
                      <a:pt x="105" y="0"/>
                    </a:lnTo>
                    <a:lnTo>
                      <a:pt x="188" y="36"/>
                    </a:lnTo>
                    <a:lnTo>
                      <a:pt x="81" y="278"/>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grpSp>
        <p:grpSp>
          <p:nvGrpSpPr>
            <p:cNvPr id="150" name="Group 398">
              <a:extLst>
                <a:ext uri="{FF2B5EF4-FFF2-40B4-BE49-F238E27FC236}">
                  <a16:creationId xmlns:a16="http://schemas.microsoft.com/office/drawing/2014/main" id="{4DE47B42-5CD1-ABF7-EE67-B78CEBA3FA9D}"/>
                </a:ext>
              </a:extLst>
            </p:cNvPr>
            <p:cNvGrpSpPr>
              <a:grpSpLocks noChangeAspect="1"/>
            </p:cNvGrpSpPr>
            <p:nvPr/>
          </p:nvGrpSpPr>
          <p:grpSpPr>
            <a:xfrm>
              <a:off x="6603775" y="4113258"/>
              <a:ext cx="793916" cy="412057"/>
              <a:chOff x="7386797" y="5552395"/>
              <a:chExt cx="1293813" cy="671513"/>
            </a:xfrm>
          </p:grpSpPr>
          <p:sp>
            <p:nvSpPr>
              <p:cNvPr id="151" name="Rectangle 1821">
                <a:extLst>
                  <a:ext uri="{FF2B5EF4-FFF2-40B4-BE49-F238E27FC236}">
                    <a16:creationId xmlns:a16="http://schemas.microsoft.com/office/drawing/2014/main" id="{07684707-4376-B38B-0577-DB06C69D7FA0}"/>
                  </a:ext>
                </a:extLst>
              </p:cNvPr>
              <p:cNvSpPr>
                <a:spLocks noChangeArrowheads="1"/>
              </p:cNvSpPr>
              <p:nvPr/>
            </p:nvSpPr>
            <p:spPr bwMode="auto">
              <a:xfrm>
                <a:off x="7651909" y="5903233"/>
                <a:ext cx="331788" cy="134938"/>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52" name="Rectangle 1822">
                <a:extLst>
                  <a:ext uri="{FF2B5EF4-FFF2-40B4-BE49-F238E27FC236}">
                    <a16:creationId xmlns:a16="http://schemas.microsoft.com/office/drawing/2014/main" id="{BCCB5A9A-B9AC-3731-1C0E-1E91177BA45E}"/>
                  </a:ext>
                </a:extLst>
              </p:cNvPr>
              <p:cNvSpPr>
                <a:spLocks noChangeArrowheads="1"/>
              </p:cNvSpPr>
              <p:nvPr/>
            </p:nvSpPr>
            <p:spPr bwMode="auto">
              <a:xfrm>
                <a:off x="7651909" y="5903233"/>
                <a:ext cx="331788" cy="134938"/>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53" name="Freeform 1823">
                <a:extLst>
                  <a:ext uri="{FF2B5EF4-FFF2-40B4-BE49-F238E27FC236}">
                    <a16:creationId xmlns:a16="http://schemas.microsoft.com/office/drawing/2014/main" id="{4411CEF6-544E-CCE9-0395-62367292B485}"/>
                  </a:ext>
                </a:extLst>
              </p:cNvPr>
              <p:cNvSpPr>
                <a:spLocks/>
              </p:cNvSpPr>
              <p:nvPr/>
            </p:nvSpPr>
            <p:spPr bwMode="auto">
              <a:xfrm>
                <a:off x="8164672" y="5777820"/>
                <a:ext cx="134938" cy="201613"/>
              </a:xfrm>
              <a:custGeom>
                <a:avLst/>
                <a:gdLst>
                  <a:gd name="T0" fmla="*/ 71 w 85"/>
                  <a:gd name="T1" fmla="*/ 0 h 127"/>
                  <a:gd name="T2" fmla="*/ 45 w 85"/>
                  <a:gd name="T3" fmla="*/ 0 h 127"/>
                  <a:gd name="T4" fmla="*/ 0 w 85"/>
                  <a:gd name="T5" fmla="*/ 127 h 127"/>
                  <a:gd name="T6" fmla="*/ 85 w 85"/>
                  <a:gd name="T7" fmla="*/ 127 h 127"/>
                  <a:gd name="T8" fmla="*/ 71 w 85"/>
                  <a:gd name="T9" fmla="*/ 0 h 127"/>
                </a:gdLst>
                <a:ahLst/>
                <a:cxnLst>
                  <a:cxn ang="0">
                    <a:pos x="T0" y="T1"/>
                  </a:cxn>
                  <a:cxn ang="0">
                    <a:pos x="T2" y="T3"/>
                  </a:cxn>
                  <a:cxn ang="0">
                    <a:pos x="T4" y="T5"/>
                  </a:cxn>
                  <a:cxn ang="0">
                    <a:pos x="T6" y="T7"/>
                  </a:cxn>
                  <a:cxn ang="0">
                    <a:pos x="T8" y="T9"/>
                  </a:cxn>
                </a:cxnLst>
                <a:rect l="0" t="0" r="r" b="b"/>
                <a:pathLst>
                  <a:path w="85" h="127">
                    <a:moveTo>
                      <a:pt x="71" y="0"/>
                    </a:moveTo>
                    <a:lnTo>
                      <a:pt x="45" y="0"/>
                    </a:lnTo>
                    <a:lnTo>
                      <a:pt x="0" y="127"/>
                    </a:lnTo>
                    <a:lnTo>
                      <a:pt x="85" y="127"/>
                    </a:lnTo>
                    <a:lnTo>
                      <a:pt x="71"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54" name="Freeform 1824">
                <a:extLst>
                  <a:ext uri="{FF2B5EF4-FFF2-40B4-BE49-F238E27FC236}">
                    <a16:creationId xmlns:a16="http://schemas.microsoft.com/office/drawing/2014/main" id="{676C8590-7B46-A8C9-52CD-AB7F1512FCB4}"/>
                  </a:ext>
                </a:extLst>
              </p:cNvPr>
              <p:cNvSpPr>
                <a:spLocks/>
              </p:cNvSpPr>
              <p:nvPr/>
            </p:nvSpPr>
            <p:spPr bwMode="auto">
              <a:xfrm>
                <a:off x="8164672" y="5777820"/>
                <a:ext cx="134938" cy="201613"/>
              </a:xfrm>
              <a:custGeom>
                <a:avLst/>
                <a:gdLst>
                  <a:gd name="T0" fmla="*/ 71 w 85"/>
                  <a:gd name="T1" fmla="*/ 0 h 127"/>
                  <a:gd name="T2" fmla="*/ 45 w 85"/>
                  <a:gd name="T3" fmla="*/ 0 h 127"/>
                  <a:gd name="T4" fmla="*/ 0 w 85"/>
                  <a:gd name="T5" fmla="*/ 127 h 127"/>
                  <a:gd name="T6" fmla="*/ 85 w 85"/>
                  <a:gd name="T7" fmla="*/ 127 h 127"/>
                  <a:gd name="T8" fmla="*/ 71 w 85"/>
                  <a:gd name="T9" fmla="*/ 0 h 127"/>
                </a:gdLst>
                <a:ahLst/>
                <a:cxnLst>
                  <a:cxn ang="0">
                    <a:pos x="T0" y="T1"/>
                  </a:cxn>
                  <a:cxn ang="0">
                    <a:pos x="T2" y="T3"/>
                  </a:cxn>
                  <a:cxn ang="0">
                    <a:pos x="T4" y="T5"/>
                  </a:cxn>
                  <a:cxn ang="0">
                    <a:pos x="T6" y="T7"/>
                  </a:cxn>
                  <a:cxn ang="0">
                    <a:pos x="T8" y="T9"/>
                  </a:cxn>
                </a:cxnLst>
                <a:rect l="0" t="0" r="r" b="b"/>
                <a:pathLst>
                  <a:path w="85" h="127">
                    <a:moveTo>
                      <a:pt x="71" y="0"/>
                    </a:moveTo>
                    <a:lnTo>
                      <a:pt x="45" y="0"/>
                    </a:lnTo>
                    <a:lnTo>
                      <a:pt x="0" y="127"/>
                    </a:lnTo>
                    <a:lnTo>
                      <a:pt x="85" y="127"/>
                    </a:lnTo>
                    <a:lnTo>
                      <a:pt x="71"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55" name="Rectangle 1825">
                <a:extLst>
                  <a:ext uri="{FF2B5EF4-FFF2-40B4-BE49-F238E27FC236}">
                    <a16:creationId xmlns:a16="http://schemas.microsoft.com/office/drawing/2014/main" id="{42188546-2A5D-17A8-C5DD-FD78B73159BB}"/>
                  </a:ext>
                </a:extLst>
              </p:cNvPr>
              <p:cNvSpPr>
                <a:spLocks noChangeArrowheads="1"/>
              </p:cNvSpPr>
              <p:nvPr/>
            </p:nvSpPr>
            <p:spPr bwMode="auto">
              <a:xfrm>
                <a:off x="7461409" y="5998483"/>
                <a:ext cx="133350" cy="61913"/>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56" name="Rectangle 1826">
                <a:extLst>
                  <a:ext uri="{FF2B5EF4-FFF2-40B4-BE49-F238E27FC236}">
                    <a16:creationId xmlns:a16="http://schemas.microsoft.com/office/drawing/2014/main" id="{23246FCA-139A-B3C1-A59E-655285B1564D}"/>
                  </a:ext>
                </a:extLst>
              </p:cNvPr>
              <p:cNvSpPr>
                <a:spLocks noChangeArrowheads="1"/>
              </p:cNvSpPr>
              <p:nvPr/>
            </p:nvSpPr>
            <p:spPr bwMode="auto">
              <a:xfrm>
                <a:off x="7461409" y="5998483"/>
                <a:ext cx="133350" cy="61913"/>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57" name="Freeform 1827">
                <a:extLst>
                  <a:ext uri="{FF2B5EF4-FFF2-40B4-BE49-F238E27FC236}">
                    <a16:creationId xmlns:a16="http://schemas.microsoft.com/office/drawing/2014/main" id="{4ACB231D-C862-E0CC-BB44-976834BD27E2}"/>
                  </a:ext>
                </a:extLst>
              </p:cNvPr>
              <p:cNvSpPr>
                <a:spLocks/>
              </p:cNvSpPr>
              <p:nvPr/>
            </p:nvSpPr>
            <p:spPr bwMode="auto">
              <a:xfrm>
                <a:off x="7531259" y="5982608"/>
                <a:ext cx="773113" cy="160338"/>
              </a:xfrm>
              <a:custGeom>
                <a:avLst/>
                <a:gdLst>
                  <a:gd name="T0" fmla="*/ 487 w 487"/>
                  <a:gd name="T1" fmla="*/ 101 h 101"/>
                  <a:gd name="T2" fmla="*/ 0 w 487"/>
                  <a:gd name="T3" fmla="*/ 101 h 101"/>
                  <a:gd name="T4" fmla="*/ 45 w 487"/>
                  <a:gd name="T5" fmla="*/ 0 h 101"/>
                  <a:gd name="T6" fmla="*/ 487 w 487"/>
                  <a:gd name="T7" fmla="*/ 0 h 101"/>
                  <a:gd name="T8" fmla="*/ 487 w 487"/>
                  <a:gd name="T9" fmla="*/ 101 h 101"/>
                </a:gdLst>
                <a:ahLst/>
                <a:cxnLst>
                  <a:cxn ang="0">
                    <a:pos x="T0" y="T1"/>
                  </a:cxn>
                  <a:cxn ang="0">
                    <a:pos x="T2" y="T3"/>
                  </a:cxn>
                  <a:cxn ang="0">
                    <a:pos x="T4" y="T5"/>
                  </a:cxn>
                  <a:cxn ang="0">
                    <a:pos x="T6" y="T7"/>
                  </a:cxn>
                  <a:cxn ang="0">
                    <a:pos x="T8" y="T9"/>
                  </a:cxn>
                </a:cxnLst>
                <a:rect l="0" t="0" r="r" b="b"/>
                <a:pathLst>
                  <a:path w="487" h="101">
                    <a:moveTo>
                      <a:pt x="487" y="101"/>
                    </a:moveTo>
                    <a:lnTo>
                      <a:pt x="0" y="101"/>
                    </a:lnTo>
                    <a:lnTo>
                      <a:pt x="45" y="0"/>
                    </a:lnTo>
                    <a:lnTo>
                      <a:pt x="487" y="0"/>
                    </a:lnTo>
                    <a:lnTo>
                      <a:pt x="487" y="101"/>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58" name="Freeform 1828">
                <a:extLst>
                  <a:ext uri="{FF2B5EF4-FFF2-40B4-BE49-F238E27FC236}">
                    <a16:creationId xmlns:a16="http://schemas.microsoft.com/office/drawing/2014/main" id="{2B7B6891-963A-C207-A259-812324AADED4}"/>
                  </a:ext>
                </a:extLst>
              </p:cNvPr>
              <p:cNvSpPr>
                <a:spLocks/>
              </p:cNvSpPr>
              <p:nvPr/>
            </p:nvSpPr>
            <p:spPr bwMode="auto">
              <a:xfrm>
                <a:off x="7531259" y="5982608"/>
                <a:ext cx="773113" cy="160338"/>
              </a:xfrm>
              <a:custGeom>
                <a:avLst/>
                <a:gdLst>
                  <a:gd name="T0" fmla="*/ 487 w 487"/>
                  <a:gd name="T1" fmla="*/ 101 h 101"/>
                  <a:gd name="T2" fmla="*/ 0 w 487"/>
                  <a:gd name="T3" fmla="*/ 101 h 101"/>
                  <a:gd name="T4" fmla="*/ 45 w 487"/>
                  <a:gd name="T5" fmla="*/ 0 h 101"/>
                  <a:gd name="T6" fmla="*/ 487 w 487"/>
                  <a:gd name="T7" fmla="*/ 0 h 101"/>
                  <a:gd name="T8" fmla="*/ 487 w 487"/>
                  <a:gd name="T9" fmla="*/ 101 h 101"/>
                </a:gdLst>
                <a:ahLst/>
                <a:cxnLst>
                  <a:cxn ang="0">
                    <a:pos x="T0" y="T1"/>
                  </a:cxn>
                  <a:cxn ang="0">
                    <a:pos x="T2" y="T3"/>
                  </a:cxn>
                  <a:cxn ang="0">
                    <a:pos x="T4" y="T5"/>
                  </a:cxn>
                  <a:cxn ang="0">
                    <a:pos x="T6" y="T7"/>
                  </a:cxn>
                  <a:cxn ang="0">
                    <a:pos x="T8" y="T9"/>
                  </a:cxn>
                </a:cxnLst>
                <a:rect l="0" t="0" r="r" b="b"/>
                <a:pathLst>
                  <a:path w="487" h="101">
                    <a:moveTo>
                      <a:pt x="487" y="101"/>
                    </a:moveTo>
                    <a:lnTo>
                      <a:pt x="0" y="101"/>
                    </a:lnTo>
                    <a:lnTo>
                      <a:pt x="45" y="0"/>
                    </a:lnTo>
                    <a:lnTo>
                      <a:pt x="487" y="0"/>
                    </a:lnTo>
                    <a:lnTo>
                      <a:pt x="487" y="101"/>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59" name="Rectangle 1829">
                <a:extLst>
                  <a:ext uri="{FF2B5EF4-FFF2-40B4-BE49-F238E27FC236}">
                    <a16:creationId xmlns:a16="http://schemas.microsoft.com/office/drawing/2014/main" id="{98C22F7D-9723-0F00-B5B1-316D1DC15A93}"/>
                  </a:ext>
                </a:extLst>
              </p:cNvPr>
              <p:cNvSpPr>
                <a:spLocks noChangeArrowheads="1"/>
              </p:cNvSpPr>
              <p:nvPr/>
            </p:nvSpPr>
            <p:spPr bwMode="auto">
              <a:xfrm>
                <a:off x="7531259" y="6100083"/>
                <a:ext cx="1149350" cy="42863"/>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0" name="Rectangle 1830">
                <a:extLst>
                  <a:ext uri="{FF2B5EF4-FFF2-40B4-BE49-F238E27FC236}">
                    <a16:creationId xmlns:a16="http://schemas.microsoft.com/office/drawing/2014/main" id="{B113ADCE-FA03-8050-0804-AEED6A217263}"/>
                  </a:ext>
                </a:extLst>
              </p:cNvPr>
              <p:cNvSpPr>
                <a:spLocks noChangeArrowheads="1"/>
              </p:cNvSpPr>
              <p:nvPr/>
            </p:nvSpPr>
            <p:spPr bwMode="auto">
              <a:xfrm>
                <a:off x="7531259" y="6100083"/>
                <a:ext cx="1149350" cy="42863"/>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1" name="Freeform 1831">
                <a:extLst>
                  <a:ext uri="{FF2B5EF4-FFF2-40B4-BE49-F238E27FC236}">
                    <a16:creationId xmlns:a16="http://schemas.microsoft.com/office/drawing/2014/main" id="{F375ACCC-C6FA-76E8-795A-0AE2A53C4F86}"/>
                  </a:ext>
                </a:extLst>
              </p:cNvPr>
              <p:cNvSpPr>
                <a:spLocks/>
              </p:cNvSpPr>
              <p:nvPr/>
            </p:nvSpPr>
            <p:spPr bwMode="auto">
              <a:xfrm>
                <a:off x="8272622" y="5660345"/>
                <a:ext cx="407988" cy="439738"/>
              </a:xfrm>
              <a:custGeom>
                <a:avLst/>
                <a:gdLst>
                  <a:gd name="T0" fmla="*/ 180 w 257"/>
                  <a:gd name="T1" fmla="*/ 0 h 277"/>
                  <a:gd name="T2" fmla="*/ 0 w 257"/>
                  <a:gd name="T3" fmla="*/ 0 h 277"/>
                  <a:gd name="T4" fmla="*/ 0 w 257"/>
                  <a:gd name="T5" fmla="*/ 277 h 277"/>
                  <a:gd name="T6" fmla="*/ 257 w 257"/>
                  <a:gd name="T7" fmla="*/ 277 h 277"/>
                  <a:gd name="T8" fmla="*/ 257 w 257"/>
                  <a:gd name="T9" fmla="*/ 128 h 277"/>
                  <a:gd name="T10" fmla="*/ 180 w 257"/>
                  <a:gd name="T11" fmla="*/ 0 h 277"/>
                </a:gdLst>
                <a:ahLst/>
                <a:cxnLst>
                  <a:cxn ang="0">
                    <a:pos x="T0" y="T1"/>
                  </a:cxn>
                  <a:cxn ang="0">
                    <a:pos x="T2" y="T3"/>
                  </a:cxn>
                  <a:cxn ang="0">
                    <a:pos x="T4" y="T5"/>
                  </a:cxn>
                  <a:cxn ang="0">
                    <a:pos x="T6" y="T7"/>
                  </a:cxn>
                  <a:cxn ang="0">
                    <a:pos x="T8" y="T9"/>
                  </a:cxn>
                  <a:cxn ang="0">
                    <a:pos x="T10" y="T11"/>
                  </a:cxn>
                </a:cxnLst>
                <a:rect l="0" t="0" r="r" b="b"/>
                <a:pathLst>
                  <a:path w="257" h="277">
                    <a:moveTo>
                      <a:pt x="180" y="0"/>
                    </a:moveTo>
                    <a:lnTo>
                      <a:pt x="0" y="0"/>
                    </a:lnTo>
                    <a:lnTo>
                      <a:pt x="0" y="277"/>
                    </a:lnTo>
                    <a:lnTo>
                      <a:pt x="257" y="277"/>
                    </a:lnTo>
                    <a:lnTo>
                      <a:pt x="257" y="128"/>
                    </a:lnTo>
                    <a:lnTo>
                      <a:pt x="180"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2" name="Freeform 1832">
                <a:extLst>
                  <a:ext uri="{FF2B5EF4-FFF2-40B4-BE49-F238E27FC236}">
                    <a16:creationId xmlns:a16="http://schemas.microsoft.com/office/drawing/2014/main" id="{D016B104-C4B1-E40E-9B67-6F53190C7C07}"/>
                  </a:ext>
                </a:extLst>
              </p:cNvPr>
              <p:cNvSpPr>
                <a:spLocks/>
              </p:cNvSpPr>
              <p:nvPr/>
            </p:nvSpPr>
            <p:spPr bwMode="auto">
              <a:xfrm>
                <a:off x="8272622" y="5660345"/>
                <a:ext cx="407988" cy="439738"/>
              </a:xfrm>
              <a:custGeom>
                <a:avLst/>
                <a:gdLst>
                  <a:gd name="T0" fmla="*/ 180 w 257"/>
                  <a:gd name="T1" fmla="*/ 0 h 277"/>
                  <a:gd name="T2" fmla="*/ 0 w 257"/>
                  <a:gd name="T3" fmla="*/ 0 h 277"/>
                  <a:gd name="T4" fmla="*/ 0 w 257"/>
                  <a:gd name="T5" fmla="*/ 277 h 277"/>
                  <a:gd name="T6" fmla="*/ 257 w 257"/>
                  <a:gd name="T7" fmla="*/ 277 h 277"/>
                  <a:gd name="T8" fmla="*/ 257 w 257"/>
                  <a:gd name="T9" fmla="*/ 128 h 277"/>
                  <a:gd name="T10" fmla="*/ 180 w 257"/>
                  <a:gd name="T11" fmla="*/ 0 h 277"/>
                </a:gdLst>
                <a:ahLst/>
                <a:cxnLst>
                  <a:cxn ang="0">
                    <a:pos x="T0" y="T1"/>
                  </a:cxn>
                  <a:cxn ang="0">
                    <a:pos x="T2" y="T3"/>
                  </a:cxn>
                  <a:cxn ang="0">
                    <a:pos x="T4" y="T5"/>
                  </a:cxn>
                  <a:cxn ang="0">
                    <a:pos x="T6" y="T7"/>
                  </a:cxn>
                  <a:cxn ang="0">
                    <a:pos x="T8" y="T9"/>
                  </a:cxn>
                  <a:cxn ang="0">
                    <a:pos x="T10" y="T11"/>
                  </a:cxn>
                </a:cxnLst>
                <a:rect l="0" t="0" r="r" b="b"/>
                <a:pathLst>
                  <a:path w="257" h="277">
                    <a:moveTo>
                      <a:pt x="180" y="0"/>
                    </a:moveTo>
                    <a:lnTo>
                      <a:pt x="0" y="0"/>
                    </a:lnTo>
                    <a:lnTo>
                      <a:pt x="0" y="277"/>
                    </a:lnTo>
                    <a:lnTo>
                      <a:pt x="257" y="277"/>
                    </a:lnTo>
                    <a:lnTo>
                      <a:pt x="257" y="128"/>
                    </a:lnTo>
                    <a:lnTo>
                      <a:pt x="180"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3" name="Freeform 1833">
                <a:extLst>
                  <a:ext uri="{FF2B5EF4-FFF2-40B4-BE49-F238E27FC236}">
                    <a16:creationId xmlns:a16="http://schemas.microsoft.com/office/drawing/2014/main" id="{522008E1-2EB2-0B0A-4D34-098005F4627A}"/>
                  </a:ext>
                </a:extLst>
              </p:cNvPr>
              <p:cNvSpPr>
                <a:spLocks/>
              </p:cNvSpPr>
              <p:nvPr/>
            </p:nvSpPr>
            <p:spPr bwMode="auto">
              <a:xfrm>
                <a:off x="8345647" y="5725433"/>
                <a:ext cx="247650" cy="127000"/>
              </a:xfrm>
              <a:custGeom>
                <a:avLst/>
                <a:gdLst>
                  <a:gd name="T0" fmla="*/ 156 w 156"/>
                  <a:gd name="T1" fmla="*/ 80 h 80"/>
                  <a:gd name="T2" fmla="*/ 107 w 156"/>
                  <a:gd name="T3" fmla="*/ 0 h 80"/>
                  <a:gd name="T4" fmla="*/ 0 w 156"/>
                  <a:gd name="T5" fmla="*/ 0 h 80"/>
                  <a:gd name="T6" fmla="*/ 0 w 156"/>
                  <a:gd name="T7" fmla="*/ 80 h 80"/>
                  <a:gd name="T8" fmla="*/ 156 w 156"/>
                  <a:gd name="T9" fmla="*/ 80 h 80"/>
                </a:gdLst>
                <a:ahLst/>
                <a:cxnLst>
                  <a:cxn ang="0">
                    <a:pos x="T0" y="T1"/>
                  </a:cxn>
                  <a:cxn ang="0">
                    <a:pos x="T2" y="T3"/>
                  </a:cxn>
                  <a:cxn ang="0">
                    <a:pos x="T4" y="T5"/>
                  </a:cxn>
                  <a:cxn ang="0">
                    <a:pos x="T6" y="T7"/>
                  </a:cxn>
                  <a:cxn ang="0">
                    <a:pos x="T8" y="T9"/>
                  </a:cxn>
                </a:cxnLst>
                <a:rect l="0" t="0" r="r" b="b"/>
                <a:pathLst>
                  <a:path w="156" h="80">
                    <a:moveTo>
                      <a:pt x="156" y="80"/>
                    </a:moveTo>
                    <a:lnTo>
                      <a:pt x="107" y="0"/>
                    </a:lnTo>
                    <a:lnTo>
                      <a:pt x="0" y="0"/>
                    </a:lnTo>
                    <a:lnTo>
                      <a:pt x="0" y="80"/>
                    </a:lnTo>
                    <a:lnTo>
                      <a:pt x="156" y="8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4" name="Freeform 1834">
                <a:extLst>
                  <a:ext uri="{FF2B5EF4-FFF2-40B4-BE49-F238E27FC236}">
                    <a16:creationId xmlns:a16="http://schemas.microsoft.com/office/drawing/2014/main" id="{4E192238-A367-C4AD-C8D3-40815906AB70}"/>
                  </a:ext>
                </a:extLst>
              </p:cNvPr>
              <p:cNvSpPr>
                <a:spLocks/>
              </p:cNvSpPr>
              <p:nvPr/>
            </p:nvSpPr>
            <p:spPr bwMode="auto">
              <a:xfrm>
                <a:off x="8345647" y="5725433"/>
                <a:ext cx="247650" cy="127000"/>
              </a:xfrm>
              <a:custGeom>
                <a:avLst/>
                <a:gdLst>
                  <a:gd name="T0" fmla="*/ 156 w 156"/>
                  <a:gd name="T1" fmla="*/ 80 h 80"/>
                  <a:gd name="T2" fmla="*/ 107 w 156"/>
                  <a:gd name="T3" fmla="*/ 0 h 80"/>
                  <a:gd name="T4" fmla="*/ 0 w 156"/>
                  <a:gd name="T5" fmla="*/ 0 h 80"/>
                  <a:gd name="T6" fmla="*/ 0 w 156"/>
                  <a:gd name="T7" fmla="*/ 80 h 80"/>
                  <a:gd name="T8" fmla="*/ 156 w 156"/>
                  <a:gd name="T9" fmla="*/ 80 h 80"/>
                </a:gdLst>
                <a:ahLst/>
                <a:cxnLst>
                  <a:cxn ang="0">
                    <a:pos x="T0" y="T1"/>
                  </a:cxn>
                  <a:cxn ang="0">
                    <a:pos x="T2" y="T3"/>
                  </a:cxn>
                  <a:cxn ang="0">
                    <a:pos x="T4" y="T5"/>
                  </a:cxn>
                  <a:cxn ang="0">
                    <a:pos x="T6" y="T7"/>
                  </a:cxn>
                  <a:cxn ang="0">
                    <a:pos x="T8" y="T9"/>
                  </a:cxn>
                </a:cxnLst>
                <a:rect l="0" t="0" r="r" b="b"/>
                <a:pathLst>
                  <a:path w="156" h="80">
                    <a:moveTo>
                      <a:pt x="156" y="80"/>
                    </a:moveTo>
                    <a:lnTo>
                      <a:pt x="107" y="0"/>
                    </a:lnTo>
                    <a:lnTo>
                      <a:pt x="0" y="0"/>
                    </a:lnTo>
                    <a:lnTo>
                      <a:pt x="0" y="80"/>
                    </a:lnTo>
                    <a:lnTo>
                      <a:pt x="156" y="8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5" name="Line 1835">
                <a:extLst>
                  <a:ext uri="{FF2B5EF4-FFF2-40B4-BE49-F238E27FC236}">
                    <a16:creationId xmlns:a16="http://schemas.microsoft.com/office/drawing/2014/main" id="{B0110EDB-7CBD-B7AE-8C20-1DFF4EAE0861}"/>
                  </a:ext>
                </a:extLst>
              </p:cNvPr>
              <p:cNvSpPr>
                <a:spLocks noChangeShapeType="1"/>
              </p:cNvSpPr>
              <p:nvPr/>
            </p:nvSpPr>
            <p:spPr bwMode="auto">
              <a:xfrm>
                <a:off x="8332947" y="5923870"/>
                <a:ext cx="73025" cy="0"/>
              </a:xfrm>
              <a:prstGeom prst="line">
                <a:avLst/>
              </a:prstGeom>
              <a:noFill/>
              <a:ln w="127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6" name="Line 1836">
                <a:extLst>
                  <a:ext uri="{FF2B5EF4-FFF2-40B4-BE49-F238E27FC236}">
                    <a16:creationId xmlns:a16="http://schemas.microsoft.com/office/drawing/2014/main" id="{DE38FE4B-7A2D-FF8A-61D2-FFD429C4FFE5}"/>
                  </a:ext>
                </a:extLst>
              </p:cNvPr>
              <p:cNvSpPr>
                <a:spLocks noChangeShapeType="1"/>
              </p:cNvSpPr>
              <p:nvPr/>
            </p:nvSpPr>
            <p:spPr bwMode="auto">
              <a:xfrm>
                <a:off x="8625047" y="5963558"/>
                <a:ext cx="55563" cy="0"/>
              </a:xfrm>
              <a:prstGeom prst="line">
                <a:avLst/>
              </a:prstGeom>
              <a:noFill/>
              <a:ln w="127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7" name="Freeform 1837">
                <a:extLst>
                  <a:ext uri="{FF2B5EF4-FFF2-40B4-BE49-F238E27FC236}">
                    <a16:creationId xmlns:a16="http://schemas.microsoft.com/office/drawing/2014/main" id="{4DE00CE8-25A9-0C32-3745-50BFFED1B83C}"/>
                  </a:ext>
                </a:extLst>
              </p:cNvPr>
              <p:cNvSpPr>
                <a:spLocks/>
              </p:cNvSpPr>
              <p:nvPr/>
            </p:nvSpPr>
            <p:spPr bwMode="auto">
              <a:xfrm>
                <a:off x="8382159" y="6009595"/>
                <a:ext cx="250825" cy="128588"/>
              </a:xfrm>
              <a:custGeom>
                <a:avLst/>
                <a:gdLst>
                  <a:gd name="T0" fmla="*/ 134 w 134"/>
                  <a:gd name="T1" fmla="*/ 68 h 68"/>
                  <a:gd name="T2" fmla="*/ 67 w 134"/>
                  <a:gd name="T3" fmla="*/ 0 h 68"/>
                  <a:gd name="T4" fmla="*/ 0 w 134"/>
                  <a:gd name="T5" fmla="*/ 68 h 68"/>
                  <a:gd name="T6" fmla="*/ 0 w 134"/>
                  <a:gd name="T7" fmla="*/ 68 h 68"/>
                  <a:gd name="T8" fmla="*/ 134 w 134"/>
                  <a:gd name="T9" fmla="*/ 68 h 68"/>
                </a:gdLst>
                <a:ahLst/>
                <a:cxnLst>
                  <a:cxn ang="0">
                    <a:pos x="T0" y="T1"/>
                  </a:cxn>
                  <a:cxn ang="0">
                    <a:pos x="T2" y="T3"/>
                  </a:cxn>
                  <a:cxn ang="0">
                    <a:pos x="T4" y="T5"/>
                  </a:cxn>
                  <a:cxn ang="0">
                    <a:pos x="T6" y="T7"/>
                  </a:cxn>
                  <a:cxn ang="0">
                    <a:pos x="T8" y="T9"/>
                  </a:cxn>
                </a:cxnLst>
                <a:rect l="0" t="0" r="r" b="b"/>
                <a:pathLst>
                  <a:path w="134" h="68">
                    <a:moveTo>
                      <a:pt x="134" y="68"/>
                    </a:moveTo>
                    <a:cubicBezTo>
                      <a:pt x="134" y="31"/>
                      <a:pt x="104" y="0"/>
                      <a:pt x="67" y="0"/>
                    </a:cubicBezTo>
                    <a:cubicBezTo>
                      <a:pt x="30" y="0"/>
                      <a:pt x="0" y="31"/>
                      <a:pt x="0" y="68"/>
                    </a:cubicBezTo>
                    <a:cubicBezTo>
                      <a:pt x="0" y="68"/>
                      <a:pt x="0" y="68"/>
                      <a:pt x="0" y="68"/>
                    </a:cubicBezTo>
                    <a:cubicBezTo>
                      <a:pt x="134" y="68"/>
                      <a:pt x="134" y="68"/>
                      <a:pt x="134" y="68"/>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8" name="Freeform 1838">
                <a:extLst>
                  <a:ext uri="{FF2B5EF4-FFF2-40B4-BE49-F238E27FC236}">
                    <a16:creationId xmlns:a16="http://schemas.microsoft.com/office/drawing/2014/main" id="{804B9A51-824C-03B4-28D1-6C2CE15D84A0}"/>
                  </a:ext>
                </a:extLst>
              </p:cNvPr>
              <p:cNvSpPr>
                <a:spLocks/>
              </p:cNvSpPr>
              <p:nvPr/>
            </p:nvSpPr>
            <p:spPr bwMode="auto">
              <a:xfrm>
                <a:off x="8382159" y="6009595"/>
                <a:ext cx="250825" cy="128588"/>
              </a:xfrm>
              <a:custGeom>
                <a:avLst/>
                <a:gdLst>
                  <a:gd name="T0" fmla="*/ 134 w 134"/>
                  <a:gd name="T1" fmla="*/ 68 h 68"/>
                  <a:gd name="T2" fmla="*/ 67 w 134"/>
                  <a:gd name="T3" fmla="*/ 0 h 68"/>
                  <a:gd name="T4" fmla="*/ 0 w 134"/>
                  <a:gd name="T5" fmla="*/ 68 h 68"/>
                  <a:gd name="T6" fmla="*/ 0 w 134"/>
                  <a:gd name="T7" fmla="*/ 68 h 68"/>
                  <a:gd name="T8" fmla="*/ 134 w 134"/>
                  <a:gd name="T9" fmla="*/ 68 h 68"/>
                </a:gdLst>
                <a:ahLst/>
                <a:cxnLst>
                  <a:cxn ang="0">
                    <a:pos x="T0" y="T1"/>
                  </a:cxn>
                  <a:cxn ang="0">
                    <a:pos x="T2" y="T3"/>
                  </a:cxn>
                  <a:cxn ang="0">
                    <a:pos x="T4" y="T5"/>
                  </a:cxn>
                  <a:cxn ang="0">
                    <a:pos x="T6" y="T7"/>
                  </a:cxn>
                  <a:cxn ang="0">
                    <a:pos x="T8" y="T9"/>
                  </a:cxn>
                </a:cxnLst>
                <a:rect l="0" t="0" r="r" b="b"/>
                <a:pathLst>
                  <a:path w="134" h="68">
                    <a:moveTo>
                      <a:pt x="134" y="68"/>
                    </a:moveTo>
                    <a:cubicBezTo>
                      <a:pt x="134" y="31"/>
                      <a:pt x="104" y="0"/>
                      <a:pt x="67" y="0"/>
                    </a:cubicBezTo>
                    <a:cubicBezTo>
                      <a:pt x="30" y="0"/>
                      <a:pt x="0" y="31"/>
                      <a:pt x="0" y="68"/>
                    </a:cubicBezTo>
                    <a:cubicBezTo>
                      <a:pt x="0" y="68"/>
                      <a:pt x="0" y="68"/>
                      <a:pt x="0" y="68"/>
                    </a:cubicBezTo>
                    <a:cubicBezTo>
                      <a:pt x="134" y="68"/>
                      <a:pt x="134" y="68"/>
                      <a:pt x="134" y="68"/>
                    </a:cubicBez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69" name="Oval 1839">
                <a:extLst>
                  <a:ext uri="{FF2B5EF4-FFF2-40B4-BE49-F238E27FC236}">
                    <a16:creationId xmlns:a16="http://schemas.microsoft.com/office/drawing/2014/main" id="{9922FBE1-041F-4903-EEBF-B61C7F644AB7}"/>
                  </a:ext>
                </a:extLst>
              </p:cNvPr>
              <p:cNvSpPr>
                <a:spLocks noChangeArrowheads="1"/>
              </p:cNvSpPr>
              <p:nvPr/>
            </p:nvSpPr>
            <p:spPr bwMode="auto">
              <a:xfrm>
                <a:off x="8466297" y="6096908"/>
                <a:ext cx="82550" cy="82550"/>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0" name="Freeform 1840">
                <a:extLst>
                  <a:ext uri="{FF2B5EF4-FFF2-40B4-BE49-F238E27FC236}">
                    <a16:creationId xmlns:a16="http://schemas.microsoft.com/office/drawing/2014/main" id="{882123CE-665D-A3B1-2DA6-B472DD3D71C7}"/>
                  </a:ext>
                </a:extLst>
              </p:cNvPr>
              <p:cNvSpPr>
                <a:spLocks noEditPoints="1"/>
              </p:cNvSpPr>
              <p:nvPr/>
            </p:nvSpPr>
            <p:spPr bwMode="auto">
              <a:xfrm>
                <a:off x="8421847" y="6049283"/>
                <a:ext cx="174625" cy="174625"/>
              </a:xfrm>
              <a:custGeom>
                <a:avLst/>
                <a:gdLst>
                  <a:gd name="T0" fmla="*/ 46 w 93"/>
                  <a:gd name="T1" fmla="*/ 0 h 93"/>
                  <a:gd name="T2" fmla="*/ 93 w 93"/>
                  <a:gd name="T3" fmla="*/ 47 h 93"/>
                  <a:gd name="T4" fmla="*/ 46 w 93"/>
                  <a:gd name="T5" fmla="*/ 93 h 93"/>
                  <a:gd name="T6" fmla="*/ 0 w 93"/>
                  <a:gd name="T7" fmla="*/ 47 h 93"/>
                  <a:gd name="T8" fmla="*/ 46 w 93"/>
                  <a:gd name="T9" fmla="*/ 0 h 93"/>
                  <a:gd name="T10" fmla="*/ 68 w 93"/>
                  <a:gd name="T11" fmla="*/ 47 h 93"/>
                  <a:gd name="T12" fmla="*/ 46 w 93"/>
                  <a:gd name="T13" fmla="*/ 25 h 93"/>
                  <a:gd name="T14" fmla="*/ 24 w 93"/>
                  <a:gd name="T15" fmla="*/ 47 h 93"/>
                  <a:gd name="T16" fmla="*/ 46 w 93"/>
                  <a:gd name="T17" fmla="*/ 69 h 93"/>
                  <a:gd name="T18" fmla="*/ 68 w 93"/>
                  <a:gd name="T1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6" y="0"/>
                    </a:moveTo>
                    <a:cubicBezTo>
                      <a:pt x="72" y="0"/>
                      <a:pt x="93" y="21"/>
                      <a:pt x="93" y="47"/>
                    </a:cubicBezTo>
                    <a:cubicBezTo>
                      <a:pt x="93" y="72"/>
                      <a:pt x="72" y="93"/>
                      <a:pt x="46" y="93"/>
                    </a:cubicBezTo>
                    <a:cubicBezTo>
                      <a:pt x="21" y="93"/>
                      <a:pt x="0" y="72"/>
                      <a:pt x="0" y="47"/>
                    </a:cubicBezTo>
                    <a:cubicBezTo>
                      <a:pt x="0" y="21"/>
                      <a:pt x="21" y="0"/>
                      <a:pt x="46" y="0"/>
                    </a:cubicBezTo>
                    <a:close/>
                    <a:moveTo>
                      <a:pt x="68" y="47"/>
                    </a:moveTo>
                    <a:cubicBezTo>
                      <a:pt x="68" y="34"/>
                      <a:pt x="58" y="25"/>
                      <a:pt x="46" y="25"/>
                    </a:cubicBezTo>
                    <a:cubicBezTo>
                      <a:pt x="34" y="25"/>
                      <a:pt x="24" y="34"/>
                      <a:pt x="24" y="47"/>
                    </a:cubicBezTo>
                    <a:cubicBezTo>
                      <a:pt x="24" y="59"/>
                      <a:pt x="34" y="69"/>
                      <a:pt x="46" y="69"/>
                    </a:cubicBezTo>
                    <a:cubicBezTo>
                      <a:pt x="58" y="69"/>
                      <a:pt x="68" y="59"/>
                      <a:pt x="68" y="47"/>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1" name="Oval 1841">
                <a:extLst>
                  <a:ext uri="{FF2B5EF4-FFF2-40B4-BE49-F238E27FC236}">
                    <a16:creationId xmlns:a16="http://schemas.microsoft.com/office/drawing/2014/main" id="{EBC33EC3-3964-A6DC-CBAE-4C16F9A3A6D8}"/>
                  </a:ext>
                </a:extLst>
              </p:cNvPr>
              <p:cNvSpPr>
                <a:spLocks noChangeArrowheads="1"/>
              </p:cNvSpPr>
              <p:nvPr/>
            </p:nvSpPr>
            <p:spPr bwMode="auto">
              <a:xfrm>
                <a:off x="8421847" y="6049283"/>
                <a:ext cx="174625" cy="1746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2" name="Oval 1842">
                <a:extLst>
                  <a:ext uri="{FF2B5EF4-FFF2-40B4-BE49-F238E27FC236}">
                    <a16:creationId xmlns:a16="http://schemas.microsoft.com/office/drawing/2014/main" id="{038691FC-FD98-28CF-FA16-6A1E9C9A62AE}"/>
                  </a:ext>
                </a:extLst>
              </p:cNvPr>
              <p:cNvSpPr>
                <a:spLocks noChangeArrowheads="1"/>
              </p:cNvSpPr>
              <p:nvPr/>
            </p:nvSpPr>
            <p:spPr bwMode="auto">
              <a:xfrm>
                <a:off x="8466297" y="6096908"/>
                <a:ext cx="82550" cy="82550"/>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3" name="Freeform 1843">
                <a:extLst>
                  <a:ext uri="{FF2B5EF4-FFF2-40B4-BE49-F238E27FC236}">
                    <a16:creationId xmlns:a16="http://schemas.microsoft.com/office/drawing/2014/main" id="{A993C963-92C2-DC7E-BDB2-9FC7C8357F9C}"/>
                  </a:ext>
                </a:extLst>
              </p:cNvPr>
              <p:cNvSpPr>
                <a:spLocks/>
              </p:cNvSpPr>
              <p:nvPr/>
            </p:nvSpPr>
            <p:spPr bwMode="auto">
              <a:xfrm>
                <a:off x="7518559" y="6000070"/>
                <a:ext cx="558800" cy="95250"/>
              </a:xfrm>
              <a:custGeom>
                <a:avLst/>
                <a:gdLst>
                  <a:gd name="T0" fmla="*/ 45 w 352"/>
                  <a:gd name="T1" fmla="*/ 0 h 60"/>
                  <a:gd name="T2" fmla="*/ 0 w 352"/>
                  <a:gd name="T3" fmla="*/ 55 h 60"/>
                  <a:gd name="T4" fmla="*/ 2 w 352"/>
                  <a:gd name="T5" fmla="*/ 60 h 60"/>
                  <a:gd name="T6" fmla="*/ 352 w 352"/>
                  <a:gd name="T7" fmla="*/ 60 h 60"/>
                  <a:gd name="T8" fmla="*/ 305 w 352"/>
                  <a:gd name="T9" fmla="*/ 0 h 60"/>
                  <a:gd name="T10" fmla="*/ 45 w 352"/>
                  <a:gd name="T11" fmla="*/ 0 h 60"/>
                </a:gdLst>
                <a:ahLst/>
                <a:cxnLst>
                  <a:cxn ang="0">
                    <a:pos x="T0" y="T1"/>
                  </a:cxn>
                  <a:cxn ang="0">
                    <a:pos x="T2" y="T3"/>
                  </a:cxn>
                  <a:cxn ang="0">
                    <a:pos x="T4" y="T5"/>
                  </a:cxn>
                  <a:cxn ang="0">
                    <a:pos x="T6" y="T7"/>
                  </a:cxn>
                  <a:cxn ang="0">
                    <a:pos x="T8" y="T9"/>
                  </a:cxn>
                  <a:cxn ang="0">
                    <a:pos x="T10" y="T11"/>
                  </a:cxn>
                </a:cxnLst>
                <a:rect l="0" t="0" r="r" b="b"/>
                <a:pathLst>
                  <a:path w="352" h="60">
                    <a:moveTo>
                      <a:pt x="45" y="0"/>
                    </a:moveTo>
                    <a:lnTo>
                      <a:pt x="0" y="55"/>
                    </a:lnTo>
                    <a:lnTo>
                      <a:pt x="2" y="60"/>
                    </a:lnTo>
                    <a:lnTo>
                      <a:pt x="352" y="60"/>
                    </a:lnTo>
                    <a:lnTo>
                      <a:pt x="305" y="0"/>
                    </a:lnTo>
                    <a:lnTo>
                      <a:pt x="45"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4" name="Freeform 1844">
                <a:extLst>
                  <a:ext uri="{FF2B5EF4-FFF2-40B4-BE49-F238E27FC236}">
                    <a16:creationId xmlns:a16="http://schemas.microsoft.com/office/drawing/2014/main" id="{A2402717-1968-C50B-D41C-1BF38909ECAB}"/>
                  </a:ext>
                </a:extLst>
              </p:cNvPr>
              <p:cNvSpPr>
                <a:spLocks/>
              </p:cNvSpPr>
              <p:nvPr/>
            </p:nvSpPr>
            <p:spPr bwMode="auto">
              <a:xfrm>
                <a:off x="7386797" y="5647645"/>
                <a:ext cx="779463" cy="293688"/>
              </a:xfrm>
              <a:custGeom>
                <a:avLst/>
                <a:gdLst>
                  <a:gd name="T0" fmla="*/ 62 w 491"/>
                  <a:gd name="T1" fmla="*/ 0 h 185"/>
                  <a:gd name="T2" fmla="*/ 0 w 491"/>
                  <a:gd name="T3" fmla="*/ 185 h 185"/>
                  <a:gd name="T4" fmla="*/ 49 w 491"/>
                  <a:gd name="T5" fmla="*/ 185 h 185"/>
                  <a:gd name="T6" fmla="*/ 102 w 491"/>
                  <a:gd name="T7" fmla="*/ 36 h 185"/>
                  <a:gd name="T8" fmla="*/ 147 w 491"/>
                  <a:gd name="T9" fmla="*/ 36 h 185"/>
                  <a:gd name="T10" fmla="*/ 95 w 491"/>
                  <a:gd name="T11" fmla="*/ 185 h 185"/>
                  <a:gd name="T12" fmla="*/ 143 w 491"/>
                  <a:gd name="T13" fmla="*/ 185 h 185"/>
                  <a:gd name="T14" fmla="*/ 195 w 491"/>
                  <a:gd name="T15" fmla="*/ 36 h 185"/>
                  <a:gd name="T16" fmla="*/ 241 w 491"/>
                  <a:gd name="T17" fmla="*/ 36 h 185"/>
                  <a:gd name="T18" fmla="*/ 188 w 491"/>
                  <a:gd name="T19" fmla="*/ 185 h 185"/>
                  <a:gd name="T20" fmla="*/ 238 w 491"/>
                  <a:gd name="T21" fmla="*/ 185 h 185"/>
                  <a:gd name="T22" fmla="*/ 290 w 491"/>
                  <a:gd name="T23" fmla="*/ 36 h 185"/>
                  <a:gd name="T24" fmla="*/ 335 w 491"/>
                  <a:gd name="T25" fmla="*/ 36 h 185"/>
                  <a:gd name="T26" fmla="*/ 283 w 491"/>
                  <a:gd name="T27" fmla="*/ 185 h 185"/>
                  <a:gd name="T28" fmla="*/ 331 w 491"/>
                  <a:gd name="T29" fmla="*/ 185 h 185"/>
                  <a:gd name="T30" fmla="*/ 383 w 491"/>
                  <a:gd name="T31" fmla="*/ 36 h 185"/>
                  <a:gd name="T32" fmla="*/ 429 w 491"/>
                  <a:gd name="T33" fmla="*/ 36 h 185"/>
                  <a:gd name="T34" fmla="*/ 376 w 491"/>
                  <a:gd name="T35" fmla="*/ 185 h 185"/>
                  <a:gd name="T36" fmla="*/ 426 w 491"/>
                  <a:gd name="T37" fmla="*/ 185 h 185"/>
                  <a:gd name="T38" fmla="*/ 491 w 491"/>
                  <a:gd name="T39" fmla="*/ 0 h 185"/>
                  <a:gd name="T40" fmla="*/ 62 w 491"/>
                  <a:gd name="T4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1" h="185">
                    <a:moveTo>
                      <a:pt x="62" y="0"/>
                    </a:moveTo>
                    <a:lnTo>
                      <a:pt x="0" y="185"/>
                    </a:lnTo>
                    <a:lnTo>
                      <a:pt x="49" y="185"/>
                    </a:lnTo>
                    <a:lnTo>
                      <a:pt x="102" y="36"/>
                    </a:lnTo>
                    <a:lnTo>
                      <a:pt x="147" y="36"/>
                    </a:lnTo>
                    <a:lnTo>
                      <a:pt x="95" y="185"/>
                    </a:lnTo>
                    <a:lnTo>
                      <a:pt x="143" y="185"/>
                    </a:lnTo>
                    <a:lnTo>
                      <a:pt x="195" y="36"/>
                    </a:lnTo>
                    <a:lnTo>
                      <a:pt x="241" y="36"/>
                    </a:lnTo>
                    <a:lnTo>
                      <a:pt x="188" y="185"/>
                    </a:lnTo>
                    <a:lnTo>
                      <a:pt x="238" y="185"/>
                    </a:lnTo>
                    <a:lnTo>
                      <a:pt x="290" y="36"/>
                    </a:lnTo>
                    <a:lnTo>
                      <a:pt x="335" y="36"/>
                    </a:lnTo>
                    <a:lnTo>
                      <a:pt x="283" y="185"/>
                    </a:lnTo>
                    <a:lnTo>
                      <a:pt x="331" y="185"/>
                    </a:lnTo>
                    <a:lnTo>
                      <a:pt x="383" y="36"/>
                    </a:lnTo>
                    <a:lnTo>
                      <a:pt x="429" y="36"/>
                    </a:lnTo>
                    <a:lnTo>
                      <a:pt x="376" y="185"/>
                    </a:lnTo>
                    <a:lnTo>
                      <a:pt x="426" y="185"/>
                    </a:lnTo>
                    <a:lnTo>
                      <a:pt x="491" y="0"/>
                    </a:lnTo>
                    <a:lnTo>
                      <a:pt x="62"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5" name="Freeform 1845">
                <a:extLst>
                  <a:ext uri="{FF2B5EF4-FFF2-40B4-BE49-F238E27FC236}">
                    <a16:creationId xmlns:a16="http://schemas.microsoft.com/office/drawing/2014/main" id="{7E4F9B02-9D1B-823E-CB54-F7AD14BEF67C}"/>
                  </a:ext>
                </a:extLst>
              </p:cNvPr>
              <p:cNvSpPr>
                <a:spLocks/>
              </p:cNvSpPr>
              <p:nvPr/>
            </p:nvSpPr>
            <p:spPr bwMode="auto">
              <a:xfrm>
                <a:off x="7464584" y="5704795"/>
                <a:ext cx="155575" cy="236538"/>
              </a:xfrm>
              <a:custGeom>
                <a:avLst/>
                <a:gdLst>
                  <a:gd name="T0" fmla="*/ 53 w 98"/>
                  <a:gd name="T1" fmla="*/ 0 h 149"/>
                  <a:gd name="T2" fmla="*/ 0 w 98"/>
                  <a:gd name="T3" fmla="*/ 149 h 149"/>
                  <a:gd name="T4" fmla="*/ 46 w 98"/>
                  <a:gd name="T5" fmla="*/ 149 h 149"/>
                  <a:gd name="T6" fmla="*/ 98 w 98"/>
                  <a:gd name="T7" fmla="*/ 0 h 149"/>
                  <a:gd name="T8" fmla="*/ 53 w 98"/>
                  <a:gd name="T9" fmla="*/ 0 h 149"/>
                </a:gdLst>
                <a:ahLst/>
                <a:cxnLst>
                  <a:cxn ang="0">
                    <a:pos x="T0" y="T1"/>
                  </a:cxn>
                  <a:cxn ang="0">
                    <a:pos x="T2" y="T3"/>
                  </a:cxn>
                  <a:cxn ang="0">
                    <a:pos x="T4" y="T5"/>
                  </a:cxn>
                  <a:cxn ang="0">
                    <a:pos x="T6" y="T7"/>
                  </a:cxn>
                  <a:cxn ang="0">
                    <a:pos x="T8" y="T9"/>
                  </a:cxn>
                </a:cxnLst>
                <a:rect l="0" t="0" r="r" b="b"/>
                <a:pathLst>
                  <a:path w="98" h="149">
                    <a:moveTo>
                      <a:pt x="53" y="0"/>
                    </a:moveTo>
                    <a:lnTo>
                      <a:pt x="0" y="149"/>
                    </a:lnTo>
                    <a:lnTo>
                      <a:pt x="46" y="149"/>
                    </a:lnTo>
                    <a:lnTo>
                      <a:pt x="98" y="0"/>
                    </a:lnTo>
                    <a:lnTo>
                      <a:pt x="53"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6" name="Freeform 1846">
                <a:extLst>
                  <a:ext uri="{FF2B5EF4-FFF2-40B4-BE49-F238E27FC236}">
                    <a16:creationId xmlns:a16="http://schemas.microsoft.com/office/drawing/2014/main" id="{026FE4BE-B39D-DFE6-F3A1-D747A35CF713}"/>
                  </a:ext>
                </a:extLst>
              </p:cNvPr>
              <p:cNvSpPr>
                <a:spLocks/>
              </p:cNvSpPr>
              <p:nvPr/>
            </p:nvSpPr>
            <p:spPr bwMode="auto">
              <a:xfrm>
                <a:off x="761380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7" name="Freeform 1847">
                <a:extLst>
                  <a:ext uri="{FF2B5EF4-FFF2-40B4-BE49-F238E27FC236}">
                    <a16:creationId xmlns:a16="http://schemas.microsoft.com/office/drawing/2014/main" id="{59708A67-4373-F0CA-7AF6-B3D87A95514B}"/>
                  </a:ext>
                </a:extLst>
              </p:cNvPr>
              <p:cNvSpPr>
                <a:spLocks/>
              </p:cNvSpPr>
              <p:nvPr/>
            </p:nvSpPr>
            <p:spPr bwMode="auto">
              <a:xfrm>
                <a:off x="7764622" y="5704795"/>
                <a:ext cx="153988" cy="236538"/>
              </a:xfrm>
              <a:custGeom>
                <a:avLst/>
                <a:gdLst>
                  <a:gd name="T0" fmla="*/ 52 w 97"/>
                  <a:gd name="T1" fmla="*/ 0 h 149"/>
                  <a:gd name="T2" fmla="*/ 0 w 97"/>
                  <a:gd name="T3" fmla="*/ 149 h 149"/>
                  <a:gd name="T4" fmla="*/ 45 w 97"/>
                  <a:gd name="T5" fmla="*/ 149 h 149"/>
                  <a:gd name="T6" fmla="*/ 97 w 97"/>
                  <a:gd name="T7" fmla="*/ 0 h 149"/>
                  <a:gd name="T8" fmla="*/ 52 w 97"/>
                  <a:gd name="T9" fmla="*/ 0 h 149"/>
                </a:gdLst>
                <a:ahLst/>
                <a:cxnLst>
                  <a:cxn ang="0">
                    <a:pos x="T0" y="T1"/>
                  </a:cxn>
                  <a:cxn ang="0">
                    <a:pos x="T2" y="T3"/>
                  </a:cxn>
                  <a:cxn ang="0">
                    <a:pos x="T4" y="T5"/>
                  </a:cxn>
                  <a:cxn ang="0">
                    <a:pos x="T6" y="T7"/>
                  </a:cxn>
                  <a:cxn ang="0">
                    <a:pos x="T8" y="T9"/>
                  </a:cxn>
                </a:cxnLst>
                <a:rect l="0" t="0" r="r" b="b"/>
                <a:pathLst>
                  <a:path w="97" h="149">
                    <a:moveTo>
                      <a:pt x="52" y="0"/>
                    </a:moveTo>
                    <a:lnTo>
                      <a:pt x="0" y="149"/>
                    </a:lnTo>
                    <a:lnTo>
                      <a:pt x="45" y="149"/>
                    </a:lnTo>
                    <a:lnTo>
                      <a:pt x="97" y="0"/>
                    </a:lnTo>
                    <a:lnTo>
                      <a:pt x="52"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8" name="Freeform 1848">
                <a:extLst>
                  <a:ext uri="{FF2B5EF4-FFF2-40B4-BE49-F238E27FC236}">
                    <a16:creationId xmlns:a16="http://schemas.microsoft.com/office/drawing/2014/main" id="{002E6464-961C-9159-84CC-A2459E94424F}"/>
                  </a:ext>
                </a:extLst>
              </p:cNvPr>
              <p:cNvSpPr>
                <a:spLocks/>
              </p:cNvSpPr>
              <p:nvPr/>
            </p:nvSpPr>
            <p:spPr bwMode="auto">
              <a:xfrm>
                <a:off x="791225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79" name="Freeform 1849">
                <a:extLst>
                  <a:ext uri="{FF2B5EF4-FFF2-40B4-BE49-F238E27FC236}">
                    <a16:creationId xmlns:a16="http://schemas.microsoft.com/office/drawing/2014/main" id="{0B3C388F-A125-BBF8-0479-72AE2C2357C5}"/>
                  </a:ext>
                </a:extLst>
              </p:cNvPr>
              <p:cNvSpPr>
                <a:spLocks/>
              </p:cNvSpPr>
              <p:nvPr/>
            </p:nvSpPr>
            <p:spPr bwMode="auto">
              <a:xfrm>
                <a:off x="7386797" y="5647645"/>
                <a:ext cx="779463" cy="293688"/>
              </a:xfrm>
              <a:custGeom>
                <a:avLst/>
                <a:gdLst>
                  <a:gd name="T0" fmla="*/ 62 w 491"/>
                  <a:gd name="T1" fmla="*/ 0 h 185"/>
                  <a:gd name="T2" fmla="*/ 0 w 491"/>
                  <a:gd name="T3" fmla="*/ 185 h 185"/>
                  <a:gd name="T4" fmla="*/ 49 w 491"/>
                  <a:gd name="T5" fmla="*/ 185 h 185"/>
                  <a:gd name="T6" fmla="*/ 102 w 491"/>
                  <a:gd name="T7" fmla="*/ 36 h 185"/>
                  <a:gd name="T8" fmla="*/ 147 w 491"/>
                  <a:gd name="T9" fmla="*/ 36 h 185"/>
                  <a:gd name="T10" fmla="*/ 95 w 491"/>
                  <a:gd name="T11" fmla="*/ 185 h 185"/>
                  <a:gd name="T12" fmla="*/ 143 w 491"/>
                  <a:gd name="T13" fmla="*/ 185 h 185"/>
                  <a:gd name="T14" fmla="*/ 195 w 491"/>
                  <a:gd name="T15" fmla="*/ 36 h 185"/>
                  <a:gd name="T16" fmla="*/ 241 w 491"/>
                  <a:gd name="T17" fmla="*/ 36 h 185"/>
                  <a:gd name="T18" fmla="*/ 188 w 491"/>
                  <a:gd name="T19" fmla="*/ 185 h 185"/>
                  <a:gd name="T20" fmla="*/ 238 w 491"/>
                  <a:gd name="T21" fmla="*/ 185 h 185"/>
                  <a:gd name="T22" fmla="*/ 290 w 491"/>
                  <a:gd name="T23" fmla="*/ 36 h 185"/>
                  <a:gd name="T24" fmla="*/ 335 w 491"/>
                  <a:gd name="T25" fmla="*/ 36 h 185"/>
                  <a:gd name="T26" fmla="*/ 283 w 491"/>
                  <a:gd name="T27" fmla="*/ 185 h 185"/>
                  <a:gd name="T28" fmla="*/ 331 w 491"/>
                  <a:gd name="T29" fmla="*/ 185 h 185"/>
                  <a:gd name="T30" fmla="*/ 383 w 491"/>
                  <a:gd name="T31" fmla="*/ 36 h 185"/>
                  <a:gd name="T32" fmla="*/ 429 w 491"/>
                  <a:gd name="T33" fmla="*/ 36 h 185"/>
                  <a:gd name="T34" fmla="*/ 376 w 491"/>
                  <a:gd name="T35" fmla="*/ 185 h 185"/>
                  <a:gd name="T36" fmla="*/ 426 w 491"/>
                  <a:gd name="T37" fmla="*/ 185 h 185"/>
                  <a:gd name="T38" fmla="*/ 491 w 491"/>
                  <a:gd name="T39" fmla="*/ 0 h 185"/>
                  <a:gd name="T40" fmla="*/ 62 w 491"/>
                  <a:gd name="T4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1" h="185">
                    <a:moveTo>
                      <a:pt x="62" y="0"/>
                    </a:moveTo>
                    <a:lnTo>
                      <a:pt x="0" y="185"/>
                    </a:lnTo>
                    <a:lnTo>
                      <a:pt x="49" y="185"/>
                    </a:lnTo>
                    <a:lnTo>
                      <a:pt x="102" y="36"/>
                    </a:lnTo>
                    <a:lnTo>
                      <a:pt x="147" y="36"/>
                    </a:lnTo>
                    <a:lnTo>
                      <a:pt x="95" y="185"/>
                    </a:lnTo>
                    <a:lnTo>
                      <a:pt x="143" y="185"/>
                    </a:lnTo>
                    <a:lnTo>
                      <a:pt x="195" y="36"/>
                    </a:lnTo>
                    <a:lnTo>
                      <a:pt x="241" y="36"/>
                    </a:lnTo>
                    <a:lnTo>
                      <a:pt x="188" y="185"/>
                    </a:lnTo>
                    <a:lnTo>
                      <a:pt x="238" y="185"/>
                    </a:lnTo>
                    <a:lnTo>
                      <a:pt x="290" y="36"/>
                    </a:lnTo>
                    <a:lnTo>
                      <a:pt x="335" y="36"/>
                    </a:lnTo>
                    <a:lnTo>
                      <a:pt x="283" y="185"/>
                    </a:lnTo>
                    <a:lnTo>
                      <a:pt x="331" y="185"/>
                    </a:lnTo>
                    <a:lnTo>
                      <a:pt x="383" y="36"/>
                    </a:lnTo>
                    <a:lnTo>
                      <a:pt x="429" y="36"/>
                    </a:lnTo>
                    <a:lnTo>
                      <a:pt x="376" y="185"/>
                    </a:lnTo>
                    <a:lnTo>
                      <a:pt x="426" y="185"/>
                    </a:lnTo>
                    <a:lnTo>
                      <a:pt x="491" y="0"/>
                    </a:lnTo>
                    <a:lnTo>
                      <a:pt x="62"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0" name="Freeform 1850">
                <a:extLst>
                  <a:ext uri="{FF2B5EF4-FFF2-40B4-BE49-F238E27FC236}">
                    <a16:creationId xmlns:a16="http://schemas.microsoft.com/office/drawing/2014/main" id="{434C246E-2AE7-FE05-1BA3-EEE3F87ACC48}"/>
                  </a:ext>
                </a:extLst>
              </p:cNvPr>
              <p:cNvSpPr>
                <a:spLocks/>
              </p:cNvSpPr>
              <p:nvPr/>
            </p:nvSpPr>
            <p:spPr bwMode="auto">
              <a:xfrm>
                <a:off x="7464584" y="5704795"/>
                <a:ext cx="155575" cy="236538"/>
              </a:xfrm>
              <a:custGeom>
                <a:avLst/>
                <a:gdLst>
                  <a:gd name="T0" fmla="*/ 53 w 98"/>
                  <a:gd name="T1" fmla="*/ 0 h 149"/>
                  <a:gd name="T2" fmla="*/ 0 w 98"/>
                  <a:gd name="T3" fmla="*/ 149 h 149"/>
                  <a:gd name="T4" fmla="*/ 46 w 98"/>
                  <a:gd name="T5" fmla="*/ 149 h 149"/>
                  <a:gd name="T6" fmla="*/ 98 w 98"/>
                  <a:gd name="T7" fmla="*/ 0 h 149"/>
                  <a:gd name="T8" fmla="*/ 53 w 98"/>
                  <a:gd name="T9" fmla="*/ 0 h 149"/>
                </a:gdLst>
                <a:ahLst/>
                <a:cxnLst>
                  <a:cxn ang="0">
                    <a:pos x="T0" y="T1"/>
                  </a:cxn>
                  <a:cxn ang="0">
                    <a:pos x="T2" y="T3"/>
                  </a:cxn>
                  <a:cxn ang="0">
                    <a:pos x="T4" y="T5"/>
                  </a:cxn>
                  <a:cxn ang="0">
                    <a:pos x="T6" y="T7"/>
                  </a:cxn>
                  <a:cxn ang="0">
                    <a:pos x="T8" y="T9"/>
                  </a:cxn>
                </a:cxnLst>
                <a:rect l="0" t="0" r="r" b="b"/>
                <a:pathLst>
                  <a:path w="98" h="149">
                    <a:moveTo>
                      <a:pt x="53" y="0"/>
                    </a:moveTo>
                    <a:lnTo>
                      <a:pt x="0" y="149"/>
                    </a:lnTo>
                    <a:lnTo>
                      <a:pt x="46" y="149"/>
                    </a:lnTo>
                    <a:lnTo>
                      <a:pt x="98" y="0"/>
                    </a:lnTo>
                    <a:lnTo>
                      <a:pt x="53"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1" name="Freeform 1851">
                <a:extLst>
                  <a:ext uri="{FF2B5EF4-FFF2-40B4-BE49-F238E27FC236}">
                    <a16:creationId xmlns:a16="http://schemas.microsoft.com/office/drawing/2014/main" id="{13542898-6E7F-4AA7-0A5D-099E7B617AF8}"/>
                  </a:ext>
                </a:extLst>
              </p:cNvPr>
              <p:cNvSpPr>
                <a:spLocks/>
              </p:cNvSpPr>
              <p:nvPr/>
            </p:nvSpPr>
            <p:spPr bwMode="auto">
              <a:xfrm>
                <a:off x="761380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2" name="Freeform 1852">
                <a:extLst>
                  <a:ext uri="{FF2B5EF4-FFF2-40B4-BE49-F238E27FC236}">
                    <a16:creationId xmlns:a16="http://schemas.microsoft.com/office/drawing/2014/main" id="{DC0C7AC9-8561-4D70-F1DE-059B4AE76FEE}"/>
                  </a:ext>
                </a:extLst>
              </p:cNvPr>
              <p:cNvSpPr>
                <a:spLocks/>
              </p:cNvSpPr>
              <p:nvPr/>
            </p:nvSpPr>
            <p:spPr bwMode="auto">
              <a:xfrm>
                <a:off x="7764622" y="5704795"/>
                <a:ext cx="153988" cy="236538"/>
              </a:xfrm>
              <a:custGeom>
                <a:avLst/>
                <a:gdLst>
                  <a:gd name="T0" fmla="*/ 52 w 97"/>
                  <a:gd name="T1" fmla="*/ 0 h 149"/>
                  <a:gd name="T2" fmla="*/ 0 w 97"/>
                  <a:gd name="T3" fmla="*/ 149 h 149"/>
                  <a:gd name="T4" fmla="*/ 45 w 97"/>
                  <a:gd name="T5" fmla="*/ 149 h 149"/>
                  <a:gd name="T6" fmla="*/ 97 w 97"/>
                  <a:gd name="T7" fmla="*/ 0 h 149"/>
                  <a:gd name="T8" fmla="*/ 52 w 97"/>
                  <a:gd name="T9" fmla="*/ 0 h 149"/>
                </a:gdLst>
                <a:ahLst/>
                <a:cxnLst>
                  <a:cxn ang="0">
                    <a:pos x="T0" y="T1"/>
                  </a:cxn>
                  <a:cxn ang="0">
                    <a:pos x="T2" y="T3"/>
                  </a:cxn>
                  <a:cxn ang="0">
                    <a:pos x="T4" y="T5"/>
                  </a:cxn>
                  <a:cxn ang="0">
                    <a:pos x="T6" y="T7"/>
                  </a:cxn>
                  <a:cxn ang="0">
                    <a:pos x="T8" y="T9"/>
                  </a:cxn>
                </a:cxnLst>
                <a:rect l="0" t="0" r="r" b="b"/>
                <a:pathLst>
                  <a:path w="97" h="149">
                    <a:moveTo>
                      <a:pt x="52" y="0"/>
                    </a:moveTo>
                    <a:lnTo>
                      <a:pt x="0" y="149"/>
                    </a:lnTo>
                    <a:lnTo>
                      <a:pt x="45" y="149"/>
                    </a:lnTo>
                    <a:lnTo>
                      <a:pt x="97" y="0"/>
                    </a:lnTo>
                    <a:lnTo>
                      <a:pt x="52"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3" name="Freeform 1853">
                <a:extLst>
                  <a:ext uri="{FF2B5EF4-FFF2-40B4-BE49-F238E27FC236}">
                    <a16:creationId xmlns:a16="http://schemas.microsoft.com/office/drawing/2014/main" id="{62945041-C904-F416-28AF-96F317D69D32}"/>
                  </a:ext>
                </a:extLst>
              </p:cNvPr>
              <p:cNvSpPr>
                <a:spLocks/>
              </p:cNvSpPr>
              <p:nvPr/>
            </p:nvSpPr>
            <p:spPr bwMode="auto">
              <a:xfrm>
                <a:off x="791225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4" name="Freeform 1854">
                <a:extLst>
                  <a:ext uri="{FF2B5EF4-FFF2-40B4-BE49-F238E27FC236}">
                    <a16:creationId xmlns:a16="http://schemas.microsoft.com/office/drawing/2014/main" id="{F9DB875D-DA6C-0C8E-E7AD-EEC2799E836B}"/>
                  </a:ext>
                </a:extLst>
              </p:cNvPr>
              <p:cNvSpPr>
                <a:spLocks/>
              </p:cNvSpPr>
              <p:nvPr/>
            </p:nvSpPr>
            <p:spPr bwMode="auto">
              <a:xfrm>
                <a:off x="7413784" y="5607958"/>
                <a:ext cx="777875" cy="58738"/>
              </a:xfrm>
              <a:custGeom>
                <a:avLst/>
                <a:gdLst>
                  <a:gd name="T0" fmla="*/ 490 w 490"/>
                  <a:gd name="T1" fmla="*/ 37 h 37"/>
                  <a:gd name="T2" fmla="*/ 0 w 490"/>
                  <a:gd name="T3" fmla="*/ 37 h 37"/>
                  <a:gd name="T4" fmla="*/ 16 w 490"/>
                  <a:gd name="T5" fmla="*/ 0 h 37"/>
                  <a:gd name="T6" fmla="*/ 490 w 490"/>
                  <a:gd name="T7" fmla="*/ 0 h 37"/>
                  <a:gd name="T8" fmla="*/ 490 w 490"/>
                  <a:gd name="T9" fmla="*/ 37 h 37"/>
                </a:gdLst>
                <a:ahLst/>
                <a:cxnLst>
                  <a:cxn ang="0">
                    <a:pos x="T0" y="T1"/>
                  </a:cxn>
                  <a:cxn ang="0">
                    <a:pos x="T2" y="T3"/>
                  </a:cxn>
                  <a:cxn ang="0">
                    <a:pos x="T4" y="T5"/>
                  </a:cxn>
                  <a:cxn ang="0">
                    <a:pos x="T6" y="T7"/>
                  </a:cxn>
                  <a:cxn ang="0">
                    <a:pos x="T8" y="T9"/>
                  </a:cxn>
                </a:cxnLst>
                <a:rect l="0" t="0" r="r" b="b"/>
                <a:pathLst>
                  <a:path w="490" h="37">
                    <a:moveTo>
                      <a:pt x="490" y="37"/>
                    </a:moveTo>
                    <a:lnTo>
                      <a:pt x="0" y="37"/>
                    </a:lnTo>
                    <a:lnTo>
                      <a:pt x="16" y="0"/>
                    </a:lnTo>
                    <a:lnTo>
                      <a:pt x="490" y="0"/>
                    </a:lnTo>
                    <a:lnTo>
                      <a:pt x="490" y="37"/>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5" name="Freeform 1855">
                <a:extLst>
                  <a:ext uri="{FF2B5EF4-FFF2-40B4-BE49-F238E27FC236}">
                    <a16:creationId xmlns:a16="http://schemas.microsoft.com/office/drawing/2014/main" id="{6211DDDB-B56F-5D0E-67C5-D151655CB880}"/>
                  </a:ext>
                </a:extLst>
              </p:cNvPr>
              <p:cNvSpPr>
                <a:spLocks/>
              </p:cNvSpPr>
              <p:nvPr/>
            </p:nvSpPr>
            <p:spPr bwMode="auto">
              <a:xfrm>
                <a:off x="7413784" y="5607958"/>
                <a:ext cx="777875" cy="58738"/>
              </a:xfrm>
              <a:custGeom>
                <a:avLst/>
                <a:gdLst>
                  <a:gd name="T0" fmla="*/ 490 w 490"/>
                  <a:gd name="T1" fmla="*/ 37 h 37"/>
                  <a:gd name="T2" fmla="*/ 0 w 490"/>
                  <a:gd name="T3" fmla="*/ 37 h 37"/>
                  <a:gd name="T4" fmla="*/ 16 w 490"/>
                  <a:gd name="T5" fmla="*/ 0 h 37"/>
                  <a:gd name="T6" fmla="*/ 490 w 490"/>
                  <a:gd name="T7" fmla="*/ 0 h 37"/>
                  <a:gd name="T8" fmla="*/ 490 w 490"/>
                  <a:gd name="T9" fmla="*/ 37 h 37"/>
                </a:gdLst>
                <a:ahLst/>
                <a:cxnLst>
                  <a:cxn ang="0">
                    <a:pos x="T0" y="T1"/>
                  </a:cxn>
                  <a:cxn ang="0">
                    <a:pos x="T2" y="T3"/>
                  </a:cxn>
                  <a:cxn ang="0">
                    <a:pos x="T4" y="T5"/>
                  </a:cxn>
                  <a:cxn ang="0">
                    <a:pos x="T6" y="T7"/>
                  </a:cxn>
                  <a:cxn ang="0">
                    <a:pos x="T8" y="T9"/>
                  </a:cxn>
                </a:cxnLst>
                <a:rect l="0" t="0" r="r" b="b"/>
                <a:pathLst>
                  <a:path w="490" h="37">
                    <a:moveTo>
                      <a:pt x="490" y="37"/>
                    </a:moveTo>
                    <a:lnTo>
                      <a:pt x="0" y="37"/>
                    </a:lnTo>
                    <a:lnTo>
                      <a:pt x="16" y="0"/>
                    </a:lnTo>
                    <a:lnTo>
                      <a:pt x="490" y="0"/>
                    </a:lnTo>
                    <a:lnTo>
                      <a:pt x="490" y="37"/>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6" name="Freeform 1856">
                <a:extLst>
                  <a:ext uri="{FF2B5EF4-FFF2-40B4-BE49-F238E27FC236}">
                    <a16:creationId xmlns:a16="http://schemas.microsoft.com/office/drawing/2014/main" id="{A7C2BFCA-61C0-4149-D0A8-95992B2D0D39}"/>
                  </a:ext>
                </a:extLst>
              </p:cNvPr>
              <p:cNvSpPr>
                <a:spLocks/>
              </p:cNvSpPr>
              <p:nvPr/>
            </p:nvSpPr>
            <p:spPr bwMode="auto">
              <a:xfrm>
                <a:off x="8215472" y="5552395"/>
                <a:ext cx="185738" cy="55563"/>
              </a:xfrm>
              <a:custGeom>
                <a:avLst/>
                <a:gdLst>
                  <a:gd name="T0" fmla="*/ 83 w 117"/>
                  <a:gd name="T1" fmla="*/ 35 h 35"/>
                  <a:gd name="T2" fmla="*/ 0 w 117"/>
                  <a:gd name="T3" fmla="*/ 35 h 35"/>
                  <a:gd name="T4" fmla="*/ 0 w 117"/>
                  <a:gd name="T5" fmla="*/ 0 h 35"/>
                  <a:gd name="T6" fmla="*/ 117 w 117"/>
                  <a:gd name="T7" fmla="*/ 0 h 35"/>
                  <a:gd name="T8" fmla="*/ 83 w 117"/>
                  <a:gd name="T9" fmla="*/ 35 h 35"/>
                </a:gdLst>
                <a:ahLst/>
                <a:cxnLst>
                  <a:cxn ang="0">
                    <a:pos x="T0" y="T1"/>
                  </a:cxn>
                  <a:cxn ang="0">
                    <a:pos x="T2" y="T3"/>
                  </a:cxn>
                  <a:cxn ang="0">
                    <a:pos x="T4" y="T5"/>
                  </a:cxn>
                  <a:cxn ang="0">
                    <a:pos x="T6" y="T7"/>
                  </a:cxn>
                  <a:cxn ang="0">
                    <a:pos x="T8" y="T9"/>
                  </a:cxn>
                </a:cxnLst>
                <a:rect l="0" t="0" r="r" b="b"/>
                <a:pathLst>
                  <a:path w="117" h="35">
                    <a:moveTo>
                      <a:pt x="83" y="35"/>
                    </a:moveTo>
                    <a:lnTo>
                      <a:pt x="0" y="35"/>
                    </a:lnTo>
                    <a:lnTo>
                      <a:pt x="0" y="0"/>
                    </a:lnTo>
                    <a:lnTo>
                      <a:pt x="117" y="0"/>
                    </a:lnTo>
                    <a:lnTo>
                      <a:pt x="83" y="35"/>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7" name="Freeform 1857">
                <a:extLst>
                  <a:ext uri="{FF2B5EF4-FFF2-40B4-BE49-F238E27FC236}">
                    <a16:creationId xmlns:a16="http://schemas.microsoft.com/office/drawing/2014/main" id="{7BFF630E-8217-1C85-AE2D-34BA41DD3AEE}"/>
                  </a:ext>
                </a:extLst>
              </p:cNvPr>
              <p:cNvSpPr>
                <a:spLocks/>
              </p:cNvSpPr>
              <p:nvPr/>
            </p:nvSpPr>
            <p:spPr bwMode="auto">
              <a:xfrm>
                <a:off x="8215472" y="5552395"/>
                <a:ext cx="185738" cy="55563"/>
              </a:xfrm>
              <a:custGeom>
                <a:avLst/>
                <a:gdLst>
                  <a:gd name="T0" fmla="*/ 83 w 117"/>
                  <a:gd name="T1" fmla="*/ 35 h 35"/>
                  <a:gd name="T2" fmla="*/ 0 w 117"/>
                  <a:gd name="T3" fmla="*/ 35 h 35"/>
                  <a:gd name="T4" fmla="*/ 0 w 117"/>
                  <a:gd name="T5" fmla="*/ 0 h 35"/>
                  <a:gd name="T6" fmla="*/ 117 w 117"/>
                  <a:gd name="T7" fmla="*/ 0 h 35"/>
                  <a:gd name="T8" fmla="*/ 83 w 117"/>
                  <a:gd name="T9" fmla="*/ 35 h 35"/>
                </a:gdLst>
                <a:ahLst/>
                <a:cxnLst>
                  <a:cxn ang="0">
                    <a:pos x="T0" y="T1"/>
                  </a:cxn>
                  <a:cxn ang="0">
                    <a:pos x="T2" y="T3"/>
                  </a:cxn>
                  <a:cxn ang="0">
                    <a:pos x="T4" y="T5"/>
                  </a:cxn>
                  <a:cxn ang="0">
                    <a:pos x="T6" y="T7"/>
                  </a:cxn>
                  <a:cxn ang="0">
                    <a:pos x="T8" y="T9"/>
                  </a:cxn>
                </a:cxnLst>
                <a:rect l="0" t="0" r="r" b="b"/>
                <a:pathLst>
                  <a:path w="117" h="35">
                    <a:moveTo>
                      <a:pt x="83" y="35"/>
                    </a:moveTo>
                    <a:lnTo>
                      <a:pt x="0" y="35"/>
                    </a:lnTo>
                    <a:lnTo>
                      <a:pt x="0" y="0"/>
                    </a:lnTo>
                    <a:lnTo>
                      <a:pt x="117" y="0"/>
                    </a:lnTo>
                    <a:lnTo>
                      <a:pt x="83" y="35"/>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8" name="Freeform 1858">
                <a:extLst>
                  <a:ext uri="{FF2B5EF4-FFF2-40B4-BE49-F238E27FC236}">
                    <a16:creationId xmlns:a16="http://schemas.microsoft.com/office/drawing/2014/main" id="{8827571C-0741-82B2-75D9-854BC894D250}"/>
                  </a:ext>
                </a:extLst>
              </p:cNvPr>
              <p:cNvSpPr>
                <a:spLocks/>
              </p:cNvSpPr>
              <p:nvPr/>
            </p:nvSpPr>
            <p:spPr bwMode="auto">
              <a:xfrm>
                <a:off x="8063072" y="5552395"/>
                <a:ext cx="207963" cy="388938"/>
              </a:xfrm>
              <a:custGeom>
                <a:avLst/>
                <a:gdLst>
                  <a:gd name="T0" fmla="*/ 86 w 131"/>
                  <a:gd name="T1" fmla="*/ 0 h 245"/>
                  <a:gd name="T2" fmla="*/ 0 w 131"/>
                  <a:gd name="T3" fmla="*/ 245 h 245"/>
                  <a:gd name="T4" fmla="*/ 45 w 131"/>
                  <a:gd name="T5" fmla="*/ 245 h 245"/>
                  <a:gd name="T6" fmla="*/ 131 w 131"/>
                  <a:gd name="T7" fmla="*/ 0 h 245"/>
                  <a:gd name="T8" fmla="*/ 86 w 131"/>
                  <a:gd name="T9" fmla="*/ 0 h 245"/>
                </a:gdLst>
                <a:ahLst/>
                <a:cxnLst>
                  <a:cxn ang="0">
                    <a:pos x="T0" y="T1"/>
                  </a:cxn>
                  <a:cxn ang="0">
                    <a:pos x="T2" y="T3"/>
                  </a:cxn>
                  <a:cxn ang="0">
                    <a:pos x="T4" y="T5"/>
                  </a:cxn>
                  <a:cxn ang="0">
                    <a:pos x="T6" y="T7"/>
                  </a:cxn>
                  <a:cxn ang="0">
                    <a:pos x="T8" y="T9"/>
                  </a:cxn>
                </a:cxnLst>
                <a:rect l="0" t="0" r="r" b="b"/>
                <a:pathLst>
                  <a:path w="131" h="245">
                    <a:moveTo>
                      <a:pt x="86" y="0"/>
                    </a:moveTo>
                    <a:lnTo>
                      <a:pt x="0" y="245"/>
                    </a:lnTo>
                    <a:lnTo>
                      <a:pt x="45" y="245"/>
                    </a:lnTo>
                    <a:lnTo>
                      <a:pt x="131" y="0"/>
                    </a:lnTo>
                    <a:lnTo>
                      <a:pt x="86"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89" name="Freeform 1859">
                <a:extLst>
                  <a:ext uri="{FF2B5EF4-FFF2-40B4-BE49-F238E27FC236}">
                    <a16:creationId xmlns:a16="http://schemas.microsoft.com/office/drawing/2014/main" id="{0CB7A33A-B412-14FC-4FE3-51E5B0683A4B}"/>
                  </a:ext>
                </a:extLst>
              </p:cNvPr>
              <p:cNvSpPr>
                <a:spLocks/>
              </p:cNvSpPr>
              <p:nvPr/>
            </p:nvSpPr>
            <p:spPr bwMode="auto">
              <a:xfrm>
                <a:off x="8063072" y="5552395"/>
                <a:ext cx="207963" cy="388938"/>
              </a:xfrm>
              <a:custGeom>
                <a:avLst/>
                <a:gdLst>
                  <a:gd name="T0" fmla="*/ 86 w 131"/>
                  <a:gd name="T1" fmla="*/ 0 h 245"/>
                  <a:gd name="T2" fmla="*/ 0 w 131"/>
                  <a:gd name="T3" fmla="*/ 245 h 245"/>
                  <a:gd name="T4" fmla="*/ 45 w 131"/>
                  <a:gd name="T5" fmla="*/ 245 h 245"/>
                  <a:gd name="T6" fmla="*/ 131 w 131"/>
                  <a:gd name="T7" fmla="*/ 0 h 245"/>
                  <a:gd name="T8" fmla="*/ 86 w 131"/>
                  <a:gd name="T9" fmla="*/ 0 h 245"/>
                </a:gdLst>
                <a:ahLst/>
                <a:cxnLst>
                  <a:cxn ang="0">
                    <a:pos x="T0" y="T1"/>
                  </a:cxn>
                  <a:cxn ang="0">
                    <a:pos x="T2" y="T3"/>
                  </a:cxn>
                  <a:cxn ang="0">
                    <a:pos x="T4" y="T5"/>
                  </a:cxn>
                  <a:cxn ang="0">
                    <a:pos x="T6" y="T7"/>
                  </a:cxn>
                  <a:cxn ang="0">
                    <a:pos x="T8" y="T9"/>
                  </a:cxn>
                </a:cxnLst>
                <a:rect l="0" t="0" r="r" b="b"/>
                <a:pathLst>
                  <a:path w="131" h="245">
                    <a:moveTo>
                      <a:pt x="86" y="0"/>
                    </a:moveTo>
                    <a:lnTo>
                      <a:pt x="0" y="245"/>
                    </a:lnTo>
                    <a:lnTo>
                      <a:pt x="45" y="245"/>
                    </a:lnTo>
                    <a:lnTo>
                      <a:pt x="131" y="0"/>
                    </a:lnTo>
                    <a:lnTo>
                      <a:pt x="86"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0" name="Oval 1861">
                <a:extLst>
                  <a:ext uri="{FF2B5EF4-FFF2-40B4-BE49-F238E27FC236}">
                    <a16:creationId xmlns:a16="http://schemas.microsoft.com/office/drawing/2014/main" id="{07176479-B5C0-2CA8-9DC6-D06366DC6A41}"/>
                  </a:ext>
                </a:extLst>
              </p:cNvPr>
              <p:cNvSpPr>
                <a:spLocks noChangeArrowheads="1"/>
              </p:cNvSpPr>
              <p:nvPr/>
            </p:nvSpPr>
            <p:spPr bwMode="auto">
              <a:xfrm>
                <a:off x="7872572" y="6096907"/>
                <a:ext cx="82550" cy="82550"/>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1" name="Freeform 1862">
                <a:extLst>
                  <a:ext uri="{FF2B5EF4-FFF2-40B4-BE49-F238E27FC236}">
                    <a16:creationId xmlns:a16="http://schemas.microsoft.com/office/drawing/2014/main" id="{8E802AFF-BEBC-50AA-3925-DBEEBEEC9389}"/>
                  </a:ext>
                </a:extLst>
              </p:cNvPr>
              <p:cNvSpPr>
                <a:spLocks noEditPoints="1"/>
              </p:cNvSpPr>
              <p:nvPr/>
            </p:nvSpPr>
            <p:spPr bwMode="auto">
              <a:xfrm>
                <a:off x="7828122" y="6049282"/>
                <a:ext cx="174625" cy="174625"/>
              </a:xfrm>
              <a:custGeom>
                <a:avLst/>
                <a:gdLst>
                  <a:gd name="T0" fmla="*/ 46 w 93"/>
                  <a:gd name="T1" fmla="*/ 0 h 93"/>
                  <a:gd name="T2" fmla="*/ 93 w 93"/>
                  <a:gd name="T3" fmla="*/ 47 h 93"/>
                  <a:gd name="T4" fmla="*/ 46 w 93"/>
                  <a:gd name="T5" fmla="*/ 93 h 93"/>
                  <a:gd name="T6" fmla="*/ 0 w 93"/>
                  <a:gd name="T7" fmla="*/ 47 h 93"/>
                  <a:gd name="T8" fmla="*/ 46 w 93"/>
                  <a:gd name="T9" fmla="*/ 0 h 93"/>
                  <a:gd name="T10" fmla="*/ 68 w 93"/>
                  <a:gd name="T11" fmla="*/ 47 h 93"/>
                  <a:gd name="T12" fmla="*/ 46 w 93"/>
                  <a:gd name="T13" fmla="*/ 25 h 93"/>
                  <a:gd name="T14" fmla="*/ 24 w 93"/>
                  <a:gd name="T15" fmla="*/ 47 h 93"/>
                  <a:gd name="T16" fmla="*/ 46 w 93"/>
                  <a:gd name="T17" fmla="*/ 69 h 93"/>
                  <a:gd name="T18" fmla="*/ 68 w 93"/>
                  <a:gd name="T1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6" y="0"/>
                    </a:moveTo>
                    <a:cubicBezTo>
                      <a:pt x="72" y="0"/>
                      <a:pt x="93" y="21"/>
                      <a:pt x="93" y="47"/>
                    </a:cubicBezTo>
                    <a:cubicBezTo>
                      <a:pt x="93" y="72"/>
                      <a:pt x="72" y="93"/>
                      <a:pt x="46" y="93"/>
                    </a:cubicBezTo>
                    <a:cubicBezTo>
                      <a:pt x="20" y="93"/>
                      <a:pt x="0" y="72"/>
                      <a:pt x="0" y="47"/>
                    </a:cubicBezTo>
                    <a:cubicBezTo>
                      <a:pt x="0" y="21"/>
                      <a:pt x="20" y="0"/>
                      <a:pt x="46" y="0"/>
                    </a:cubicBezTo>
                    <a:close/>
                    <a:moveTo>
                      <a:pt x="68" y="47"/>
                    </a:moveTo>
                    <a:cubicBezTo>
                      <a:pt x="68" y="34"/>
                      <a:pt x="58" y="25"/>
                      <a:pt x="46" y="25"/>
                    </a:cubicBezTo>
                    <a:cubicBezTo>
                      <a:pt x="34" y="25"/>
                      <a:pt x="24" y="34"/>
                      <a:pt x="24" y="47"/>
                    </a:cubicBezTo>
                    <a:cubicBezTo>
                      <a:pt x="24" y="59"/>
                      <a:pt x="34" y="69"/>
                      <a:pt x="46" y="69"/>
                    </a:cubicBezTo>
                    <a:cubicBezTo>
                      <a:pt x="58" y="69"/>
                      <a:pt x="68" y="59"/>
                      <a:pt x="68" y="47"/>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2" name="Oval 1863">
                <a:extLst>
                  <a:ext uri="{FF2B5EF4-FFF2-40B4-BE49-F238E27FC236}">
                    <a16:creationId xmlns:a16="http://schemas.microsoft.com/office/drawing/2014/main" id="{33CA8896-5C0C-40F8-1DB9-8F8E983DF922}"/>
                  </a:ext>
                </a:extLst>
              </p:cNvPr>
              <p:cNvSpPr>
                <a:spLocks noChangeArrowheads="1"/>
              </p:cNvSpPr>
              <p:nvPr/>
            </p:nvSpPr>
            <p:spPr bwMode="auto">
              <a:xfrm>
                <a:off x="7828122" y="6049282"/>
                <a:ext cx="174625" cy="1746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3" name="Oval 1864">
                <a:extLst>
                  <a:ext uri="{FF2B5EF4-FFF2-40B4-BE49-F238E27FC236}">
                    <a16:creationId xmlns:a16="http://schemas.microsoft.com/office/drawing/2014/main" id="{A91C9206-E796-76F4-8932-E2AB727808BE}"/>
                  </a:ext>
                </a:extLst>
              </p:cNvPr>
              <p:cNvSpPr>
                <a:spLocks noChangeArrowheads="1"/>
              </p:cNvSpPr>
              <p:nvPr/>
            </p:nvSpPr>
            <p:spPr bwMode="auto">
              <a:xfrm>
                <a:off x="7872572" y="6096907"/>
                <a:ext cx="82550" cy="82550"/>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4" name="Oval 1865">
                <a:extLst>
                  <a:ext uri="{FF2B5EF4-FFF2-40B4-BE49-F238E27FC236}">
                    <a16:creationId xmlns:a16="http://schemas.microsoft.com/office/drawing/2014/main" id="{80D169C0-7CE4-FF6D-F592-DA305D919978}"/>
                  </a:ext>
                </a:extLst>
              </p:cNvPr>
              <p:cNvSpPr>
                <a:spLocks noChangeArrowheads="1"/>
              </p:cNvSpPr>
              <p:nvPr/>
            </p:nvSpPr>
            <p:spPr bwMode="auto">
              <a:xfrm>
                <a:off x="7640797" y="6096907"/>
                <a:ext cx="82550" cy="82550"/>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5" name="Freeform 1866">
                <a:extLst>
                  <a:ext uri="{FF2B5EF4-FFF2-40B4-BE49-F238E27FC236}">
                    <a16:creationId xmlns:a16="http://schemas.microsoft.com/office/drawing/2014/main" id="{9AC07B81-EE21-1827-3ACD-113E2F3038B2}"/>
                  </a:ext>
                </a:extLst>
              </p:cNvPr>
              <p:cNvSpPr>
                <a:spLocks noEditPoints="1"/>
              </p:cNvSpPr>
              <p:nvPr/>
            </p:nvSpPr>
            <p:spPr bwMode="auto">
              <a:xfrm>
                <a:off x="7593172" y="6049282"/>
                <a:ext cx="174625" cy="174625"/>
              </a:xfrm>
              <a:custGeom>
                <a:avLst/>
                <a:gdLst>
                  <a:gd name="T0" fmla="*/ 47 w 93"/>
                  <a:gd name="T1" fmla="*/ 0 h 93"/>
                  <a:gd name="T2" fmla="*/ 93 w 93"/>
                  <a:gd name="T3" fmla="*/ 47 h 93"/>
                  <a:gd name="T4" fmla="*/ 47 w 93"/>
                  <a:gd name="T5" fmla="*/ 93 h 93"/>
                  <a:gd name="T6" fmla="*/ 0 w 93"/>
                  <a:gd name="T7" fmla="*/ 47 h 93"/>
                  <a:gd name="T8" fmla="*/ 47 w 93"/>
                  <a:gd name="T9" fmla="*/ 0 h 93"/>
                  <a:gd name="T10" fmla="*/ 69 w 93"/>
                  <a:gd name="T11" fmla="*/ 47 h 93"/>
                  <a:gd name="T12" fmla="*/ 47 w 93"/>
                  <a:gd name="T13" fmla="*/ 25 h 93"/>
                  <a:gd name="T14" fmla="*/ 25 w 93"/>
                  <a:gd name="T15" fmla="*/ 47 h 93"/>
                  <a:gd name="T16" fmla="*/ 47 w 93"/>
                  <a:gd name="T17" fmla="*/ 69 h 93"/>
                  <a:gd name="T18" fmla="*/ 69 w 93"/>
                  <a:gd name="T1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73" y="0"/>
                      <a:pt x="93" y="21"/>
                      <a:pt x="93" y="47"/>
                    </a:cubicBezTo>
                    <a:cubicBezTo>
                      <a:pt x="93" y="72"/>
                      <a:pt x="73" y="93"/>
                      <a:pt x="47" y="93"/>
                    </a:cubicBezTo>
                    <a:cubicBezTo>
                      <a:pt x="21" y="93"/>
                      <a:pt x="0" y="72"/>
                      <a:pt x="0" y="47"/>
                    </a:cubicBezTo>
                    <a:cubicBezTo>
                      <a:pt x="0" y="21"/>
                      <a:pt x="21" y="0"/>
                      <a:pt x="47" y="0"/>
                    </a:cubicBezTo>
                    <a:close/>
                    <a:moveTo>
                      <a:pt x="69" y="47"/>
                    </a:moveTo>
                    <a:cubicBezTo>
                      <a:pt x="69" y="34"/>
                      <a:pt x="59" y="25"/>
                      <a:pt x="47" y="25"/>
                    </a:cubicBezTo>
                    <a:cubicBezTo>
                      <a:pt x="35" y="25"/>
                      <a:pt x="25" y="34"/>
                      <a:pt x="25" y="47"/>
                    </a:cubicBezTo>
                    <a:cubicBezTo>
                      <a:pt x="25" y="59"/>
                      <a:pt x="35" y="69"/>
                      <a:pt x="47" y="69"/>
                    </a:cubicBezTo>
                    <a:cubicBezTo>
                      <a:pt x="59" y="69"/>
                      <a:pt x="69" y="59"/>
                      <a:pt x="69" y="47"/>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6" name="Oval 1867">
                <a:extLst>
                  <a:ext uri="{FF2B5EF4-FFF2-40B4-BE49-F238E27FC236}">
                    <a16:creationId xmlns:a16="http://schemas.microsoft.com/office/drawing/2014/main" id="{0EB40D09-2C95-4E9E-1536-038E93A1EE1F}"/>
                  </a:ext>
                </a:extLst>
              </p:cNvPr>
              <p:cNvSpPr>
                <a:spLocks noChangeArrowheads="1"/>
              </p:cNvSpPr>
              <p:nvPr/>
            </p:nvSpPr>
            <p:spPr bwMode="auto">
              <a:xfrm>
                <a:off x="7593172" y="6049282"/>
                <a:ext cx="174625" cy="1746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7" name="Oval 1868">
                <a:extLst>
                  <a:ext uri="{FF2B5EF4-FFF2-40B4-BE49-F238E27FC236}">
                    <a16:creationId xmlns:a16="http://schemas.microsoft.com/office/drawing/2014/main" id="{2566F511-0708-DE06-0D46-5A5D1A9AB790}"/>
                  </a:ext>
                </a:extLst>
              </p:cNvPr>
              <p:cNvSpPr>
                <a:spLocks noChangeArrowheads="1"/>
              </p:cNvSpPr>
              <p:nvPr/>
            </p:nvSpPr>
            <p:spPr bwMode="auto">
              <a:xfrm>
                <a:off x="7640797" y="6096907"/>
                <a:ext cx="82550" cy="82550"/>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8" name="Freeform 1869">
                <a:extLst>
                  <a:ext uri="{FF2B5EF4-FFF2-40B4-BE49-F238E27FC236}">
                    <a16:creationId xmlns:a16="http://schemas.microsoft.com/office/drawing/2014/main" id="{FA90C42E-7A91-09DE-69B6-4E0E09FCFA1B}"/>
                  </a:ext>
                </a:extLst>
              </p:cNvPr>
              <p:cNvSpPr>
                <a:spLocks/>
              </p:cNvSpPr>
              <p:nvPr/>
            </p:nvSpPr>
            <p:spPr bwMode="auto">
              <a:xfrm>
                <a:off x="7486809" y="5979432"/>
                <a:ext cx="622300" cy="120650"/>
              </a:xfrm>
              <a:custGeom>
                <a:avLst/>
                <a:gdLst>
                  <a:gd name="T0" fmla="*/ 328 w 392"/>
                  <a:gd name="T1" fmla="*/ 0 h 76"/>
                  <a:gd name="T2" fmla="*/ 195 w 392"/>
                  <a:gd name="T3" fmla="*/ 0 h 76"/>
                  <a:gd name="T4" fmla="*/ 182 w 392"/>
                  <a:gd name="T5" fmla="*/ 0 h 76"/>
                  <a:gd name="T6" fmla="*/ 171 w 392"/>
                  <a:gd name="T7" fmla="*/ 0 h 76"/>
                  <a:gd name="T8" fmla="*/ 161 w 392"/>
                  <a:gd name="T9" fmla="*/ 0 h 76"/>
                  <a:gd name="T10" fmla="*/ 150 w 392"/>
                  <a:gd name="T11" fmla="*/ 0 h 76"/>
                  <a:gd name="T12" fmla="*/ 137 w 392"/>
                  <a:gd name="T13" fmla="*/ 0 h 76"/>
                  <a:gd name="T14" fmla="*/ 58 w 392"/>
                  <a:gd name="T15" fmla="*/ 0 h 76"/>
                  <a:gd name="T16" fmla="*/ 0 w 392"/>
                  <a:gd name="T17" fmla="*/ 76 h 76"/>
                  <a:gd name="T18" fmla="*/ 29 w 392"/>
                  <a:gd name="T19" fmla="*/ 76 h 76"/>
                  <a:gd name="T20" fmla="*/ 68 w 392"/>
                  <a:gd name="T21" fmla="*/ 23 h 76"/>
                  <a:gd name="T22" fmla="*/ 137 w 392"/>
                  <a:gd name="T23" fmla="*/ 23 h 76"/>
                  <a:gd name="T24" fmla="*/ 150 w 392"/>
                  <a:gd name="T25" fmla="*/ 23 h 76"/>
                  <a:gd name="T26" fmla="*/ 161 w 392"/>
                  <a:gd name="T27" fmla="*/ 23 h 76"/>
                  <a:gd name="T28" fmla="*/ 171 w 392"/>
                  <a:gd name="T29" fmla="*/ 23 h 76"/>
                  <a:gd name="T30" fmla="*/ 182 w 392"/>
                  <a:gd name="T31" fmla="*/ 23 h 76"/>
                  <a:gd name="T32" fmla="*/ 195 w 392"/>
                  <a:gd name="T33" fmla="*/ 23 h 76"/>
                  <a:gd name="T34" fmla="*/ 318 w 392"/>
                  <a:gd name="T35" fmla="*/ 23 h 76"/>
                  <a:gd name="T36" fmla="*/ 363 w 392"/>
                  <a:gd name="T37" fmla="*/ 76 h 76"/>
                  <a:gd name="T38" fmla="*/ 392 w 392"/>
                  <a:gd name="T39" fmla="*/ 76 h 76"/>
                  <a:gd name="T40" fmla="*/ 328 w 392"/>
                  <a:gd name="T4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2" h="76">
                    <a:moveTo>
                      <a:pt x="328" y="0"/>
                    </a:moveTo>
                    <a:lnTo>
                      <a:pt x="195" y="0"/>
                    </a:lnTo>
                    <a:lnTo>
                      <a:pt x="182" y="0"/>
                    </a:lnTo>
                    <a:lnTo>
                      <a:pt x="171" y="0"/>
                    </a:lnTo>
                    <a:lnTo>
                      <a:pt x="161" y="0"/>
                    </a:lnTo>
                    <a:lnTo>
                      <a:pt x="150" y="0"/>
                    </a:lnTo>
                    <a:lnTo>
                      <a:pt x="137" y="0"/>
                    </a:lnTo>
                    <a:lnTo>
                      <a:pt x="58" y="0"/>
                    </a:lnTo>
                    <a:lnTo>
                      <a:pt x="0" y="76"/>
                    </a:lnTo>
                    <a:lnTo>
                      <a:pt x="29" y="76"/>
                    </a:lnTo>
                    <a:lnTo>
                      <a:pt x="68" y="23"/>
                    </a:lnTo>
                    <a:lnTo>
                      <a:pt x="137" y="23"/>
                    </a:lnTo>
                    <a:lnTo>
                      <a:pt x="150" y="23"/>
                    </a:lnTo>
                    <a:lnTo>
                      <a:pt x="161" y="23"/>
                    </a:lnTo>
                    <a:lnTo>
                      <a:pt x="171" y="23"/>
                    </a:lnTo>
                    <a:lnTo>
                      <a:pt x="182" y="23"/>
                    </a:lnTo>
                    <a:lnTo>
                      <a:pt x="195" y="23"/>
                    </a:lnTo>
                    <a:lnTo>
                      <a:pt x="318" y="23"/>
                    </a:lnTo>
                    <a:lnTo>
                      <a:pt x="363" y="76"/>
                    </a:lnTo>
                    <a:lnTo>
                      <a:pt x="392" y="76"/>
                    </a:lnTo>
                    <a:lnTo>
                      <a:pt x="328"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99" name="Freeform 1870">
                <a:extLst>
                  <a:ext uri="{FF2B5EF4-FFF2-40B4-BE49-F238E27FC236}">
                    <a16:creationId xmlns:a16="http://schemas.microsoft.com/office/drawing/2014/main" id="{CF2A94D8-F55D-BDA2-68C6-6A256D53ABEB}"/>
                  </a:ext>
                </a:extLst>
              </p:cNvPr>
              <p:cNvSpPr>
                <a:spLocks/>
              </p:cNvSpPr>
              <p:nvPr/>
            </p:nvSpPr>
            <p:spPr bwMode="auto">
              <a:xfrm>
                <a:off x="7486809" y="5979432"/>
                <a:ext cx="622300" cy="120650"/>
              </a:xfrm>
              <a:custGeom>
                <a:avLst/>
                <a:gdLst>
                  <a:gd name="T0" fmla="*/ 328 w 392"/>
                  <a:gd name="T1" fmla="*/ 0 h 76"/>
                  <a:gd name="T2" fmla="*/ 195 w 392"/>
                  <a:gd name="T3" fmla="*/ 0 h 76"/>
                  <a:gd name="T4" fmla="*/ 182 w 392"/>
                  <a:gd name="T5" fmla="*/ 0 h 76"/>
                  <a:gd name="T6" fmla="*/ 171 w 392"/>
                  <a:gd name="T7" fmla="*/ 0 h 76"/>
                  <a:gd name="T8" fmla="*/ 161 w 392"/>
                  <a:gd name="T9" fmla="*/ 0 h 76"/>
                  <a:gd name="T10" fmla="*/ 150 w 392"/>
                  <a:gd name="T11" fmla="*/ 0 h 76"/>
                  <a:gd name="T12" fmla="*/ 137 w 392"/>
                  <a:gd name="T13" fmla="*/ 0 h 76"/>
                  <a:gd name="T14" fmla="*/ 58 w 392"/>
                  <a:gd name="T15" fmla="*/ 0 h 76"/>
                  <a:gd name="T16" fmla="*/ 0 w 392"/>
                  <a:gd name="T17" fmla="*/ 76 h 76"/>
                  <a:gd name="T18" fmla="*/ 29 w 392"/>
                  <a:gd name="T19" fmla="*/ 76 h 76"/>
                  <a:gd name="T20" fmla="*/ 68 w 392"/>
                  <a:gd name="T21" fmla="*/ 23 h 76"/>
                  <a:gd name="T22" fmla="*/ 137 w 392"/>
                  <a:gd name="T23" fmla="*/ 23 h 76"/>
                  <a:gd name="T24" fmla="*/ 150 w 392"/>
                  <a:gd name="T25" fmla="*/ 23 h 76"/>
                  <a:gd name="T26" fmla="*/ 161 w 392"/>
                  <a:gd name="T27" fmla="*/ 23 h 76"/>
                  <a:gd name="T28" fmla="*/ 171 w 392"/>
                  <a:gd name="T29" fmla="*/ 23 h 76"/>
                  <a:gd name="T30" fmla="*/ 182 w 392"/>
                  <a:gd name="T31" fmla="*/ 23 h 76"/>
                  <a:gd name="T32" fmla="*/ 195 w 392"/>
                  <a:gd name="T33" fmla="*/ 23 h 76"/>
                  <a:gd name="T34" fmla="*/ 318 w 392"/>
                  <a:gd name="T35" fmla="*/ 23 h 76"/>
                  <a:gd name="T36" fmla="*/ 363 w 392"/>
                  <a:gd name="T37" fmla="*/ 76 h 76"/>
                  <a:gd name="T38" fmla="*/ 392 w 392"/>
                  <a:gd name="T39" fmla="*/ 76 h 76"/>
                  <a:gd name="T40" fmla="*/ 328 w 392"/>
                  <a:gd name="T4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2" h="76">
                    <a:moveTo>
                      <a:pt x="328" y="0"/>
                    </a:moveTo>
                    <a:lnTo>
                      <a:pt x="195" y="0"/>
                    </a:lnTo>
                    <a:lnTo>
                      <a:pt x="182" y="0"/>
                    </a:lnTo>
                    <a:lnTo>
                      <a:pt x="171" y="0"/>
                    </a:lnTo>
                    <a:lnTo>
                      <a:pt x="161" y="0"/>
                    </a:lnTo>
                    <a:lnTo>
                      <a:pt x="150" y="0"/>
                    </a:lnTo>
                    <a:lnTo>
                      <a:pt x="137" y="0"/>
                    </a:lnTo>
                    <a:lnTo>
                      <a:pt x="58" y="0"/>
                    </a:lnTo>
                    <a:lnTo>
                      <a:pt x="0" y="76"/>
                    </a:lnTo>
                    <a:lnTo>
                      <a:pt x="29" y="76"/>
                    </a:lnTo>
                    <a:lnTo>
                      <a:pt x="68" y="23"/>
                    </a:lnTo>
                    <a:lnTo>
                      <a:pt x="137" y="23"/>
                    </a:lnTo>
                    <a:lnTo>
                      <a:pt x="150" y="23"/>
                    </a:lnTo>
                    <a:lnTo>
                      <a:pt x="161" y="23"/>
                    </a:lnTo>
                    <a:lnTo>
                      <a:pt x="171" y="23"/>
                    </a:lnTo>
                    <a:lnTo>
                      <a:pt x="182" y="23"/>
                    </a:lnTo>
                    <a:lnTo>
                      <a:pt x="195" y="23"/>
                    </a:lnTo>
                    <a:lnTo>
                      <a:pt x="318" y="23"/>
                    </a:lnTo>
                    <a:lnTo>
                      <a:pt x="363" y="76"/>
                    </a:lnTo>
                    <a:lnTo>
                      <a:pt x="392" y="76"/>
                    </a:lnTo>
                    <a:lnTo>
                      <a:pt x="328"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grpSp>
      </p:grpSp>
      <p:sp>
        <p:nvSpPr>
          <p:cNvPr id="245" name="CaixaDeTexto 244">
            <a:extLst>
              <a:ext uri="{FF2B5EF4-FFF2-40B4-BE49-F238E27FC236}">
                <a16:creationId xmlns:a16="http://schemas.microsoft.com/office/drawing/2014/main" id="{48BDC4D8-A637-D094-667E-0C6949C9C99C}"/>
              </a:ext>
            </a:extLst>
          </p:cNvPr>
          <p:cNvSpPr txBox="1"/>
          <p:nvPr/>
        </p:nvSpPr>
        <p:spPr>
          <a:xfrm>
            <a:off x="5599170" y="1508356"/>
            <a:ext cx="21084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9281C"/>
                </a:solidFill>
                <a:effectLst/>
                <a:uLnTx/>
                <a:uFillTx/>
                <a:latin typeface="Aptos" panose="020B0004020202020204" pitchFamily="34" charset="0"/>
                <a:ea typeface="+mn-ea"/>
                <a:cs typeface="+mn-cs"/>
              </a:rPr>
              <a:t>Differentiators</a:t>
            </a:r>
          </a:p>
        </p:txBody>
      </p:sp>
      <p:sp>
        <p:nvSpPr>
          <p:cNvPr id="246" name="TextBox 506">
            <a:extLst>
              <a:ext uri="{FF2B5EF4-FFF2-40B4-BE49-F238E27FC236}">
                <a16:creationId xmlns:a16="http://schemas.microsoft.com/office/drawing/2014/main" id="{E9A6BD78-2EE4-BECD-7A7B-B4CD1A67CDD4}"/>
              </a:ext>
            </a:extLst>
          </p:cNvPr>
          <p:cNvSpPr txBox="1"/>
          <p:nvPr/>
        </p:nvSpPr>
        <p:spPr>
          <a:xfrm>
            <a:off x="5618843" y="3232290"/>
            <a:ext cx="103713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Primary Applications</a:t>
            </a:r>
          </a:p>
        </p:txBody>
      </p:sp>
      <p:sp>
        <p:nvSpPr>
          <p:cNvPr id="128" name="Espaço Reservado para Conteúdo 127">
            <a:extLst>
              <a:ext uri="{FF2B5EF4-FFF2-40B4-BE49-F238E27FC236}">
                <a16:creationId xmlns:a16="http://schemas.microsoft.com/office/drawing/2014/main" id="{5B7C6625-3D24-6889-C3B4-9C2FED67A8E6}"/>
              </a:ext>
            </a:extLst>
          </p:cNvPr>
          <p:cNvSpPr>
            <a:spLocks noGrp="1"/>
          </p:cNvSpPr>
          <p:nvPr>
            <p:ph idx="1"/>
          </p:nvPr>
        </p:nvSpPr>
        <p:spPr/>
        <p:txBody>
          <a:bodyPr/>
          <a:lstStyle/>
          <a:p>
            <a:r>
              <a:rPr kumimoji="0" lang="en-US" sz="2400" b="1" i="0" u="none" strike="noStrike" kern="1200" cap="none" spc="0" normalizeH="0" baseline="0" noProof="0">
                <a:ln>
                  <a:noFill/>
                </a:ln>
                <a:solidFill>
                  <a:schemeClr val="accent1"/>
                </a:solidFill>
                <a:effectLst/>
                <a:uLnTx/>
                <a:uFillTx/>
                <a:latin typeface="Aptos" panose="020B0004020202020204" pitchFamily="34" charset="0"/>
              </a:rPr>
              <a:t>Vocational Application</a:t>
            </a:r>
          </a:p>
        </p:txBody>
      </p:sp>
      <p:sp>
        <p:nvSpPr>
          <p:cNvPr id="3" name="Rounded Rectangle 56">
            <a:extLst>
              <a:ext uri="{FF2B5EF4-FFF2-40B4-BE49-F238E27FC236}">
                <a16:creationId xmlns:a16="http://schemas.microsoft.com/office/drawing/2014/main" id="{8023BB04-E99E-F031-F0DE-91CA2A9C93C9}"/>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4" name="Conector Reto 31">
            <a:extLst>
              <a:ext uri="{FF2B5EF4-FFF2-40B4-BE49-F238E27FC236}">
                <a16:creationId xmlns:a16="http://schemas.microsoft.com/office/drawing/2014/main" id="{F93399D5-F679-FF6A-FF7C-61311EB9EE52}"/>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 name="Conector Reto 75">
            <a:extLst>
              <a:ext uri="{FF2B5EF4-FFF2-40B4-BE49-F238E27FC236}">
                <a16:creationId xmlns:a16="http://schemas.microsoft.com/office/drawing/2014/main" id="{4F175C15-0DF7-9636-6857-FFB78E0C0C30}"/>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6" name="Conector Reto 31">
            <a:extLst>
              <a:ext uri="{FF2B5EF4-FFF2-40B4-BE49-F238E27FC236}">
                <a16:creationId xmlns:a16="http://schemas.microsoft.com/office/drawing/2014/main" id="{EA165FA4-83AD-1960-8663-E4EC3C47C99C}"/>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 name="Conector Reto 31">
            <a:extLst>
              <a:ext uri="{FF2B5EF4-FFF2-40B4-BE49-F238E27FC236}">
                <a16:creationId xmlns:a16="http://schemas.microsoft.com/office/drawing/2014/main" id="{29F01ED1-A029-0EBF-F3C6-E16CF5D25C60}"/>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Conector Reto 78">
            <a:extLst>
              <a:ext uri="{FF2B5EF4-FFF2-40B4-BE49-F238E27FC236}">
                <a16:creationId xmlns:a16="http://schemas.microsoft.com/office/drawing/2014/main" id="{3CF65634-7455-EC0C-CDA5-10FFB43DB39D}"/>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Conector Reto 31">
            <a:extLst>
              <a:ext uri="{FF2B5EF4-FFF2-40B4-BE49-F238E27FC236}">
                <a16:creationId xmlns:a16="http://schemas.microsoft.com/office/drawing/2014/main" id="{713623E8-D819-A43F-A159-1FB19A1EAA82}"/>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0" name="CaixaDeTexto 80">
            <a:extLst>
              <a:ext uri="{FF2B5EF4-FFF2-40B4-BE49-F238E27FC236}">
                <a16:creationId xmlns:a16="http://schemas.microsoft.com/office/drawing/2014/main" id="{3982E90F-A5DC-2A5B-7B84-DED744B4FB7B}"/>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11" name="CaixaDeTexto 81">
            <a:extLst>
              <a:ext uri="{FF2B5EF4-FFF2-40B4-BE49-F238E27FC236}">
                <a16:creationId xmlns:a16="http://schemas.microsoft.com/office/drawing/2014/main" id="{EE716AED-9616-878E-EA03-AD06C277CBC0}"/>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12" name="CaixaDeTexto 82">
            <a:extLst>
              <a:ext uri="{FF2B5EF4-FFF2-40B4-BE49-F238E27FC236}">
                <a16:creationId xmlns:a16="http://schemas.microsoft.com/office/drawing/2014/main" id="{D08F9087-295E-0A01-ADA6-61929CA3FE6E}"/>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13" name="CaixaDeTexto 83">
            <a:extLst>
              <a:ext uri="{FF2B5EF4-FFF2-40B4-BE49-F238E27FC236}">
                <a16:creationId xmlns:a16="http://schemas.microsoft.com/office/drawing/2014/main" id="{C861D778-27B4-94CE-308C-1C01DB8DA63B}"/>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14" name="CaixaDeTexto 84">
            <a:extLst>
              <a:ext uri="{FF2B5EF4-FFF2-40B4-BE49-F238E27FC236}">
                <a16:creationId xmlns:a16="http://schemas.microsoft.com/office/drawing/2014/main" id="{6D01F41F-B2C8-E1EC-F142-AB45E8C5587A}"/>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pplications</a:t>
            </a:r>
          </a:p>
        </p:txBody>
      </p:sp>
      <p:sp>
        <p:nvSpPr>
          <p:cNvPr id="15" name="CaixaDeTexto 85">
            <a:extLst>
              <a:ext uri="{FF2B5EF4-FFF2-40B4-BE49-F238E27FC236}">
                <a16:creationId xmlns:a16="http://schemas.microsoft.com/office/drawing/2014/main" id="{1A1A5A72-BB66-8E09-96B0-0A2E30EDD1ED}"/>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16" name="CaixaDeTexto 86">
            <a:extLst>
              <a:ext uri="{FF2B5EF4-FFF2-40B4-BE49-F238E27FC236}">
                <a16:creationId xmlns:a16="http://schemas.microsoft.com/office/drawing/2014/main" id="{C02B9F2C-3367-02C3-2001-B1D56B4927B6}"/>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17" name="CaixaDeTexto 87">
            <a:extLst>
              <a:ext uri="{FF2B5EF4-FFF2-40B4-BE49-F238E27FC236}">
                <a16:creationId xmlns:a16="http://schemas.microsoft.com/office/drawing/2014/main" id="{6C5398B3-1F97-0209-7779-15BCE27CB6FF}"/>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18" name="Conector Reto 31">
            <a:extLst>
              <a:ext uri="{FF2B5EF4-FFF2-40B4-BE49-F238E27FC236}">
                <a16:creationId xmlns:a16="http://schemas.microsoft.com/office/drawing/2014/main" id="{E4C6FE1A-F477-9A9B-946D-ED683661D4BE}"/>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Conector Reto 31">
            <a:extLst>
              <a:ext uri="{FF2B5EF4-FFF2-40B4-BE49-F238E27FC236}">
                <a16:creationId xmlns:a16="http://schemas.microsoft.com/office/drawing/2014/main" id="{8EAD3B98-0297-AB34-4F0A-6FA8ED040B58}"/>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17">
            <a:extLst>
              <a:ext uri="{FF2B5EF4-FFF2-40B4-BE49-F238E27FC236}">
                <a16:creationId xmlns:a16="http://schemas.microsoft.com/office/drawing/2014/main" id="{F7AE831F-DCAA-603E-4DF0-C737B1E97933}"/>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3" name="Rounded Rectangle 141">
            <a:extLst>
              <a:ext uri="{FF2B5EF4-FFF2-40B4-BE49-F238E27FC236}">
                <a16:creationId xmlns:a16="http://schemas.microsoft.com/office/drawing/2014/main" id="{31691562-1588-3B64-B2F1-6F6C94D00A0D}"/>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24" name="CaixaDeTexto 89">
            <a:extLst>
              <a:ext uri="{FF2B5EF4-FFF2-40B4-BE49-F238E27FC236}">
                <a16:creationId xmlns:a16="http://schemas.microsoft.com/office/drawing/2014/main" id="{284BDB2E-357F-7724-8BE0-0EA4793CDEBB}"/>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28" name="Retângulo Arredondado 128">
            <a:extLst>
              <a:ext uri="{FF2B5EF4-FFF2-40B4-BE49-F238E27FC236}">
                <a16:creationId xmlns:a16="http://schemas.microsoft.com/office/drawing/2014/main" id="{2FC82403-5037-1B7B-21B0-6F38DC0E4042}"/>
              </a:ext>
            </a:extLst>
          </p:cNvPr>
          <p:cNvSpPr/>
          <p:nvPr/>
        </p:nvSpPr>
        <p:spPr>
          <a:xfrm>
            <a:off x="8783064"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9" name="TextBox 60">
            <a:extLst>
              <a:ext uri="{FF2B5EF4-FFF2-40B4-BE49-F238E27FC236}">
                <a16:creationId xmlns:a16="http://schemas.microsoft.com/office/drawing/2014/main" id="{7CA7E357-E7F8-4F95-EDC3-9BC6B94E507D}"/>
              </a:ext>
            </a:extLst>
          </p:cNvPr>
          <p:cNvSpPr txBox="1"/>
          <p:nvPr/>
        </p:nvSpPr>
        <p:spPr>
          <a:xfrm>
            <a:off x="8723924"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2/6</a:t>
            </a:r>
          </a:p>
        </p:txBody>
      </p:sp>
      <p:pic>
        <p:nvPicPr>
          <p:cNvPr id="30" name="Gráfico 130" descr="Acento Circunflexo à Direita com preenchimento sólido">
            <a:extLst>
              <a:ext uri="{FF2B5EF4-FFF2-40B4-BE49-F238E27FC236}">
                <a16:creationId xmlns:a16="http://schemas.microsoft.com/office/drawing/2014/main" id="{CFE9724C-FC2A-0CC1-2A1C-F7B6FB3B32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62415" y="6546689"/>
            <a:ext cx="156462" cy="156462"/>
          </a:xfrm>
          <a:prstGeom prst="rect">
            <a:avLst/>
          </a:prstGeom>
        </p:spPr>
      </p:pic>
      <p:pic>
        <p:nvPicPr>
          <p:cNvPr id="31" name="Gráfico 131" descr="Acento Circunflexo à Direita com preenchimento sólido">
            <a:extLst>
              <a:ext uri="{FF2B5EF4-FFF2-40B4-BE49-F238E27FC236}">
                <a16:creationId xmlns:a16="http://schemas.microsoft.com/office/drawing/2014/main" id="{7FBEB387-9723-5CEA-9EB2-B84A6F4321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8647109" y="6546689"/>
            <a:ext cx="156462" cy="156462"/>
          </a:xfrm>
          <a:prstGeom prst="rect">
            <a:avLst/>
          </a:prstGeom>
        </p:spPr>
      </p:pic>
    </p:spTree>
    <p:extLst>
      <p:ext uri="{BB962C8B-B14F-4D97-AF65-F5344CB8AC3E}">
        <p14:creationId xmlns:p14="http://schemas.microsoft.com/office/powerpoint/2010/main" val="1444793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7AB4DBC-275B-A6F4-4B4E-024E1F440DBA}"/>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5534EF0C-C9F6-B71B-C5AC-AAEF1184C795}"/>
              </a:ext>
            </a:extLst>
          </p:cNvPr>
          <p:cNvSpPr/>
          <p:nvPr/>
        </p:nvSpPr>
        <p:spPr>
          <a:xfrm>
            <a:off x="1438656" y="1247695"/>
            <a:ext cx="9966203"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2" name="Espaço Reservado para Imagem 10">
            <a:extLst>
              <a:ext uri="{FF2B5EF4-FFF2-40B4-BE49-F238E27FC236}">
                <a16:creationId xmlns:a16="http://schemas.microsoft.com/office/drawing/2014/main" id="{1D27BF2A-CC42-D5CA-005B-3F118D6A93B2}"/>
              </a:ext>
            </a:extLst>
          </p:cNvPr>
          <p:cNvPicPr>
            <a:picLocks noChangeAspect="1"/>
          </p:cNvPicPr>
          <p:nvPr/>
        </p:nvPicPr>
        <p:blipFill>
          <a:blip r:embed="rId2" cstate="screen">
            <a:extLst>
              <a:ext uri="{28A0092B-C50C-407E-A947-70E740481C1C}">
                <a14:useLocalDpi xmlns:a14="http://schemas.microsoft.com/office/drawing/2010/main"/>
              </a:ext>
            </a:extLst>
          </a:blip>
          <a:srcRect l="1420" t="4023" r="3488" b="6562"/>
          <a:stretch/>
        </p:blipFill>
        <p:spPr>
          <a:xfrm>
            <a:off x="1857523" y="1541721"/>
            <a:ext cx="2846425" cy="4014738"/>
          </a:xfrm>
          <a:custGeom>
            <a:avLst/>
            <a:gdLst>
              <a:gd name="connsiteX0" fmla="*/ 2600409 w 6100200"/>
              <a:gd name="connsiteY0" fmla="*/ 0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0" fmla="*/ 1820968 w 6100200"/>
              <a:gd name="connsiteY0" fmla="*/ 562381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8" fmla="*/ 1820968 w 6100200"/>
              <a:gd name="connsiteY8" fmla="*/ 562381 h 6182557"/>
              <a:gd name="connsiteX0" fmla="*/ 1820968 w 6100200"/>
              <a:gd name="connsiteY0" fmla="*/ 0 h 5620176"/>
              <a:gd name="connsiteX1" fmla="*/ 5547685 w 6100200"/>
              <a:gd name="connsiteY1" fmla="*/ 0 h 5620176"/>
              <a:gd name="connsiteX2" fmla="*/ 6100200 w 6100200"/>
              <a:gd name="connsiteY2" fmla="*/ 4436520 h 5620176"/>
              <a:gd name="connsiteX3" fmla="*/ 4413173 w 6100200"/>
              <a:gd name="connsiteY3" fmla="*/ 5620176 h 5620176"/>
              <a:gd name="connsiteX4" fmla="*/ 232259 w 6100200"/>
              <a:gd name="connsiteY4" fmla="*/ 5620176 h 5620176"/>
              <a:gd name="connsiteX5" fmla="*/ 0 w 6100200"/>
              <a:gd name="connsiteY5" fmla="*/ 5388074 h 5620176"/>
              <a:gd name="connsiteX6" fmla="*/ 0 w 6100200"/>
              <a:gd name="connsiteY6" fmla="*/ 1383077 h 5620176"/>
              <a:gd name="connsiteX7" fmla="*/ 98758 w 6100200"/>
              <a:gd name="connsiteY7" fmla="*/ 1193072 h 5620176"/>
              <a:gd name="connsiteX8" fmla="*/ 1820968 w 610020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4413173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9867 h 5630043"/>
              <a:gd name="connsiteX1" fmla="*/ 5587150 w 5587150"/>
              <a:gd name="connsiteY1" fmla="*/ 0 h 5630043"/>
              <a:gd name="connsiteX2" fmla="*/ 5587150 w 5587150"/>
              <a:gd name="connsiteY2" fmla="*/ 3982669 h 5630043"/>
              <a:gd name="connsiteX3" fmla="*/ 3239079 w 5587150"/>
              <a:gd name="connsiteY3" fmla="*/ 5630043 h 5630043"/>
              <a:gd name="connsiteX4" fmla="*/ 232259 w 5587150"/>
              <a:gd name="connsiteY4" fmla="*/ 5630043 h 5630043"/>
              <a:gd name="connsiteX5" fmla="*/ 0 w 5587150"/>
              <a:gd name="connsiteY5" fmla="*/ 5397941 h 5630043"/>
              <a:gd name="connsiteX6" fmla="*/ 0 w 5587150"/>
              <a:gd name="connsiteY6" fmla="*/ 1392944 h 5630043"/>
              <a:gd name="connsiteX7" fmla="*/ 98758 w 5587150"/>
              <a:gd name="connsiteY7" fmla="*/ 1202939 h 5630043"/>
              <a:gd name="connsiteX8" fmla="*/ 1820968 w 5587150"/>
              <a:gd name="connsiteY8" fmla="*/ 9867 h 5630043"/>
              <a:gd name="connsiteX0" fmla="*/ 1820968 w 5587150"/>
              <a:gd name="connsiteY0" fmla="*/ 0 h 5620176"/>
              <a:gd name="connsiteX1" fmla="*/ 5191339 w 5587150"/>
              <a:gd name="connsiteY1" fmla="*/ 510004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87150 w 5587150"/>
              <a:gd name="connsiteY1" fmla="*/ 391851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98965"/>
              <a:gd name="connsiteY0" fmla="*/ 0 h 5620176"/>
              <a:gd name="connsiteX1" fmla="*/ 5598965 w 5598965"/>
              <a:gd name="connsiteY1" fmla="*/ 1948 h 5620176"/>
              <a:gd name="connsiteX2" fmla="*/ 5587150 w 5598965"/>
              <a:gd name="connsiteY2" fmla="*/ 3972802 h 5620176"/>
              <a:gd name="connsiteX3" fmla="*/ 3239079 w 5598965"/>
              <a:gd name="connsiteY3" fmla="*/ 5620176 h 5620176"/>
              <a:gd name="connsiteX4" fmla="*/ 232259 w 5598965"/>
              <a:gd name="connsiteY4" fmla="*/ 5620176 h 5620176"/>
              <a:gd name="connsiteX5" fmla="*/ 0 w 5598965"/>
              <a:gd name="connsiteY5" fmla="*/ 5388074 h 5620176"/>
              <a:gd name="connsiteX6" fmla="*/ 0 w 5598965"/>
              <a:gd name="connsiteY6" fmla="*/ 1383077 h 5620176"/>
              <a:gd name="connsiteX7" fmla="*/ 98758 w 5598965"/>
              <a:gd name="connsiteY7" fmla="*/ 1193072 h 5620176"/>
              <a:gd name="connsiteX8" fmla="*/ 1820968 w 5598965"/>
              <a:gd name="connsiteY8" fmla="*/ 0 h 5620176"/>
              <a:gd name="connsiteX0" fmla="*/ 1820968 w 5593058"/>
              <a:gd name="connsiteY0" fmla="*/ 0 h 5620176"/>
              <a:gd name="connsiteX1" fmla="*/ 5593058 w 5593058"/>
              <a:gd name="connsiteY1" fmla="*/ 1948 h 5620176"/>
              <a:gd name="connsiteX2" fmla="*/ 5587150 w 5593058"/>
              <a:gd name="connsiteY2" fmla="*/ 3972802 h 5620176"/>
              <a:gd name="connsiteX3" fmla="*/ 3239079 w 5593058"/>
              <a:gd name="connsiteY3" fmla="*/ 5620176 h 5620176"/>
              <a:gd name="connsiteX4" fmla="*/ 232259 w 5593058"/>
              <a:gd name="connsiteY4" fmla="*/ 5620176 h 5620176"/>
              <a:gd name="connsiteX5" fmla="*/ 0 w 5593058"/>
              <a:gd name="connsiteY5" fmla="*/ 5388074 h 5620176"/>
              <a:gd name="connsiteX6" fmla="*/ 0 w 5593058"/>
              <a:gd name="connsiteY6" fmla="*/ 1383077 h 5620176"/>
              <a:gd name="connsiteX7" fmla="*/ 98758 w 5593058"/>
              <a:gd name="connsiteY7" fmla="*/ 1193072 h 5620176"/>
              <a:gd name="connsiteX8" fmla="*/ 1820968 w 5593058"/>
              <a:gd name="connsiteY8" fmla="*/ 0 h 5620176"/>
              <a:gd name="connsiteX0" fmla="*/ 1820968 w 5871561"/>
              <a:gd name="connsiteY0" fmla="*/ 93271 h 5713447"/>
              <a:gd name="connsiteX1" fmla="*/ 5593058 w 5871561"/>
              <a:gd name="connsiteY1" fmla="*/ 95219 h 5713447"/>
              <a:gd name="connsiteX2" fmla="*/ 5589664 w 5871561"/>
              <a:gd name="connsiteY2" fmla="*/ 372747 h 5713447"/>
              <a:gd name="connsiteX3" fmla="*/ 5587150 w 5871561"/>
              <a:gd name="connsiteY3" fmla="*/ 4066073 h 5713447"/>
              <a:gd name="connsiteX4" fmla="*/ 3239079 w 5871561"/>
              <a:gd name="connsiteY4" fmla="*/ 5713447 h 5713447"/>
              <a:gd name="connsiteX5" fmla="*/ 232259 w 5871561"/>
              <a:gd name="connsiteY5" fmla="*/ 5713447 h 5713447"/>
              <a:gd name="connsiteX6" fmla="*/ 0 w 5871561"/>
              <a:gd name="connsiteY6" fmla="*/ 5481345 h 5713447"/>
              <a:gd name="connsiteX7" fmla="*/ 0 w 5871561"/>
              <a:gd name="connsiteY7" fmla="*/ 1476348 h 5713447"/>
              <a:gd name="connsiteX8" fmla="*/ 98758 w 5871561"/>
              <a:gd name="connsiteY8" fmla="*/ 1286343 h 5713447"/>
              <a:gd name="connsiteX9" fmla="*/ 1820968 w 5871561"/>
              <a:gd name="connsiteY9"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68964"/>
              <a:gd name="connsiteY0" fmla="*/ 0 h 5620176"/>
              <a:gd name="connsiteX1" fmla="*/ 5282468 w 5868964"/>
              <a:gd name="connsiteY1" fmla="*/ 1818 h 5620176"/>
              <a:gd name="connsiteX2" fmla="*/ 5593058 w 5868964"/>
              <a:gd name="connsiteY2" fmla="*/ 1948 h 5620176"/>
              <a:gd name="connsiteX3" fmla="*/ 5589664 w 5868964"/>
              <a:gd name="connsiteY3" fmla="*/ 279476 h 5620176"/>
              <a:gd name="connsiteX4" fmla="*/ 5587150 w 5868964"/>
              <a:gd name="connsiteY4" fmla="*/ 3972802 h 5620176"/>
              <a:gd name="connsiteX5" fmla="*/ 3239079 w 5868964"/>
              <a:gd name="connsiteY5" fmla="*/ 5620176 h 5620176"/>
              <a:gd name="connsiteX6" fmla="*/ 232259 w 5868964"/>
              <a:gd name="connsiteY6" fmla="*/ 5620176 h 5620176"/>
              <a:gd name="connsiteX7" fmla="*/ 0 w 5868964"/>
              <a:gd name="connsiteY7" fmla="*/ 5388074 h 5620176"/>
              <a:gd name="connsiteX8" fmla="*/ 0 w 5868964"/>
              <a:gd name="connsiteY8" fmla="*/ 1383077 h 5620176"/>
              <a:gd name="connsiteX9" fmla="*/ 98758 w 5868964"/>
              <a:gd name="connsiteY9" fmla="*/ 1193072 h 5620176"/>
              <a:gd name="connsiteX10" fmla="*/ 1820968 w 5868964"/>
              <a:gd name="connsiteY10" fmla="*/ 0 h 5620176"/>
              <a:gd name="connsiteX0" fmla="*/ 1820968 w 5593273"/>
              <a:gd name="connsiteY0" fmla="*/ 0 h 5620176"/>
              <a:gd name="connsiteX1" fmla="*/ 5282468 w 5593273"/>
              <a:gd name="connsiteY1" fmla="*/ 1818 h 5620176"/>
              <a:gd name="connsiteX2" fmla="*/ 5589664 w 5593273"/>
              <a:gd name="connsiteY2" fmla="*/ 279476 h 5620176"/>
              <a:gd name="connsiteX3" fmla="*/ 5587150 w 5593273"/>
              <a:gd name="connsiteY3" fmla="*/ 3972802 h 5620176"/>
              <a:gd name="connsiteX4" fmla="*/ 3239079 w 5593273"/>
              <a:gd name="connsiteY4" fmla="*/ 5620176 h 5620176"/>
              <a:gd name="connsiteX5" fmla="*/ 232259 w 5593273"/>
              <a:gd name="connsiteY5" fmla="*/ 5620176 h 5620176"/>
              <a:gd name="connsiteX6" fmla="*/ 0 w 5593273"/>
              <a:gd name="connsiteY6" fmla="*/ 5388074 h 5620176"/>
              <a:gd name="connsiteX7" fmla="*/ 0 w 5593273"/>
              <a:gd name="connsiteY7" fmla="*/ 1383077 h 5620176"/>
              <a:gd name="connsiteX8" fmla="*/ 98758 w 5593273"/>
              <a:gd name="connsiteY8" fmla="*/ 1193072 h 5620176"/>
              <a:gd name="connsiteX9" fmla="*/ 1820968 w 5593273"/>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2056"/>
              <a:gd name="connsiteY0" fmla="*/ 0 h 5620176"/>
              <a:gd name="connsiteX1" fmla="*/ 5282468 w 5592056"/>
              <a:gd name="connsiteY1" fmla="*/ 1818 h 5620176"/>
              <a:gd name="connsiteX2" fmla="*/ 5589664 w 5592056"/>
              <a:gd name="connsiteY2" fmla="*/ 279476 h 5620176"/>
              <a:gd name="connsiteX3" fmla="*/ 5587150 w 5592056"/>
              <a:gd name="connsiteY3" fmla="*/ 3972802 h 5620176"/>
              <a:gd name="connsiteX4" fmla="*/ 3239079 w 5592056"/>
              <a:gd name="connsiteY4" fmla="*/ 5620176 h 5620176"/>
              <a:gd name="connsiteX5" fmla="*/ 232259 w 5592056"/>
              <a:gd name="connsiteY5" fmla="*/ 5620176 h 5620176"/>
              <a:gd name="connsiteX6" fmla="*/ 0 w 5592056"/>
              <a:gd name="connsiteY6" fmla="*/ 5388074 h 5620176"/>
              <a:gd name="connsiteX7" fmla="*/ 0 w 5592056"/>
              <a:gd name="connsiteY7" fmla="*/ 1383077 h 5620176"/>
              <a:gd name="connsiteX8" fmla="*/ 98758 w 5592056"/>
              <a:gd name="connsiteY8" fmla="*/ 1193072 h 5620176"/>
              <a:gd name="connsiteX9" fmla="*/ 1820968 w 5592056"/>
              <a:gd name="connsiteY9" fmla="*/ 0 h 5620176"/>
              <a:gd name="connsiteX0" fmla="*/ 1820968 w 5741423"/>
              <a:gd name="connsiteY0" fmla="*/ 107707 h 5727883"/>
              <a:gd name="connsiteX1" fmla="*/ 3517637 w 5741423"/>
              <a:gd name="connsiteY1" fmla="*/ 109525 h 5727883"/>
              <a:gd name="connsiteX2" fmla="*/ 5589664 w 5741423"/>
              <a:gd name="connsiteY2" fmla="*/ 387183 h 5727883"/>
              <a:gd name="connsiteX3" fmla="*/ 5587150 w 5741423"/>
              <a:gd name="connsiteY3" fmla="*/ 4080509 h 5727883"/>
              <a:gd name="connsiteX4" fmla="*/ 3239079 w 5741423"/>
              <a:gd name="connsiteY4" fmla="*/ 5727883 h 5727883"/>
              <a:gd name="connsiteX5" fmla="*/ 232259 w 5741423"/>
              <a:gd name="connsiteY5" fmla="*/ 5727883 h 5727883"/>
              <a:gd name="connsiteX6" fmla="*/ 0 w 5741423"/>
              <a:gd name="connsiteY6" fmla="*/ 5495781 h 5727883"/>
              <a:gd name="connsiteX7" fmla="*/ 0 w 5741423"/>
              <a:gd name="connsiteY7" fmla="*/ 1490784 h 5727883"/>
              <a:gd name="connsiteX8" fmla="*/ 98758 w 5741423"/>
              <a:gd name="connsiteY8" fmla="*/ 1300779 h 5727883"/>
              <a:gd name="connsiteX9" fmla="*/ 1820968 w 5741423"/>
              <a:gd name="connsiteY9" fmla="*/ 107707 h 5727883"/>
              <a:gd name="connsiteX0" fmla="*/ 1820968 w 5587150"/>
              <a:gd name="connsiteY0" fmla="*/ 42791 h 5662967"/>
              <a:gd name="connsiteX1" fmla="*/ 3517637 w 5587150"/>
              <a:gd name="connsiteY1" fmla="*/ 44609 h 5662967"/>
              <a:gd name="connsiteX2" fmla="*/ 3930340 w 5587150"/>
              <a:gd name="connsiteY2" fmla="*/ 456548 h 5662967"/>
              <a:gd name="connsiteX3" fmla="*/ 5587150 w 5587150"/>
              <a:gd name="connsiteY3" fmla="*/ 4015593 h 5662967"/>
              <a:gd name="connsiteX4" fmla="*/ 3239079 w 5587150"/>
              <a:gd name="connsiteY4" fmla="*/ 5662967 h 5662967"/>
              <a:gd name="connsiteX5" fmla="*/ 232259 w 5587150"/>
              <a:gd name="connsiteY5" fmla="*/ 5662967 h 5662967"/>
              <a:gd name="connsiteX6" fmla="*/ 0 w 5587150"/>
              <a:gd name="connsiteY6" fmla="*/ 5430865 h 5662967"/>
              <a:gd name="connsiteX7" fmla="*/ 0 w 5587150"/>
              <a:gd name="connsiteY7" fmla="*/ 1425868 h 5662967"/>
              <a:gd name="connsiteX8" fmla="*/ 98758 w 5587150"/>
              <a:gd name="connsiteY8" fmla="*/ 1235863 h 5662967"/>
              <a:gd name="connsiteX9" fmla="*/ 1820968 w 5587150"/>
              <a:gd name="connsiteY9" fmla="*/ 42791 h 5662967"/>
              <a:gd name="connsiteX0" fmla="*/ 1820968 w 5587150"/>
              <a:gd name="connsiteY0" fmla="*/ 36807 h 5656983"/>
              <a:gd name="connsiteX1" fmla="*/ 3517637 w 5587150"/>
              <a:gd name="connsiteY1" fmla="*/ 38625 h 5656983"/>
              <a:gd name="connsiteX2" fmla="*/ 3930340 w 5587150"/>
              <a:gd name="connsiteY2" fmla="*/ 450564 h 5656983"/>
              <a:gd name="connsiteX3" fmla="*/ 5587150 w 5587150"/>
              <a:gd name="connsiteY3" fmla="*/ 4009609 h 5656983"/>
              <a:gd name="connsiteX4" fmla="*/ 3239079 w 5587150"/>
              <a:gd name="connsiteY4" fmla="*/ 5656983 h 5656983"/>
              <a:gd name="connsiteX5" fmla="*/ 232259 w 5587150"/>
              <a:gd name="connsiteY5" fmla="*/ 5656983 h 5656983"/>
              <a:gd name="connsiteX6" fmla="*/ 0 w 5587150"/>
              <a:gd name="connsiteY6" fmla="*/ 5424881 h 5656983"/>
              <a:gd name="connsiteX7" fmla="*/ 0 w 5587150"/>
              <a:gd name="connsiteY7" fmla="*/ 1419884 h 5656983"/>
              <a:gd name="connsiteX8" fmla="*/ 98758 w 5587150"/>
              <a:gd name="connsiteY8" fmla="*/ 1229879 h 5656983"/>
              <a:gd name="connsiteX9" fmla="*/ 1820968 w 5587150"/>
              <a:gd name="connsiteY9" fmla="*/ 36807 h 5656983"/>
              <a:gd name="connsiteX0" fmla="*/ 1820968 w 3962406"/>
              <a:gd name="connsiteY0" fmla="*/ 40271 h 5660447"/>
              <a:gd name="connsiteX1" fmla="*/ 3517637 w 3962406"/>
              <a:gd name="connsiteY1" fmla="*/ 42089 h 5660447"/>
              <a:gd name="connsiteX2" fmla="*/ 3930340 w 3962406"/>
              <a:gd name="connsiteY2" fmla="*/ 454028 h 5660447"/>
              <a:gd name="connsiteX3" fmla="*/ 3937417 w 3962406"/>
              <a:gd name="connsiteY3" fmla="*/ 3965115 h 5660447"/>
              <a:gd name="connsiteX4" fmla="*/ 3239079 w 3962406"/>
              <a:gd name="connsiteY4" fmla="*/ 5660447 h 5660447"/>
              <a:gd name="connsiteX5" fmla="*/ 232259 w 3962406"/>
              <a:gd name="connsiteY5" fmla="*/ 5660447 h 5660447"/>
              <a:gd name="connsiteX6" fmla="*/ 0 w 3962406"/>
              <a:gd name="connsiteY6" fmla="*/ 5428345 h 5660447"/>
              <a:gd name="connsiteX7" fmla="*/ 0 w 3962406"/>
              <a:gd name="connsiteY7" fmla="*/ 1423348 h 5660447"/>
              <a:gd name="connsiteX8" fmla="*/ 98758 w 3962406"/>
              <a:gd name="connsiteY8" fmla="*/ 1233343 h 5660447"/>
              <a:gd name="connsiteX9" fmla="*/ 1820968 w 3962406"/>
              <a:gd name="connsiteY9" fmla="*/ 40271 h 5660447"/>
              <a:gd name="connsiteX0" fmla="*/ 1820968 w 3962406"/>
              <a:gd name="connsiteY0" fmla="*/ 40271 h 5660447"/>
              <a:gd name="connsiteX1" fmla="*/ 3517637 w 3962406"/>
              <a:gd name="connsiteY1" fmla="*/ 42089 h 5660447"/>
              <a:gd name="connsiteX2" fmla="*/ 3930340 w 3962406"/>
              <a:gd name="connsiteY2" fmla="*/ 454028 h 5660447"/>
              <a:gd name="connsiteX3" fmla="*/ 3937417 w 3962406"/>
              <a:gd name="connsiteY3" fmla="*/ 3965115 h 5660447"/>
              <a:gd name="connsiteX4" fmla="*/ 2001779 w 3962406"/>
              <a:gd name="connsiteY4" fmla="*/ 5660447 h 5660447"/>
              <a:gd name="connsiteX5" fmla="*/ 232259 w 3962406"/>
              <a:gd name="connsiteY5" fmla="*/ 5660447 h 5660447"/>
              <a:gd name="connsiteX6" fmla="*/ 0 w 3962406"/>
              <a:gd name="connsiteY6" fmla="*/ 5428345 h 5660447"/>
              <a:gd name="connsiteX7" fmla="*/ 0 w 3962406"/>
              <a:gd name="connsiteY7" fmla="*/ 1423348 h 5660447"/>
              <a:gd name="connsiteX8" fmla="*/ 98758 w 3962406"/>
              <a:gd name="connsiteY8" fmla="*/ 1233343 h 5660447"/>
              <a:gd name="connsiteX9" fmla="*/ 1820968 w 3962406"/>
              <a:gd name="connsiteY9" fmla="*/ 40271 h 5660447"/>
              <a:gd name="connsiteX0" fmla="*/ 1820968 w 3984776"/>
              <a:gd name="connsiteY0" fmla="*/ 17641 h 5637817"/>
              <a:gd name="connsiteX1" fmla="*/ 3517637 w 3984776"/>
              <a:gd name="connsiteY1" fmla="*/ 19459 h 5637817"/>
              <a:gd name="connsiteX2" fmla="*/ 3959114 w 3984776"/>
              <a:gd name="connsiteY2" fmla="*/ 498538 h 5637817"/>
              <a:gd name="connsiteX3" fmla="*/ 3937417 w 3984776"/>
              <a:gd name="connsiteY3" fmla="*/ 3942485 h 5637817"/>
              <a:gd name="connsiteX4" fmla="*/ 2001779 w 3984776"/>
              <a:gd name="connsiteY4" fmla="*/ 5637817 h 5637817"/>
              <a:gd name="connsiteX5" fmla="*/ 232259 w 3984776"/>
              <a:gd name="connsiteY5" fmla="*/ 5637817 h 5637817"/>
              <a:gd name="connsiteX6" fmla="*/ 0 w 3984776"/>
              <a:gd name="connsiteY6" fmla="*/ 5405715 h 5637817"/>
              <a:gd name="connsiteX7" fmla="*/ 0 w 3984776"/>
              <a:gd name="connsiteY7" fmla="*/ 1400718 h 5637817"/>
              <a:gd name="connsiteX8" fmla="*/ 98758 w 3984776"/>
              <a:gd name="connsiteY8" fmla="*/ 1210713 h 5637817"/>
              <a:gd name="connsiteX9" fmla="*/ 1820968 w 3984776"/>
              <a:gd name="connsiteY9" fmla="*/ 17641 h 5637817"/>
              <a:gd name="connsiteX0" fmla="*/ 1820968 w 3961608"/>
              <a:gd name="connsiteY0" fmla="*/ 0 h 5620176"/>
              <a:gd name="connsiteX1" fmla="*/ 3517637 w 3961608"/>
              <a:gd name="connsiteY1" fmla="*/ 1818 h 5620176"/>
              <a:gd name="connsiteX2" fmla="*/ 3959114 w 3961608"/>
              <a:gd name="connsiteY2" fmla="*/ 480897 h 5620176"/>
              <a:gd name="connsiteX3" fmla="*/ 3937417 w 3961608"/>
              <a:gd name="connsiteY3" fmla="*/ 3924844 h 5620176"/>
              <a:gd name="connsiteX4" fmla="*/ 2001779 w 3961608"/>
              <a:gd name="connsiteY4" fmla="*/ 5620176 h 5620176"/>
              <a:gd name="connsiteX5" fmla="*/ 232259 w 3961608"/>
              <a:gd name="connsiteY5" fmla="*/ 5620176 h 5620176"/>
              <a:gd name="connsiteX6" fmla="*/ 0 w 3961608"/>
              <a:gd name="connsiteY6" fmla="*/ 5388074 h 5620176"/>
              <a:gd name="connsiteX7" fmla="*/ 0 w 3961608"/>
              <a:gd name="connsiteY7" fmla="*/ 1383077 h 5620176"/>
              <a:gd name="connsiteX8" fmla="*/ 98758 w 3961608"/>
              <a:gd name="connsiteY8" fmla="*/ 1193072 h 5620176"/>
              <a:gd name="connsiteX9" fmla="*/ 1820968 w 3961608"/>
              <a:gd name="connsiteY9" fmla="*/ 0 h 5620176"/>
              <a:gd name="connsiteX0" fmla="*/ 1820968 w 3993310"/>
              <a:gd name="connsiteY0" fmla="*/ 18021 h 5638197"/>
              <a:gd name="connsiteX1" fmla="*/ 3517637 w 3993310"/>
              <a:gd name="connsiteY1" fmla="*/ 19839 h 5638197"/>
              <a:gd name="connsiteX2" fmla="*/ 3959114 w 3993310"/>
              <a:gd name="connsiteY2" fmla="*/ 498918 h 5638197"/>
              <a:gd name="connsiteX3" fmla="*/ 3966192 w 3993310"/>
              <a:gd name="connsiteY3" fmla="*/ 3952457 h 5638197"/>
              <a:gd name="connsiteX4" fmla="*/ 2001779 w 3993310"/>
              <a:gd name="connsiteY4" fmla="*/ 5638197 h 5638197"/>
              <a:gd name="connsiteX5" fmla="*/ 232259 w 3993310"/>
              <a:gd name="connsiteY5" fmla="*/ 5638197 h 5638197"/>
              <a:gd name="connsiteX6" fmla="*/ 0 w 3993310"/>
              <a:gd name="connsiteY6" fmla="*/ 5406095 h 5638197"/>
              <a:gd name="connsiteX7" fmla="*/ 0 w 3993310"/>
              <a:gd name="connsiteY7" fmla="*/ 1401098 h 5638197"/>
              <a:gd name="connsiteX8" fmla="*/ 98758 w 3993310"/>
              <a:gd name="connsiteY8" fmla="*/ 1211093 h 5638197"/>
              <a:gd name="connsiteX9" fmla="*/ 1820968 w 3993310"/>
              <a:gd name="connsiteY9" fmla="*/ 18021 h 5638197"/>
              <a:gd name="connsiteX0" fmla="*/ 1820968 w 3967875"/>
              <a:gd name="connsiteY0" fmla="*/ 0 h 5620176"/>
              <a:gd name="connsiteX1" fmla="*/ 3517637 w 3967875"/>
              <a:gd name="connsiteY1" fmla="*/ 1818 h 5620176"/>
              <a:gd name="connsiteX2" fmla="*/ 3959114 w 3967875"/>
              <a:gd name="connsiteY2" fmla="*/ 480897 h 5620176"/>
              <a:gd name="connsiteX3" fmla="*/ 3966192 w 3967875"/>
              <a:gd name="connsiteY3" fmla="*/ 3934436 h 5620176"/>
              <a:gd name="connsiteX4" fmla="*/ 2001779 w 3967875"/>
              <a:gd name="connsiteY4" fmla="*/ 5620176 h 5620176"/>
              <a:gd name="connsiteX5" fmla="*/ 232259 w 3967875"/>
              <a:gd name="connsiteY5" fmla="*/ 5620176 h 5620176"/>
              <a:gd name="connsiteX6" fmla="*/ 0 w 3967875"/>
              <a:gd name="connsiteY6" fmla="*/ 5388074 h 5620176"/>
              <a:gd name="connsiteX7" fmla="*/ 0 w 3967875"/>
              <a:gd name="connsiteY7" fmla="*/ 1383077 h 5620176"/>
              <a:gd name="connsiteX8" fmla="*/ 98758 w 3967875"/>
              <a:gd name="connsiteY8" fmla="*/ 1193072 h 5620176"/>
              <a:gd name="connsiteX9" fmla="*/ 1820968 w 3967875"/>
              <a:gd name="connsiteY9" fmla="*/ 0 h 5620176"/>
              <a:gd name="connsiteX0" fmla="*/ 1820968 w 3967875"/>
              <a:gd name="connsiteY0" fmla="*/ 14242 h 5634418"/>
              <a:gd name="connsiteX1" fmla="*/ 3517637 w 3967875"/>
              <a:gd name="connsiteY1" fmla="*/ 16060 h 5634418"/>
              <a:gd name="connsiteX2" fmla="*/ 3959114 w 3967875"/>
              <a:gd name="connsiteY2" fmla="*/ 370450 h 5634418"/>
              <a:gd name="connsiteX3" fmla="*/ 3966192 w 3967875"/>
              <a:gd name="connsiteY3" fmla="*/ 3948678 h 5634418"/>
              <a:gd name="connsiteX4" fmla="*/ 2001779 w 3967875"/>
              <a:gd name="connsiteY4" fmla="*/ 5634418 h 5634418"/>
              <a:gd name="connsiteX5" fmla="*/ 232259 w 3967875"/>
              <a:gd name="connsiteY5" fmla="*/ 5634418 h 5634418"/>
              <a:gd name="connsiteX6" fmla="*/ 0 w 3967875"/>
              <a:gd name="connsiteY6" fmla="*/ 5402316 h 5634418"/>
              <a:gd name="connsiteX7" fmla="*/ 0 w 3967875"/>
              <a:gd name="connsiteY7" fmla="*/ 1397319 h 5634418"/>
              <a:gd name="connsiteX8" fmla="*/ 98758 w 3967875"/>
              <a:gd name="connsiteY8" fmla="*/ 1207314 h 5634418"/>
              <a:gd name="connsiteX9" fmla="*/ 1820968 w 3967875"/>
              <a:gd name="connsiteY9" fmla="*/ 14242 h 5634418"/>
              <a:gd name="connsiteX0" fmla="*/ 1820968 w 3966193"/>
              <a:gd name="connsiteY0" fmla="*/ 0 h 5620176"/>
              <a:gd name="connsiteX1" fmla="*/ 3517637 w 3966193"/>
              <a:gd name="connsiteY1" fmla="*/ 1818 h 5620176"/>
              <a:gd name="connsiteX2" fmla="*/ 3959114 w 3966193"/>
              <a:gd name="connsiteY2" fmla="*/ 356208 h 5620176"/>
              <a:gd name="connsiteX3" fmla="*/ 3966192 w 3966193"/>
              <a:gd name="connsiteY3" fmla="*/ 3934436 h 5620176"/>
              <a:gd name="connsiteX4" fmla="*/ 2001779 w 3966193"/>
              <a:gd name="connsiteY4" fmla="*/ 5620176 h 5620176"/>
              <a:gd name="connsiteX5" fmla="*/ 232259 w 3966193"/>
              <a:gd name="connsiteY5" fmla="*/ 5620176 h 5620176"/>
              <a:gd name="connsiteX6" fmla="*/ 0 w 3966193"/>
              <a:gd name="connsiteY6" fmla="*/ 5388074 h 5620176"/>
              <a:gd name="connsiteX7" fmla="*/ 0 w 3966193"/>
              <a:gd name="connsiteY7" fmla="*/ 1383077 h 5620176"/>
              <a:gd name="connsiteX8" fmla="*/ 98758 w 3966193"/>
              <a:gd name="connsiteY8" fmla="*/ 1193072 h 5620176"/>
              <a:gd name="connsiteX9" fmla="*/ 1820968 w 3966193"/>
              <a:gd name="connsiteY9" fmla="*/ 0 h 5620176"/>
              <a:gd name="connsiteX0" fmla="*/ 1820968 w 3970994"/>
              <a:gd name="connsiteY0" fmla="*/ 0 h 5620176"/>
              <a:gd name="connsiteX1" fmla="*/ 3517637 w 3970994"/>
              <a:gd name="connsiteY1" fmla="*/ 1818 h 5620176"/>
              <a:gd name="connsiteX2" fmla="*/ 3968705 w 3970994"/>
              <a:gd name="connsiteY2" fmla="*/ 442531 h 5620176"/>
              <a:gd name="connsiteX3" fmla="*/ 3966192 w 3970994"/>
              <a:gd name="connsiteY3" fmla="*/ 3934436 h 5620176"/>
              <a:gd name="connsiteX4" fmla="*/ 2001779 w 3970994"/>
              <a:gd name="connsiteY4" fmla="*/ 5620176 h 5620176"/>
              <a:gd name="connsiteX5" fmla="*/ 232259 w 3970994"/>
              <a:gd name="connsiteY5" fmla="*/ 5620176 h 5620176"/>
              <a:gd name="connsiteX6" fmla="*/ 0 w 3970994"/>
              <a:gd name="connsiteY6" fmla="*/ 5388074 h 5620176"/>
              <a:gd name="connsiteX7" fmla="*/ 0 w 3970994"/>
              <a:gd name="connsiteY7" fmla="*/ 1383077 h 5620176"/>
              <a:gd name="connsiteX8" fmla="*/ 98758 w 3970994"/>
              <a:gd name="connsiteY8" fmla="*/ 1193072 h 5620176"/>
              <a:gd name="connsiteX9" fmla="*/ 1820968 w 3970994"/>
              <a:gd name="connsiteY9" fmla="*/ 0 h 5620176"/>
              <a:gd name="connsiteX0" fmla="*/ 1820968 w 3975037"/>
              <a:gd name="connsiteY0" fmla="*/ 0 h 5620176"/>
              <a:gd name="connsiteX1" fmla="*/ 3517637 w 3975037"/>
              <a:gd name="connsiteY1" fmla="*/ 1818 h 5620176"/>
              <a:gd name="connsiteX2" fmla="*/ 3968705 w 3975037"/>
              <a:gd name="connsiteY2" fmla="*/ 442531 h 5620176"/>
              <a:gd name="connsiteX3" fmla="*/ 3966192 w 3975037"/>
              <a:gd name="connsiteY3" fmla="*/ 3934436 h 5620176"/>
              <a:gd name="connsiteX4" fmla="*/ 2001779 w 3975037"/>
              <a:gd name="connsiteY4" fmla="*/ 5620176 h 5620176"/>
              <a:gd name="connsiteX5" fmla="*/ 232259 w 3975037"/>
              <a:gd name="connsiteY5" fmla="*/ 5620176 h 5620176"/>
              <a:gd name="connsiteX6" fmla="*/ 0 w 3975037"/>
              <a:gd name="connsiteY6" fmla="*/ 5388074 h 5620176"/>
              <a:gd name="connsiteX7" fmla="*/ 0 w 3975037"/>
              <a:gd name="connsiteY7" fmla="*/ 1383077 h 5620176"/>
              <a:gd name="connsiteX8" fmla="*/ 98758 w 3975037"/>
              <a:gd name="connsiteY8" fmla="*/ 1193072 h 5620176"/>
              <a:gd name="connsiteX9" fmla="*/ 1820968 w 3975037"/>
              <a:gd name="connsiteY9" fmla="*/ 0 h 5620176"/>
              <a:gd name="connsiteX0" fmla="*/ 1820968 w 3977243"/>
              <a:gd name="connsiteY0" fmla="*/ 0 h 5620176"/>
              <a:gd name="connsiteX1" fmla="*/ 3517637 w 3977243"/>
              <a:gd name="connsiteY1" fmla="*/ 1818 h 5620176"/>
              <a:gd name="connsiteX2" fmla="*/ 3968705 w 3977243"/>
              <a:gd name="connsiteY2" fmla="*/ 442531 h 5620176"/>
              <a:gd name="connsiteX3" fmla="*/ 3966192 w 3977243"/>
              <a:gd name="connsiteY3" fmla="*/ 3934436 h 5620176"/>
              <a:gd name="connsiteX4" fmla="*/ 2001779 w 3977243"/>
              <a:gd name="connsiteY4" fmla="*/ 5620176 h 5620176"/>
              <a:gd name="connsiteX5" fmla="*/ 232259 w 3977243"/>
              <a:gd name="connsiteY5" fmla="*/ 5620176 h 5620176"/>
              <a:gd name="connsiteX6" fmla="*/ 0 w 3977243"/>
              <a:gd name="connsiteY6" fmla="*/ 5388074 h 5620176"/>
              <a:gd name="connsiteX7" fmla="*/ 0 w 3977243"/>
              <a:gd name="connsiteY7" fmla="*/ 1383077 h 5620176"/>
              <a:gd name="connsiteX8" fmla="*/ 98758 w 3977243"/>
              <a:gd name="connsiteY8" fmla="*/ 1193072 h 5620176"/>
              <a:gd name="connsiteX9" fmla="*/ 1820968 w 3977243"/>
              <a:gd name="connsiteY9" fmla="*/ 0 h 5620176"/>
              <a:gd name="connsiteX0" fmla="*/ 1820968 w 4002780"/>
              <a:gd name="connsiteY0" fmla="*/ 62256 h 5682432"/>
              <a:gd name="connsiteX1" fmla="*/ 3517637 w 4002780"/>
              <a:gd name="connsiteY1" fmla="*/ 64074 h 5682432"/>
              <a:gd name="connsiteX2" fmla="*/ 3968705 w 4002780"/>
              <a:gd name="connsiteY2" fmla="*/ 504787 h 5682432"/>
              <a:gd name="connsiteX3" fmla="*/ 3966192 w 4002780"/>
              <a:gd name="connsiteY3" fmla="*/ 4608267 h 5682432"/>
              <a:gd name="connsiteX4" fmla="*/ 2001779 w 4002780"/>
              <a:gd name="connsiteY4" fmla="*/ 5682432 h 5682432"/>
              <a:gd name="connsiteX5" fmla="*/ 232259 w 4002780"/>
              <a:gd name="connsiteY5" fmla="*/ 5682432 h 5682432"/>
              <a:gd name="connsiteX6" fmla="*/ 0 w 4002780"/>
              <a:gd name="connsiteY6" fmla="*/ 5450330 h 5682432"/>
              <a:gd name="connsiteX7" fmla="*/ 0 w 4002780"/>
              <a:gd name="connsiteY7" fmla="*/ 1445333 h 5682432"/>
              <a:gd name="connsiteX8" fmla="*/ 98758 w 4002780"/>
              <a:gd name="connsiteY8" fmla="*/ 1255328 h 5682432"/>
              <a:gd name="connsiteX9" fmla="*/ 1820968 w 4002780"/>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01333"/>
              <a:gd name="connsiteY0" fmla="*/ 62256 h 5682432"/>
              <a:gd name="connsiteX1" fmla="*/ 3517637 w 4001333"/>
              <a:gd name="connsiteY1" fmla="*/ 64074 h 5682432"/>
              <a:gd name="connsiteX2" fmla="*/ 3968705 w 4001333"/>
              <a:gd name="connsiteY2" fmla="*/ 504787 h 5682432"/>
              <a:gd name="connsiteX3" fmla="*/ 3966192 w 4001333"/>
              <a:gd name="connsiteY3" fmla="*/ 4608267 h 5682432"/>
              <a:gd name="connsiteX4" fmla="*/ 2919142 w 4001333"/>
              <a:gd name="connsiteY4" fmla="*/ 5671511 h 5682432"/>
              <a:gd name="connsiteX5" fmla="*/ 232259 w 4001333"/>
              <a:gd name="connsiteY5" fmla="*/ 5682432 h 5682432"/>
              <a:gd name="connsiteX6" fmla="*/ 0 w 4001333"/>
              <a:gd name="connsiteY6" fmla="*/ 5450330 h 5682432"/>
              <a:gd name="connsiteX7" fmla="*/ 0 w 4001333"/>
              <a:gd name="connsiteY7" fmla="*/ 1445333 h 5682432"/>
              <a:gd name="connsiteX8" fmla="*/ 98758 w 4001333"/>
              <a:gd name="connsiteY8" fmla="*/ 1255328 h 5682432"/>
              <a:gd name="connsiteX9" fmla="*/ 1820968 w 4001333"/>
              <a:gd name="connsiteY9" fmla="*/ 62256 h 5682432"/>
              <a:gd name="connsiteX0" fmla="*/ 1820968 w 4074451"/>
              <a:gd name="connsiteY0" fmla="*/ 0 h 5620176"/>
              <a:gd name="connsiteX1" fmla="*/ 3517637 w 4074451"/>
              <a:gd name="connsiteY1" fmla="*/ 1818 h 5620176"/>
              <a:gd name="connsiteX2" fmla="*/ 3990547 w 4074451"/>
              <a:gd name="connsiteY2" fmla="*/ 671872 h 5620176"/>
              <a:gd name="connsiteX3" fmla="*/ 3966192 w 4074451"/>
              <a:gd name="connsiteY3" fmla="*/ 4546011 h 5620176"/>
              <a:gd name="connsiteX4" fmla="*/ 2919142 w 4074451"/>
              <a:gd name="connsiteY4" fmla="*/ 5609255 h 5620176"/>
              <a:gd name="connsiteX5" fmla="*/ 232259 w 4074451"/>
              <a:gd name="connsiteY5" fmla="*/ 5620176 h 5620176"/>
              <a:gd name="connsiteX6" fmla="*/ 0 w 4074451"/>
              <a:gd name="connsiteY6" fmla="*/ 5388074 h 5620176"/>
              <a:gd name="connsiteX7" fmla="*/ 0 w 4074451"/>
              <a:gd name="connsiteY7" fmla="*/ 1383077 h 5620176"/>
              <a:gd name="connsiteX8" fmla="*/ 98758 w 4074451"/>
              <a:gd name="connsiteY8" fmla="*/ 1193072 h 5620176"/>
              <a:gd name="connsiteX9" fmla="*/ 1820968 w 4074451"/>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114989"/>
              <a:gd name="connsiteY0" fmla="*/ 0 h 5620176"/>
              <a:gd name="connsiteX1" fmla="*/ 3517637 w 4114989"/>
              <a:gd name="connsiteY1" fmla="*/ 1818 h 5620176"/>
              <a:gd name="connsiteX2" fmla="*/ 3990547 w 4114989"/>
              <a:gd name="connsiteY2" fmla="*/ 671872 h 5620176"/>
              <a:gd name="connsiteX3" fmla="*/ 3966192 w 4114989"/>
              <a:gd name="connsiteY3" fmla="*/ 4546011 h 5620176"/>
              <a:gd name="connsiteX4" fmla="*/ 2919142 w 4114989"/>
              <a:gd name="connsiteY4" fmla="*/ 5609255 h 5620176"/>
              <a:gd name="connsiteX5" fmla="*/ 232259 w 4114989"/>
              <a:gd name="connsiteY5" fmla="*/ 5620176 h 5620176"/>
              <a:gd name="connsiteX6" fmla="*/ 0 w 4114989"/>
              <a:gd name="connsiteY6" fmla="*/ 5388074 h 5620176"/>
              <a:gd name="connsiteX7" fmla="*/ 0 w 4114989"/>
              <a:gd name="connsiteY7" fmla="*/ 1383077 h 5620176"/>
              <a:gd name="connsiteX8" fmla="*/ 98758 w 4114989"/>
              <a:gd name="connsiteY8" fmla="*/ 1193072 h 5620176"/>
              <a:gd name="connsiteX9" fmla="*/ 1820968 w 4114989"/>
              <a:gd name="connsiteY9" fmla="*/ 0 h 5620176"/>
              <a:gd name="connsiteX0" fmla="*/ 1820968 w 3992085"/>
              <a:gd name="connsiteY0" fmla="*/ 0 h 5620176"/>
              <a:gd name="connsiteX1" fmla="*/ 3517637 w 3992085"/>
              <a:gd name="connsiteY1" fmla="*/ 1818 h 5620176"/>
              <a:gd name="connsiteX2" fmla="*/ 3990547 w 3992085"/>
              <a:gd name="connsiteY2" fmla="*/ 671872 h 5620176"/>
              <a:gd name="connsiteX3" fmla="*/ 3966192 w 3992085"/>
              <a:gd name="connsiteY3" fmla="*/ 4546011 h 5620176"/>
              <a:gd name="connsiteX4" fmla="*/ 2919142 w 3992085"/>
              <a:gd name="connsiteY4" fmla="*/ 5609255 h 5620176"/>
              <a:gd name="connsiteX5" fmla="*/ 232259 w 3992085"/>
              <a:gd name="connsiteY5" fmla="*/ 5620176 h 5620176"/>
              <a:gd name="connsiteX6" fmla="*/ 0 w 3992085"/>
              <a:gd name="connsiteY6" fmla="*/ 5388074 h 5620176"/>
              <a:gd name="connsiteX7" fmla="*/ 0 w 3992085"/>
              <a:gd name="connsiteY7" fmla="*/ 1383077 h 5620176"/>
              <a:gd name="connsiteX8" fmla="*/ 98758 w 3992085"/>
              <a:gd name="connsiteY8" fmla="*/ 1193072 h 5620176"/>
              <a:gd name="connsiteX9" fmla="*/ 1820968 w 3992085"/>
              <a:gd name="connsiteY9" fmla="*/ 0 h 5620176"/>
              <a:gd name="connsiteX0" fmla="*/ 1820968 w 4063883"/>
              <a:gd name="connsiteY0" fmla="*/ 0 h 5620176"/>
              <a:gd name="connsiteX1" fmla="*/ 3517637 w 4063883"/>
              <a:gd name="connsiteY1" fmla="*/ 1818 h 5620176"/>
              <a:gd name="connsiteX2" fmla="*/ 4012389 w 4063883"/>
              <a:gd name="connsiteY2" fmla="*/ 518978 h 5620176"/>
              <a:gd name="connsiteX3" fmla="*/ 3966192 w 4063883"/>
              <a:gd name="connsiteY3" fmla="*/ 4546011 h 5620176"/>
              <a:gd name="connsiteX4" fmla="*/ 2919142 w 4063883"/>
              <a:gd name="connsiteY4" fmla="*/ 5609255 h 5620176"/>
              <a:gd name="connsiteX5" fmla="*/ 232259 w 4063883"/>
              <a:gd name="connsiteY5" fmla="*/ 5620176 h 5620176"/>
              <a:gd name="connsiteX6" fmla="*/ 0 w 4063883"/>
              <a:gd name="connsiteY6" fmla="*/ 5388074 h 5620176"/>
              <a:gd name="connsiteX7" fmla="*/ 0 w 4063883"/>
              <a:gd name="connsiteY7" fmla="*/ 1383077 h 5620176"/>
              <a:gd name="connsiteX8" fmla="*/ 98758 w 4063883"/>
              <a:gd name="connsiteY8" fmla="*/ 1193072 h 5620176"/>
              <a:gd name="connsiteX9" fmla="*/ 1820968 w 4063883"/>
              <a:gd name="connsiteY9" fmla="*/ 0 h 5620176"/>
              <a:gd name="connsiteX0" fmla="*/ 1820968 w 4060681"/>
              <a:gd name="connsiteY0" fmla="*/ 0 h 5620176"/>
              <a:gd name="connsiteX1" fmla="*/ 3517637 w 4060681"/>
              <a:gd name="connsiteY1" fmla="*/ 1818 h 5620176"/>
              <a:gd name="connsiteX2" fmla="*/ 4012389 w 4060681"/>
              <a:gd name="connsiteY2" fmla="*/ 518978 h 5620176"/>
              <a:gd name="connsiteX3" fmla="*/ 3966192 w 4060681"/>
              <a:gd name="connsiteY3" fmla="*/ 4546011 h 5620176"/>
              <a:gd name="connsiteX4" fmla="*/ 2919142 w 4060681"/>
              <a:gd name="connsiteY4" fmla="*/ 5609255 h 5620176"/>
              <a:gd name="connsiteX5" fmla="*/ 232259 w 4060681"/>
              <a:gd name="connsiteY5" fmla="*/ 5620176 h 5620176"/>
              <a:gd name="connsiteX6" fmla="*/ 0 w 4060681"/>
              <a:gd name="connsiteY6" fmla="*/ 5388074 h 5620176"/>
              <a:gd name="connsiteX7" fmla="*/ 0 w 4060681"/>
              <a:gd name="connsiteY7" fmla="*/ 1383077 h 5620176"/>
              <a:gd name="connsiteX8" fmla="*/ 98758 w 4060681"/>
              <a:gd name="connsiteY8" fmla="*/ 1193072 h 5620176"/>
              <a:gd name="connsiteX9" fmla="*/ 1820968 w 4060681"/>
              <a:gd name="connsiteY9" fmla="*/ 0 h 5620176"/>
              <a:gd name="connsiteX0" fmla="*/ 1820968 w 4012393"/>
              <a:gd name="connsiteY0" fmla="*/ 0 h 5620176"/>
              <a:gd name="connsiteX1" fmla="*/ 3517637 w 4012393"/>
              <a:gd name="connsiteY1" fmla="*/ 1818 h 5620176"/>
              <a:gd name="connsiteX2" fmla="*/ 4012389 w 4012393"/>
              <a:gd name="connsiteY2" fmla="*/ 518978 h 5620176"/>
              <a:gd name="connsiteX3" fmla="*/ 3966192 w 4012393"/>
              <a:gd name="connsiteY3" fmla="*/ 4546011 h 5620176"/>
              <a:gd name="connsiteX4" fmla="*/ 2919142 w 4012393"/>
              <a:gd name="connsiteY4" fmla="*/ 5609255 h 5620176"/>
              <a:gd name="connsiteX5" fmla="*/ 232259 w 4012393"/>
              <a:gd name="connsiteY5" fmla="*/ 5620176 h 5620176"/>
              <a:gd name="connsiteX6" fmla="*/ 0 w 4012393"/>
              <a:gd name="connsiteY6" fmla="*/ 5388074 h 5620176"/>
              <a:gd name="connsiteX7" fmla="*/ 0 w 4012393"/>
              <a:gd name="connsiteY7" fmla="*/ 1383077 h 5620176"/>
              <a:gd name="connsiteX8" fmla="*/ 98758 w 4012393"/>
              <a:gd name="connsiteY8" fmla="*/ 1193072 h 5620176"/>
              <a:gd name="connsiteX9" fmla="*/ 1820968 w 4012393"/>
              <a:gd name="connsiteY9" fmla="*/ 0 h 5620176"/>
              <a:gd name="connsiteX0" fmla="*/ 1820968 w 4012393"/>
              <a:gd name="connsiteY0" fmla="*/ 0 h 5620176"/>
              <a:gd name="connsiteX1" fmla="*/ 3517637 w 4012393"/>
              <a:gd name="connsiteY1" fmla="*/ 1818 h 5620176"/>
              <a:gd name="connsiteX2" fmla="*/ 4012389 w 4012393"/>
              <a:gd name="connsiteY2" fmla="*/ 518978 h 5620176"/>
              <a:gd name="connsiteX3" fmla="*/ 3966192 w 4012393"/>
              <a:gd name="connsiteY3" fmla="*/ 4546011 h 5620176"/>
              <a:gd name="connsiteX4" fmla="*/ 2919142 w 4012393"/>
              <a:gd name="connsiteY4" fmla="*/ 5609255 h 5620176"/>
              <a:gd name="connsiteX5" fmla="*/ 232259 w 4012393"/>
              <a:gd name="connsiteY5" fmla="*/ 5620176 h 5620176"/>
              <a:gd name="connsiteX6" fmla="*/ 0 w 4012393"/>
              <a:gd name="connsiteY6" fmla="*/ 5388074 h 5620176"/>
              <a:gd name="connsiteX7" fmla="*/ 0 w 4012393"/>
              <a:gd name="connsiteY7" fmla="*/ 1383077 h 5620176"/>
              <a:gd name="connsiteX8" fmla="*/ 98758 w 4012393"/>
              <a:gd name="connsiteY8" fmla="*/ 1193072 h 5620176"/>
              <a:gd name="connsiteX9" fmla="*/ 1820968 w 4012393"/>
              <a:gd name="connsiteY9" fmla="*/ 0 h 5620176"/>
              <a:gd name="connsiteX0" fmla="*/ 1820968 w 4069229"/>
              <a:gd name="connsiteY0" fmla="*/ 12844 h 5633020"/>
              <a:gd name="connsiteX1" fmla="*/ 3517637 w 4069229"/>
              <a:gd name="connsiteY1" fmla="*/ 14662 h 5633020"/>
              <a:gd name="connsiteX2" fmla="*/ 4031549 w 4069229"/>
              <a:gd name="connsiteY2" fmla="*/ 321067 h 5633020"/>
              <a:gd name="connsiteX3" fmla="*/ 3966192 w 4069229"/>
              <a:gd name="connsiteY3" fmla="*/ 4558855 h 5633020"/>
              <a:gd name="connsiteX4" fmla="*/ 2919142 w 4069229"/>
              <a:gd name="connsiteY4" fmla="*/ 5622099 h 5633020"/>
              <a:gd name="connsiteX5" fmla="*/ 232259 w 4069229"/>
              <a:gd name="connsiteY5" fmla="*/ 5633020 h 5633020"/>
              <a:gd name="connsiteX6" fmla="*/ 0 w 4069229"/>
              <a:gd name="connsiteY6" fmla="*/ 5400918 h 5633020"/>
              <a:gd name="connsiteX7" fmla="*/ 0 w 4069229"/>
              <a:gd name="connsiteY7" fmla="*/ 1395921 h 5633020"/>
              <a:gd name="connsiteX8" fmla="*/ 98758 w 4069229"/>
              <a:gd name="connsiteY8" fmla="*/ 1205916 h 5633020"/>
              <a:gd name="connsiteX9" fmla="*/ 1820968 w 4069229"/>
              <a:gd name="connsiteY9" fmla="*/ 12844 h 5633020"/>
              <a:gd name="connsiteX0" fmla="*/ 1820968 w 4082268"/>
              <a:gd name="connsiteY0" fmla="*/ 0 h 5620176"/>
              <a:gd name="connsiteX1" fmla="*/ 3517637 w 4082268"/>
              <a:gd name="connsiteY1" fmla="*/ 1818 h 5620176"/>
              <a:gd name="connsiteX2" fmla="*/ 4031549 w 4082268"/>
              <a:gd name="connsiteY2" fmla="*/ 308223 h 5620176"/>
              <a:gd name="connsiteX3" fmla="*/ 3966192 w 4082268"/>
              <a:gd name="connsiteY3" fmla="*/ 4546011 h 5620176"/>
              <a:gd name="connsiteX4" fmla="*/ 2919142 w 4082268"/>
              <a:gd name="connsiteY4" fmla="*/ 5609255 h 5620176"/>
              <a:gd name="connsiteX5" fmla="*/ 232259 w 4082268"/>
              <a:gd name="connsiteY5" fmla="*/ 5620176 h 5620176"/>
              <a:gd name="connsiteX6" fmla="*/ 0 w 4082268"/>
              <a:gd name="connsiteY6" fmla="*/ 5388074 h 5620176"/>
              <a:gd name="connsiteX7" fmla="*/ 0 w 4082268"/>
              <a:gd name="connsiteY7" fmla="*/ 1383077 h 5620176"/>
              <a:gd name="connsiteX8" fmla="*/ 98758 w 4082268"/>
              <a:gd name="connsiteY8" fmla="*/ 1193072 h 5620176"/>
              <a:gd name="connsiteX9" fmla="*/ 1820968 w 4082268"/>
              <a:gd name="connsiteY9" fmla="*/ 0 h 5620176"/>
              <a:gd name="connsiteX0" fmla="*/ 1820968 w 4040328"/>
              <a:gd name="connsiteY0" fmla="*/ 0 h 5620176"/>
              <a:gd name="connsiteX1" fmla="*/ 3517637 w 4040328"/>
              <a:gd name="connsiteY1" fmla="*/ 1818 h 5620176"/>
              <a:gd name="connsiteX2" fmla="*/ 4031549 w 4040328"/>
              <a:gd name="connsiteY2" fmla="*/ 308223 h 5620176"/>
              <a:gd name="connsiteX3" fmla="*/ 3966192 w 4040328"/>
              <a:gd name="connsiteY3" fmla="*/ 4546011 h 5620176"/>
              <a:gd name="connsiteX4" fmla="*/ 2919142 w 4040328"/>
              <a:gd name="connsiteY4" fmla="*/ 5609255 h 5620176"/>
              <a:gd name="connsiteX5" fmla="*/ 232259 w 4040328"/>
              <a:gd name="connsiteY5" fmla="*/ 5620176 h 5620176"/>
              <a:gd name="connsiteX6" fmla="*/ 0 w 4040328"/>
              <a:gd name="connsiteY6" fmla="*/ 5388074 h 5620176"/>
              <a:gd name="connsiteX7" fmla="*/ 0 w 4040328"/>
              <a:gd name="connsiteY7" fmla="*/ 1383077 h 5620176"/>
              <a:gd name="connsiteX8" fmla="*/ 98758 w 4040328"/>
              <a:gd name="connsiteY8" fmla="*/ 1193072 h 5620176"/>
              <a:gd name="connsiteX9" fmla="*/ 1820968 w 4040328"/>
              <a:gd name="connsiteY9" fmla="*/ 0 h 5620176"/>
              <a:gd name="connsiteX0" fmla="*/ 1820968 w 4038720"/>
              <a:gd name="connsiteY0" fmla="*/ 0 h 5620176"/>
              <a:gd name="connsiteX1" fmla="*/ 3517637 w 4038720"/>
              <a:gd name="connsiteY1" fmla="*/ 1818 h 5620176"/>
              <a:gd name="connsiteX2" fmla="*/ 4031549 w 4038720"/>
              <a:gd name="connsiteY2" fmla="*/ 308223 h 5620176"/>
              <a:gd name="connsiteX3" fmla="*/ 3966192 w 4038720"/>
              <a:gd name="connsiteY3" fmla="*/ 4546011 h 5620176"/>
              <a:gd name="connsiteX4" fmla="*/ 2919142 w 4038720"/>
              <a:gd name="connsiteY4" fmla="*/ 5609255 h 5620176"/>
              <a:gd name="connsiteX5" fmla="*/ 232259 w 4038720"/>
              <a:gd name="connsiteY5" fmla="*/ 5620176 h 5620176"/>
              <a:gd name="connsiteX6" fmla="*/ 0 w 4038720"/>
              <a:gd name="connsiteY6" fmla="*/ 5388074 h 5620176"/>
              <a:gd name="connsiteX7" fmla="*/ 0 w 4038720"/>
              <a:gd name="connsiteY7" fmla="*/ 1383077 h 5620176"/>
              <a:gd name="connsiteX8" fmla="*/ 98758 w 4038720"/>
              <a:gd name="connsiteY8" fmla="*/ 1193072 h 5620176"/>
              <a:gd name="connsiteX9" fmla="*/ 1820968 w 4038720"/>
              <a:gd name="connsiteY9" fmla="*/ 0 h 5620176"/>
              <a:gd name="connsiteX0" fmla="*/ 1820968 w 4057143"/>
              <a:gd name="connsiteY0" fmla="*/ 0 h 5620176"/>
              <a:gd name="connsiteX1" fmla="*/ 3517637 w 4057143"/>
              <a:gd name="connsiteY1" fmla="*/ 1818 h 5620176"/>
              <a:gd name="connsiteX2" fmla="*/ 3977839 w 4057143"/>
              <a:gd name="connsiteY2" fmla="*/ 317174 h 5620176"/>
              <a:gd name="connsiteX3" fmla="*/ 3966192 w 4057143"/>
              <a:gd name="connsiteY3" fmla="*/ 4546011 h 5620176"/>
              <a:gd name="connsiteX4" fmla="*/ 2919142 w 4057143"/>
              <a:gd name="connsiteY4" fmla="*/ 5609255 h 5620176"/>
              <a:gd name="connsiteX5" fmla="*/ 232259 w 4057143"/>
              <a:gd name="connsiteY5" fmla="*/ 5620176 h 5620176"/>
              <a:gd name="connsiteX6" fmla="*/ 0 w 4057143"/>
              <a:gd name="connsiteY6" fmla="*/ 5388074 h 5620176"/>
              <a:gd name="connsiteX7" fmla="*/ 0 w 4057143"/>
              <a:gd name="connsiteY7" fmla="*/ 1383077 h 5620176"/>
              <a:gd name="connsiteX8" fmla="*/ 98758 w 4057143"/>
              <a:gd name="connsiteY8" fmla="*/ 1193072 h 5620176"/>
              <a:gd name="connsiteX9" fmla="*/ 1820968 w 4057143"/>
              <a:gd name="connsiteY9" fmla="*/ 0 h 5620176"/>
              <a:gd name="connsiteX0" fmla="*/ 1820968 w 4043846"/>
              <a:gd name="connsiteY0" fmla="*/ 0 h 5620176"/>
              <a:gd name="connsiteX1" fmla="*/ 3517637 w 4043846"/>
              <a:gd name="connsiteY1" fmla="*/ 1818 h 5620176"/>
              <a:gd name="connsiteX2" fmla="*/ 3942033 w 4043846"/>
              <a:gd name="connsiteY2" fmla="*/ 335077 h 5620176"/>
              <a:gd name="connsiteX3" fmla="*/ 3966192 w 4043846"/>
              <a:gd name="connsiteY3" fmla="*/ 4546011 h 5620176"/>
              <a:gd name="connsiteX4" fmla="*/ 2919142 w 4043846"/>
              <a:gd name="connsiteY4" fmla="*/ 5609255 h 5620176"/>
              <a:gd name="connsiteX5" fmla="*/ 232259 w 4043846"/>
              <a:gd name="connsiteY5" fmla="*/ 5620176 h 5620176"/>
              <a:gd name="connsiteX6" fmla="*/ 0 w 4043846"/>
              <a:gd name="connsiteY6" fmla="*/ 5388074 h 5620176"/>
              <a:gd name="connsiteX7" fmla="*/ 0 w 4043846"/>
              <a:gd name="connsiteY7" fmla="*/ 1383077 h 5620176"/>
              <a:gd name="connsiteX8" fmla="*/ 98758 w 4043846"/>
              <a:gd name="connsiteY8" fmla="*/ 1193072 h 5620176"/>
              <a:gd name="connsiteX9" fmla="*/ 1820968 w 4043846"/>
              <a:gd name="connsiteY9" fmla="*/ 0 h 5620176"/>
              <a:gd name="connsiteX0" fmla="*/ 1820968 w 4043847"/>
              <a:gd name="connsiteY0" fmla="*/ 96101 h 5716277"/>
              <a:gd name="connsiteX1" fmla="*/ 3517637 w 4043847"/>
              <a:gd name="connsiteY1" fmla="*/ 97919 h 5716277"/>
              <a:gd name="connsiteX2" fmla="*/ 3942033 w 4043847"/>
              <a:gd name="connsiteY2" fmla="*/ 431178 h 5716277"/>
              <a:gd name="connsiteX3" fmla="*/ 3966192 w 4043847"/>
              <a:gd name="connsiteY3" fmla="*/ 4642112 h 5716277"/>
              <a:gd name="connsiteX4" fmla="*/ 2919142 w 4043847"/>
              <a:gd name="connsiteY4" fmla="*/ 5705356 h 5716277"/>
              <a:gd name="connsiteX5" fmla="*/ 232259 w 4043847"/>
              <a:gd name="connsiteY5" fmla="*/ 5716277 h 5716277"/>
              <a:gd name="connsiteX6" fmla="*/ 0 w 4043847"/>
              <a:gd name="connsiteY6" fmla="*/ 5484175 h 5716277"/>
              <a:gd name="connsiteX7" fmla="*/ 0 w 4043847"/>
              <a:gd name="connsiteY7" fmla="*/ 1479178 h 5716277"/>
              <a:gd name="connsiteX8" fmla="*/ 98758 w 4043847"/>
              <a:gd name="connsiteY8" fmla="*/ 1289173 h 5716277"/>
              <a:gd name="connsiteX9" fmla="*/ 1820968 w 4043847"/>
              <a:gd name="connsiteY9" fmla="*/ 96101 h 5716277"/>
              <a:gd name="connsiteX0" fmla="*/ 1820968 w 4037989"/>
              <a:gd name="connsiteY0" fmla="*/ 0 h 5620176"/>
              <a:gd name="connsiteX1" fmla="*/ 3517637 w 4037989"/>
              <a:gd name="connsiteY1" fmla="*/ 1818 h 5620176"/>
              <a:gd name="connsiteX2" fmla="*/ 3942033 w 4037989"/>
              <a:gd name="connsiteY2" fmla="*/ 335077 h 5620176"/>
              <a:gd name="connsiteX3" fmla="*/ 3966192 w 4037989"/>
              <a:gd name="connsiteY3" fmla="*/ 4546011 h 5620176"/>
              <a:gd name="connsiteX4" fmla="*/ 2919142 w 4037989"/>
              <a:gd name="connsiteY4" fmla="*/ 5609255 h 5620176"/>
              <a:gd name="connsiteX5" fmla="*/ 232259 w 4037989"/>
              <a:gd name="connsiteY5" fmla="*/ 5620176 h 5620176"/>
              <a:gd name="connsiteX6" fmla="*/ 0 w 4037989"/>
              <a:gd name="connsiteY6" fmla="*/ 5388074 h 5620176"/>
              <a:gd name="connsiteX7" fmla="*/ 0 w 4037989"/>
              <a:gd name="connsiteY7" fmla="*/ 1383077 h 5620176"/>
              <a:gd name="connsiteX8" fmla="*/ 98758 w 4037989"/>
              <a:gd name="connsiteY8" fmla="*/ 1193072 h 5620176"/>
              <a:gd name="connsiteX9" fmla="*/ 1820968 w 4037989"/>
              <a:gd name="connsiteY9" fmla="*/ 0 h 5620176"/>
              <a:gd name="connsiteX0" fmla="*/ 1820968 w 4037989"/>
              <a:gd name="connsiteY0" fmla="*/ 0 h 5620176"/>
              <a:gd name="connsiteX1" fmla="*/ 3517637 w 4037989"/>
              <a:gd name="connsiteY1" fmla="*/ 1818 h 5620176"/>
              <a:gd name="connsiteX2" fmla="*/ 3942033 w 4037989"/>
              <a:gd name="connsiteY2" fmla="*/ 335077 h 5620176"/>
              <a:gd name="connsiteX3" fmla="*/ 3966192 w 4037989"/>
              <a:gd name="connsiteY3" fmla="*/ 4546011 h 5620176"/>
              <a:gd name="connsiteX4" fmla="*/ 2919142 w 4037989"/>
              <a:gd name="connsiteY4" fmla="*/ 5609255 h 5620176"/>
              <a:gd name="connsiteX5" fmla="*/ 232259 w 4037989"/>
              <a:gd name="connsiteY5" fmla="*/ 5620176 h 5620176"/>
              <a:gd name="connsiteX6" fmla="*/ 0 w 4037989"/>
              <a:gd name="connsiteY6" fmla="*/ 5388074 h 5620176"/>
              <a:gd name="connsiteX7" fmla="*/ 0 w 4037989"/>
              <a:gd name="connsiteY7" fmla="*/ 1383077 h 5620176"/>
              <a:gd name="connsiteX8" fmla="*/ 98758 w 4037989"/>
              <a:gd name="connsiteY8" fmla="*/ 1193072 h 5620176"/>
              <a:gd name="connsiteX9" fmla="*/ 1820968 w 4037989"/>
              <a:gd name="connsiteY9" fmla="*/ 0 h 5620176"/>
              <a:gd name="connsiteX0" fmla="*/ 1820968 w 3973157"/>
              <a:gd name="connsiteY0" fmla="*/ 0 h 5620176"/>
              <a:gd name="connsiteX1" fmla="*/ 3517637 w 3973157"/>
              <a:gd name="connsiteY1" fmla="*/ 1818 h 5620176"/>
              <a:gd name="connsiteX2" fmla="*/ 3942033 w 3973157"/>
              <a:gd name="connsiteY2" fmla="*/ 335077 h 5620176"/>
              <a:gd name="connsiteX3" fmla="*/ 3966192 w 3973157"/>
              <a:gd name="connsiteY3" fmla="*/ 4546011 h 5620176"/>
              <a:gd name="connsiteX4" fmla="*/ 2919142 w 3973157"/>
              <a:gd name="connsiteY4" fmla="*/ 5609255 h 5620176"/>
              <a:gd name="connsiteX5" fmla="*/ 232259 w 3973157"/>
              <a:gd name="connsiteY5" fmla="*/ 5620176 h 5620176"/>
              <a:gd name="connsiteX6" fmla="*/ 0 w 3973157"/>
              <a:gd name="connsiteY6" fmla="*/ 5388074 h 5620176"/>
              <a:gd name="connsiteX7" fmla="*/ 0 w 3973157"/>
              <a:gd name="connsiteY7" fmla="*/ 1383077 h 5620176"/>
              <a:gd name="connsiteX8" fmla="*/ 98758 w 3973157"/>
              <a:gd name="connsiteY8" fmla="*/ 1193072 h 5620176"/>
              <a:gd name="connsiteX9" fmla="*/ 1820968 w 3973157"/>
              <a:gd name="connsiteY9" fmla="*/ 0 h 5620176"/>
              <a:gd name="connsiteX0" fmla="*/ 1820968 w 4035310"/>
              <a:gd name="connsiteY0" fmla="*/ 0 h 5620176"/>
              <a:gd name="connsiteX1" fmla="*/ 3517637 w 4035310"/>
              <a:gd name="connsiteY1" fmla="*/ 1818 h 5620176"/>
              <a:gd name="connsiteX2" fmla="*/ 3933081 w 4035310"/>
              <a:gd name="connsiteY2" fmla="*/ 549916 h 5620176"/>
              <a:gd name="connsiteX3" fmla="*/ 3966192 w 4035310"/>
              <a:gd name="connsiteY3" fmla="*/ 4546011 h 5620176"/>
              <a:gd name="connsiteX4" fmla="*/ 2919142 w 4035310"/>
              <a:gd name="connsiteY4" fmla="*/ 5609255 h 5620176"/>
              <a:gd name="connsiteX5" fmla="*/ 232259 w 4035310"/>
              <a:gd name="connsiteY5" fmla="*/ 5620176 h 5620176"/>
              <a:gd name="connsiteX6" fmla="*/ 0 w 4035310"/>
              <a:gd name="connsiteY6" fmla="*/ 5388074 h 5620176"/>
              <a:gd name="connsiteX7" fmla="*/ 0 w 4035310"/>
              <a:gd name="connsiteY7" fmla="*/ 1383077 h 5620176"/>
              <a:gd name="connsiteX8" fmla="*/ 98758 w 4035310"/>
              <a:gd name="connsiteY8" fmla="*/ 1193072 h 5620176"/>
              <a:gd name="connsiteX9" fmla="*/ 1820968 w 4035310"/>
              <a:gd name="connsiteY9" fmla="*/ 0 h 5620176"/>
              <a:gd name="connsiteX0" fmla="*/ 1820968 w 4030291"/>
              <a:gd name="connsiteY0" fmla="*/ 0 h 5620176"/>
              <a:gd name="connsiteX1" fmla="*/ 3517637 w 4030291"/>
              <a:gd name="connsiteY1" fmla="*/ 1818 h 5620176"/>
              <a:gd name="connsiteX2" fmla="*/ 3915178 w 4030291"/>
              <a:gd name="connsiteY2" fmla="*/ 469353 h 5620176"/>
              <a:gd name="connsiteX3" fmla="*/ 3966192 w 4030291"/>
              <a:gd name="connsiteY3" fmla="*/ 4546011 h 5620176"/>
              <a:gd name="connsiteX4" fmla="*/ 2919142 w 4030291"/>
              <a:gd name="connsiteY4" fmla="*/ 5609255 h 5620176"/>
              <a:gd name="connsiteX5" fmla="*/ 232259 w 4030291"/>
              <a:gd name="connsiteY5" fmla="*/ 5620176 h 5620176"/>
              <a:gd name="connsiteX6" fmla="*/ 0 w 4030291"/>
              <a:gd name="connsiteY6" fmla="*/ 5388074 h 5620176"/>
              <a:gd name="connsiteX7" fmla="*/ 0 w 4030291"/>
              <a:gd name="connsiteY7" fmla="*/ 1383077 h 5620176"/>
              <a:gd name="connsiteX8" fmla="*/ 98758 w 4030291"/>
              <a:gd name="connsiteY8" fmla="*/ 1193072 h 5620176"/>
              <a:gd name="connsiteX9" fmla="*/ 1820968 w 4030291"/>
              <a:gd name="connsiteY9" fmla="*/ 0 h 5620176"/>
              <a:gd name="connsiteX0" fmla="*/ 1820968 w 4025909"/>
              <a:gd name="connsiteY0" fmla="*/ 0 h 5620176"/>
              <a:gd name="connsiteX1" fmla="*/ 3517637 w 4025909"/>
              <a:gd name="connsiteY1" fmla="*/ 1818 h 5620176"/>
              <a:gd name="connsiteX2" fmla="*/ 3915178 w 4025909"/>
              <a:gd name="connsiteY2" fmla="*/ 469353 h 5620176"/>
              <a:gd name="connsiteX3" fmla="*/ 3966192 w 4025909"/>
              <a:gd name="connsiteY3" fmla="*/ 4546011 h 5620176"/>
              <a:gd name="connsiteX4" fmla="*/ 2919142 w 4025909"/>
              <a:gd name="connsiteY4" fmla="*/ 5609255 h 5620176"/>
              <a:gd name="connsiteX5" fmla="*/ 232259 w 4025909"/>
              <a:gd name="connsiteY5" fmla="*/ 5620176 h 5620176"/>
              <a:gd name="connsiteX6" fmla="*/ 0 w 4025909"/>
              <a:gd name="connsiteY6" fmla="*/ 5388074 h 5620176"/>
              <a:gd name="connsiteX7" fmla="*/ 0 w 4025909"/>
              <a:gd name="connsiteY7" fmla="*/ 1383077 h 5620176"/>
              <a:gd name="connsiteX8" fmla="*/ 98758 w 4025909"/>
              <a:gd name="connsiteY8" fmla="*/ 1193072 h 5620176"/>
              <a:gd name="connsiteX9" fmla="*/ 1820968 w 4025909"/>
              <a:gd name="connsiteY9" fmla="*/ 0 h 5620176"/>
              <a:gd name="connsiteX0" fmla="*/ 1820968 w 4028866"/>
              <a:gd name="connsiteY0" fmla="*/ 0 h 5620176"/>
              <a:gd name="connsiteX1" fmla="*/ 3517637 w 4028866"/>
              <a:gd name="connsiteY1" fmla="*/ 1818 h 5620176"/>
              <a:gd name="connsiteX2" fmla="*/ 3915178 w 4028866"/>
              <a:gd name="connsiteY2" fmla="*/ 469353 h 5620176"/>
              <a:gd name="connsiteX3" fmla="*/ 3966192 w 4028866"/>
              <a:gd name="connsiteY3" fmla="*/ 4546011 h 5620176"/>
              <a:gd name="connsiteX4" fmla="*/ 2919142 w 4028866"/>
              <a:gd name="connsiteY4" fmla="*/ 5609255 h 5620176"/>
              <a:gd name="connsiteX5" fmla="*/ 232259 w 4028866"/>
              <a:gd name="connsiteY5" fmla="*/ 5620176 h 5620176"/>
              <a:gd name="connsiteX6" fmla="*/ 0 w 4028866"/>
              <a:gd name="connsiteY6" fmla="*/ 5388074 h 5620176"/>
              <a:gd name="connsiteX7" fmla="*/ 0 w 4028866"/>
              <a:gd name="connsiteY7" fmla="*/ 1383077 h 5620176"/>
              <a:gd name="connsiteX8" fmla="*/ 98758 w 4028866"/>
              <a:gd name="connsiteY8" fmla="*/ 1193072 h 5620176"/>
              <a:gd name="connsiteX9" fmla="*/ 1820968 w 4028866"/>
              <a:gd name="connsiteY9" fmla="*/ 0 h 5620176"/>
              <a:gd name="connsiteX0" fmla="*/ 1820968 w 4031247"/>
              <a:gd name="connsiteY0" fmla="*/ 0 h 5620176"/>
              <a:gd name="connsiteX1" fmla="*/ 3517637 w 4031247"/>
              <a:gd name="connsiteY1" fmla="*/ 1818 h 5620176"/>
              <a:gd name="connsiteX2" fmla="*/ 3924131 w 4031247"/>
              <a:gd name="connsiteY2" fmla="*/ 308224 h 5620176"/>
              <a:gd name="connsiteX3" fmla="*/ 3966192 w 4031247"/>
              <a:gd name="connsiteY3" fmla="*/ 4546011 h 5620176"/>
              <a:gd name="connsiteX4" fmla="*/ 2919142 w 4031247"/>
              <a:gd name="connsiteY4" fmla="*/ 5609255 h 5620176"/>
              <a:gd name="connsiteX5" fmla="*/ 232259 w 4031247"/>
              <a:gd name="connsiteY5" fmla="*/ 5620176 h 5620176"/>
              <a:gd name="connsiteX6" fmla="*/ 0 w 4031247"/>
              <a:gd name="connsiteY6" fmla="*/ 5388074 h 5620176"/>
              <a:gd name="connsiteX7" fmla="*/ 0 w 4031247"/>
              <a:gd name="connsiteY7" fmla="*/ 1383077 h 5620176"/>
              <a:gd name="connsiteX8" fmla="*/ 98758 w 4031247"/>
              <a:gd name="connsiteY8" fmla="*/ 1193072 h 5620176"/>
              <a:gd name="connsiteX9" fmla="*/ 1820968 w 4031247"/>
              <a:gd name="connsiteY9" fmla="*/ 0 h 5620176"/>
              <a:gd name="connsiteX0" fmla="*/ 1820968 w 4031456"/>
              <a:gd name="connsiteY0" fmla="*/ 0 h 5620176"/>
              <a:gd name="connsiteX1" fmla="*/ 3517637 w 4031456"/>
              <a:gd name="connsiteY1" fmla="*/ 1818 h 5620176"/>
              <a:gd name="connsiteX2" fmla="*/ 3924131 w 4031456"/>
              <a:gd name="connsiteY2" fmla="*/ 308224 h 5620176"/>
              <a:gd name="connsiteX3" fmla="*/ 3966192 w 4031456"/>
              <a:gd name="connsiteY3" fmla="*/ 4546011 h 5620176"/>
              <a:gd name="connsiteX4" fmla="*/ 2919142 w 4031456"/>
              <a:gd name="connsiteY4" fmla="*/ 5609255 h 5620176"/>
              <a:gd name="connsiteX5" fmla="*/ 232259 w 4031456"/>
              <a:gd name="connsiteY5" fmla="*/ 5620176 h 5620176"/>
              <a:gd name="connsiteX6" fmla="*/ 0 w 4031456"/>
              <a:gd name="connsiteY6" fmla="*/ 5388074 h 5620176"/>
              <a:gd name="connsiteX7" fmla="*/ 0 w 4031456"/>
              <a:gd name="connsiteY7" fmla="*/ 1383077 h 5620176"/>
              <a:gd name="connsiteX8" fmla="*/ 98758 w 4031456"/>
              <a:gd name="connsiteY8" fmla="*/ 1193072 h 5620176"/>
              <a:gd name="connsiteX9" fmla="*/ 1820968 w 4031456"/>
              <a:gd name="connsiteY9" fmla="*/ 0 h 5620176"/>
              <a:gd name="connsiteX0" fmla="*/ 1820968 w 4038829"/>
              <a:gd name="connsiteY0" fmla="*/ 104452 h 5724628"/>
              <a:gd name="connsiteX1" fmla="*/ 3723525 w 4038829"/>
              <a:gd name="connsiteY1" fmla="*/ 124173 h 5724628"/>
              <a:gd name="connsiteX2" fmla="*/ 3924131 w 4038829"/>
              <a:gd name="connsiteY2" fmla="*/ 412676 h 5724628"/>
              <a:gd name="connsiteX3" fmla="*/ 3966192 w 4038829"/>
              <a:gd name="connsiteY3" fmla="*/ 4650463 h 5724628"/>
              <a:gd name="connsiteX4" fmla="*/ 2919142 w 4038829"/>
              <a:gd name="connsiteY4" fmla="*/ 5713707 h 5724628"/>
              <a:gd name="connsiteX5" fmla="*/ 232259 w 4038829"/>
              <a:gd name="connsiteY5" fmla="*/ 5724628 h 5724628"/>
              <a:gd name="connsiteX6" fmla="*/ 0 w 4038829"/>
              <a:gd name="connsiteY6" fmla="*/ 5492526 h 5724628"/>
              <a:gd name="connsiteX7" fmla="*/ 0 w 4038829"/>
              <a:gd name="connsiteY7" fmla="*/ 1487529 h 5724628"/>
              <a:gd name="connsiteX8" fmla="*/ 98758 w 4038829"/>
              <a:gd name="connsiteY8" fmla="*/ 1297524 h 5724628"/>
              <a:gd name="connsiteX9" fmla="*/ 1820968 w 4038829"/>
              <a:gd name="connsiteY9" fmla="*/ 104452 h 5724628"/>
              <a:gd name="connsiteX0" fmla="*/ 1820968 w 4038829"/>
              <a:gd name="connsiteY0" fmla="*/ 124809 h 5744985"/>
              <a:gd name="connsiteX1" fmla="*/ 3723525 w 4038829"/>
              <a:gd name="connsiteY1" fmla="*/ 144530 h 5744985"/>
              <a:gd name="connsiteX2" fmla="*/ 3924131 w 4038829"/>
              <a:gd name="connsiteY2" fmla="*/ 433033 h 5744985"/>
              <a:gd name="connsiteX3" fmla="*/ 3966192 w 4038829"/>
              <a:gd name="connsiteY3" fmla="*/ 4670820 h 5744985"/>
              <a:gd name="connsiteX4" fmla="*/ 2919142 w 4038829"/>
              <a:gd name="connsiteY4" fmla="*/ 5734064 h 5744985"/>
              <a:gd name="connsiteX5" fmla="*/ 232259 w 4038829"/>
              <a:gd name="connsiteY5" fmla="*/ 5744985 h 5744985"/>
              <a:gd name="connsiteX6" fmla="*/ 0 w 4038829"/>
              <a:gd name="connsiteY6" fmla="*/ 5512883 h 5744985"/>
              <a:gd name="connsiteX7" fmla="*/ 0 w 4038829"/>
              <a:gd name="connsiteY7" fmla="*/ 1507886 h 5744985"/>
              <a:gd name="connsiteX8" fmla="*/ 98758 w 4038829"/>
              <a:gd name="connsiteY8" fmla="*/ 1317881 h 5744985"/>
              <a:gd name="connsiteX9" fmla="*/ 1820968 w 4038829"/>
              <a:gd name="connsiteY9" fmla="*/ 124809 h 5744985"/>
              <a:gd name="connsiteX0" fmla="*/ 1820968 w 4031921"/>
              <a:gd name="connsiteY0" fmla="*/ 0 h 5620176"/>
              <a:gd name="connsiteX1" fmla="*/ 3723525 w 4031921"/>
              <a:gd name="connsiteY1" fmla="*/ 19721 h 5620176"/>
              <a:gd name="connsiteX2" fmla="*/ 3924131 w 4031921"/>
              <a:gd name="connsiteY2" fmla="*/ 308224 h 5620176"/>
              <a:gd name="connsiteX3" fmla="*/ 3966192 w 4031921"/>
              <a:gd name="connsiteY3" fmla="*/ 4546011 h 5620176"/>
              <a:gd name="connsiteX4" fmla="*/ 2919142 w 4031921"/>
              <a:gd name="connsiteY4" fmla="*/ 5609255 h 5620176"/>
              <a:gd name="connsiteX5" fmla="*/ 232259 w 4031921"/>
              <a:gd name="connsiteY5" fmla="*/ 5620176 h 5620176"/>
              <a:gd name="connsiteX6" fmla="*/ 0 w 4031921"/>
              <a:gd name="connsiteY6" fmla="*/ 5388074 h 5620176"/>
              <a:gd name="connsiteX7" fmla="*/ 0 w 4031921"/>
              <a:gd name="connsiteY7" fmla="*/ 1383077 h 5620176"/>
              <a:gd name="connsiteX8" fmla="*/ 98758 w 4031921"/>
              <a:gd name="connsiteY8" fmla="*/ 1193072 h 5620176"/>
              <a:gd name="connsiteX9" fmla="*/ 1820968 w 4031921"/>
              <a:gd name="connsiteY9" fmla="*/ 0 h 5620176"/>
              <a:gd name="connsiteX0" fmla="*/ 1820968 w 3966823"/>
              <a:gd name="connsiteY0" fmla="*/ 0 h 5620176"/>
              <a:gd name="connsiteX1" fmla="*/ 3723525 w 3966823"/>
              <a:gd name="connsiteY1" fmla="*/ 19721 h 5620176"/>
              <a:gd name="connsiteX2" fmla="*/ 3924131 w 3966823"/>
              <a:gd name="connsiteY2" fmla="*/ 308224 h 5620176"/>
              <a:gd name="connsiteX3" fmla="*/ 3966192 w 3966823"/>
              <a:gd name="connsiteY3" fmla="*/ 4546011 h 5620176"/>
              <a:gd name="connsiteX4" fmla="*/ 2919142 w 3966823"/>
              <a:gd name="connsiteY4" fmla="*/ 5609255 h 5620176"/>
              <a:gd name="connsiteX5" fmla="*/ 232259 w 3966823"/>
              <a:gd name="connsiteY5" fmla="*/ 5620176 h 5620176"/>
              <a:gd name="connsiteX6" fmla="*/ 0 w 3966823"/>
              <a:gd name="connsiteY6" fmla="*/ 5388074 h 5620176"/>
              <a:gd name="connsiteX7" fmla="*/ 0 w 3966823"/>
              <a:gd name="connsiteY7" fmla="*/ 1383077 h 5620176"/>
              <a:gd name="connsiteX8" fmla="*/ 98758 w 3966823"/>
              <a:gd name="connsiteY8" fmla="*/ 1193072 h 5620176"/>
              <a:gd name="connsiteX9" fmla="*/ 1820968 w 3966823"/>
              <a:gd name="connsiteY9" fmla="*/ 0 h 5620176"/>
              <a:gd name="connsiteX0" fmla="*/ 1820968 w 4039827"/>
              <a:gd name="connsiteY0" fmla="*/ 0 h 5620176"/>
              <a:gd name="connsiteX1" fmla="*/ 3723525 w 4039827"/>
              <a:gd name="connsiteY1" fmla="*/ 19721 h 5620176"/>
              <a:gd name="connsiteX2" fmla="*/ 3950986 w 4039827"/>
              <a:gd name="connsiteY2" fmla="*/ 352982 h 5620176"/>
              <a:gd name="connsiteX3" fmla="*/ 3966192 w 4039827"/>
              <a:gd name="connsiteY3" fmla="*/ 4546011 h 5620176"/>
              <a:gd name="connsiteX4" fmla="*/ 2919142 w 4039827"/>
              <a:gd name="connsiteY4" fmla="*/ 5609255 h 5620176"/>
              <a:gd name="connsiteX5" fmla="*/ 232259 w 4039827"/>
              <a:gd name="connsiteY5" fmla="*/ 5620176 h 5620176"/>
              <a:gd name="connsiteX6" fmla="*/ 0 w 4039827"/>
              <a:gd name="connsiteY6" fmla="*/ 5388074 h 5620176"/>
              <a:gd name="connsiteX7" fmla="*/ 0 w 4039827"/>
              <a:gd name="connsiteY7" fmla="*/ 1383077 h 5620176"/>
              <a:gd name="connsiteX8" fmla="*/ 98758 w 4039827"/>
              <a:gd name="connsiteY8" fmla="*/ 1193072 h 5620176"/>
              <a:gd name="connsiteX9" fmla="*/ 1820968 w 4039827"/>
              <a:gd name="connsiteY9" fmla="*/ 0 h 5620176"/>
              <a:gd name="connsiteX0" fmla="*/ 1820968 w 4049324"/>
              <a:gd name="connsiteY0" fmla="*/ 109447 h 5729623"/>
              <a:gd name="connsiteX1" fmla="*/ 3687718 w 4049324"/>
              <a:gd name="connsiteY1" fmla="*/ 111265 h 5729623"/>
              <a:gd name="connsiteX2" fmla="*/ 3950986 w 4049324"/>
              <a:gd name="connsiteY2" fmla="*/ 462429 h 5729623"/>
              <a:gd name="connsiteX3" fmla="*/ 3966192 w 4049324"/>
              <a:gd name="connsiteY3" fmla="*/ 4655458 h 5729623"/>
              <a:gd name="connsiteX4" fmla="*/ 2919142 w 4049324"/>
              <a:gd name="connsiteY4" fmla="*/ 5718702 h 5729623"/>
              <a:gd name="connsiteX5" fmla="*/ 232259 w 4049324"/>
              <a:gd name="connsiteY5" fmla="*/ 5729623 h 5729623"/>
              <a:gd name="connsiteX6" fmla="*/ 0 w 4049324"/>
              <a:gd name="connsiteY6" fmla="*/ 5497521 h 5729623"/>
              <a:gd name="connsiteX7" fmla="*/ 0 w 4049324"/>
              <a:gd name="connsiteY7" fmla="*/ 1492524 h 5729623"/>
              <a:gd name="connsiteX8" fmla="*/ 98758 w 4049324"/>
              <a:gd name="connsiteY8" fmla="*/ 1302519 h 5729623"/>
              <a:gd name="connsiteX9" fmla="*/ 1820968 w 4049324"/>
              <a:gd name="connsiteY9" fmla="*/ 109447 h 5729623"/>
              <a:gd name="connsiteX0" fmla="*/ 1820968 w 4039210"/>
              <a:gd name="connsiteY0" fmla="*/ 0 h 5620176"/>
              <a:gd name="connsiteX1" fmla="*/ 3687718 w 4039210"/>
              <a:gd name="connsiteY1" fmla="*/ 1818 h 5620176"/>
              <a:gd name="connsiteX2" fmla="*/ 3950986 w 4039210"/>
              <a:gd name="connsiteY2" fmla="*/ 352982 h 5620176"/>
              <a:gd name="connsiteX3" fmla="*/ 3966192 w 4039210"/>
              <a:gd name="connsiteY3" fmla="*/ 4546011 h 5620176"/>
              <a:gd name="connsiteX4" fmla="*/ 2919142 w 4039210"/>
              <a:gd name="connsiteY4" fmla="*/ 5609255 h 5620176"/>
              <a:gd name="connsiteX5" fmla="*/ 232259 w 4039210"/>
              <a:gd name="connsiteY5" fmla="*/ 5620176 h 5620176"/>
              <a:gd name="connsiteX6" fmla="*/ 0 w 4039210"/>
              <a:gd name="connsiteY6" fmla="*/ 5388074 h 5620176"/>
              <a:gd name="connsiteX7" fmla="*/ 0 w 4039210"/>
              <a:gd name="connsiteY7" fmla="*/ 1383077 h 5620176"/>
              <a:gd name="connsiteX8" fmla="*/ 98758 w 4039210"/>
              <a:gd name="connsiteY8" fmla="*/ 1193072 h 5620176"/>
              <a:gd name="connsiteX9" fmla="*/ 1820968 w 4039210"/>
              <a:gd name="connsiteY9" fmla="*/ 0 h 5620176"/>
              <a:gd name="connsiteX0" fmla="*/ 1820968 w 3966352"/>
              <a:gd name="connsiteY0" fmla="*/ 0 h 5620176"/>
              <a:gd name="connsiteX1" fmla="*/ 3687718 w 3966352"/>
              <a:gd name="connsiteY1" fmla="*/ 1818 h 5620176"/>
              <a:gd name="connsiteX2" fmla="*/ 3950986 w 3966352"/>
              <a:gd name="connsiteY2" fmla="*/ 352982 h 5620176"/>
              <a:gd name="connsiteX3" fmla="*/ 3966192 w 3966352"/>
              <a:gd name="connsiteY3" fmla="*/ 4546011 h 5620176"/>
              <a:gd name="connsiteX4" fmla="*/ 2919142 w 3966352"/>
              <a:gd name="connsiteY4" fmla="*/ 5609255 h 5620176"/>
              <a:gd name="connsiteX5" fmla="*/ 232259 w 3966352"/>
              <a:gd name="connsiteY5" fmla="*/ 5620176 h 5620176"/>
              <a:gd name="connsiteX6" fmla="*/ 0 w 3966352"/>
              <a:gd name="connsiteY6" fmla="*/ 5388074 h 5620176"/>
              <a:gd name="connsiteX7" fmla="*/ 0 w 3966352"/>
              <a:gd name="connsiteY7" fmla="*/ 1383077 h 5620176"/>
              <a:gd name="connsiteX8" fmla="*/ 98758 w 3966352"/>
              <a:gd name="connsiteY8" fmla="*/ 1193072 h 5620176"/>
              <a:gd name="connsiteX9" fmla="*/ 1820968 w 3966352"/>
              <a:gd name="connsiteY9" fmla="*/ 0 h 5620176"/>
              <a:gd name="connsiteX0" fmla="*/ 1820968 w 3966491"/>
              <a:gd name="connsiteY0" fmla="*/ 0 h 5620176"/>
              <a:gd name="connsiteX1" fmla="*/ 3687718 w 3966491"/>
              <a:gd name="connsiteY1" fmla="*/ 1818 h 5620176"/>
              <a:gd name="connsiteX2" fmla="*/ 3950986 w 3966491"/>
              <a:gd name="connsiteY2" fmla="*/ 352982 h 5620176"/>
              <a:gd name="connsiteX3" fmla="*/ 3966192 w 3966491"/>
              <a:gd name="connsiteY3" fmla="*/ 4546011 h 5620176"/>
              <a:gd name="connsiteX4" fmla="*/ 2919142 w 3966491"/>
              <a:gd name="connsiteY4" fmla="*/ 5609255 h 5620176"/>
              <a:gd name="connsiteX5" fmla="*/ 232259 w 3966491"/>
              <a:gd name="connsiteY5" fmla="*/ 5620176 h 5620176"/>
              <a:gd name="connsiteX6" fmla="*/ 0 w 3966491"/>
              <a:gd name="connsiteY6" fmla="*/ 5388074 h 5620176"/>
              <a:gd name="connsiteX7" fmla="*/ 0 w 3966491"/>
              <a:gd name="connsiteY7" fmla="*/ 1383077 h 5620176"/>
              <a:gd name="connsiteX8" fmla="*/ 98758 w 3966491"/>
              <a:gd name="connsiteY8" fmla="*/ 1193072 h 5620176"/>
              <a:gd name="connsiteX9" fmla="*/ 1820968 w 3966491"/>
              <a:gd name="connsiteY9" fmla="*/ 0 h 5620176"/>
              <a:gd name="connsiteX0" fmla="*/ 1319679 w 3966490"/>
              <a:gd name="connsiteY0" fmla="*/ 17513 h 5619785"/>
              <a:gd name="connsiteX1" fmla="*/ 3687718 w 3966490"/>
              <a:gd name="connsiteY1" fmla="*/ 1427 h 5619785"/>
              <a:gd name="connsiteX2" fmla="*/ 3950986 w 3966490"/>
              <a:gd name="connsiteY2" fmla="*/ 352591 h 5619785"/>
              <a:gd name="connsiteX3" fmla="*/ 3966192 w 3966490"/>
              <a:gd name="connsiteY3" fmla="*/ 4545620 h 5619785"/>
              <a:gd name="connsiteX4" fmla="*/ 2919142 w 3966490"/>
              <a:gd name="connsiteY4" fmla="*/ 5608864 h 5619785"/>
              <a:gd name="connsiteX5" fmla="*/ 232259 w 3966490"/>
              <a:gd name="connsiteY5" fmla="*/ 5619785 h 5619785"/>
              <a:gd name="connsiteX6" fmla="*/ 0 w 3966490"/>
              <a:gd name="connsiteY6" fmla="*/ 5387683 h 5619785"/>
              <a:gd name="connsiteX7" fmla="*/ 0 w 3966490"/>
              <a:gd name="connsiteY7" fmla="*/ 1382686 h 5619785"/>
              <a:gd name="connsiteX8" fmla="*/ 98758 w 3966490"/>
              <a:gd name="connsiteY8" fmla="*/ 1192681 h 5619785"/>
              <a:gd name="connsiteX9" fmla="*/ 1319679 w 3966490"/>
              <a:gd name="connsiteY9" fmla="*/ 17513 h 5619785"/>
              <a:gd name="connsiteX0" fmla="*/ 1319679 w 3966490"/>
              <a:gd name="connsiteY0" fmla="*/ 17513 h 5619785"/>
              <a:gd name="connsiteX1" fmla="*/ 3687718 w 3966490"/>
              <a:gd name="connsiteY1" fmla="*/ 1427 h 5619785"/>
              <a:gd name="connsiteX2" fmla="*/ 3950986 w 3966490"/>
              <a:gd name="connsiteY2" fmla="*/ 352591 h 5619785"/>
              <a:gd name="connsiteX3" fmla="*/ 3966192 w 3966490"/>
              <a:gd name="connsiteY3" fmla="*/ 4545620 h 5619785"/>
              <a:gd name="connsiteX4" fmla="*/ 2919142 w 3966490"/>
              <a:gd name="connsiteY4" fmla="*/ 5608864 h 5619785"/>
              <a:gd name="connsiteX5" fmla="*/ 232259 w 3966490"/>
              <a:gd name="connsiteY5" fmla="*/ 5619785 h 5619785"/>
              <a:gd name="connsiteX6" fmla="*/ 0 w 3966490"/>
              <a:gd name="connsiteY6" fmla="*/ 5387683 h 5619785"/>
              <a:gd name="connsiteX7" fmla="*/ 0 w 3966490"/>
              <a:gd name="connsiteY7" fmla="*/ 1382686 h 5619785"/>
              <a:gd name="connsiteX8" fmla="*/ 116661 w 3966490"/>
              <a:gd name="connsiteY8" fmla="*/ 959939 h 5619785"/>
              <a:gd name="connsiteX9" fmla="*/ 1319679 w 3966490"/>
              <a:gd name="connsiteY9" fmla="*/ 17513 h 5619785"/>
              <a:gd name="connsiteX0" fmla="*/ 1337582 w 3984393"/>
              <a:gd name="connsiteY0" fmla="*/ 17513 h 5619785"/>
              <a:gd name="connsiteX1" fmla="*/ 3705621 w 3984393"/>
              <a:gd name="connsiteY1" fmla="*/ 1427 h 5619785"/>
              <a:gd name="connsiteX2" fmla="*/ 3968889 w 3984393"/>
              <a:gd name="connsiteY2" fmla="*/ 352591 h 5619785"/>
              <a:gd name="connsiteX3" fmla="*/ 3984095 w 3984393"/>
              <a:gd name="connsiteY3" fmla="*/ 4545620 h 5619785"/>
              <a:gd name="connsiteX4" fmla="*/ 2937045 w 3984393"/>
              <a:gd name="connsiteY4" fmla="*/ 5608864 h 5619785"/>
              <a:gd name="connsiteX5" fmla="*/ 250162 w 3984393"/>
              <a:gd name="connsiteY5" fmla="*/ 5619785 h 5619785"/>
              <a:gd name="connsiteX6" fmla="*/ 17903 w 3984393"/>
              <a:gd name="connsiteY6" fmla="*/ 5387683 h 5619785"/>
              <a:gd name="connsiteX7" fmla="*/ 0 w 3984393"/>
              <a:gd name="connsiteY7" fmla="*/ 1176799 h 5619785"/>
              <a:gd name="connsiteX8" fmla="*/ 134564 w 3984393"/>
              <a:gd name="connsiteY8" fmla="*/ 959939 h 5619785"/>
              <a:gd name="connsiteX9" fmla="*/ 1337582 w 3984393"/>
              <a:gd name="connsiteY9" fmla="*/ 17513 h 561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84393" h="5619785">
                <a:moveTo>
                  <a:pt x="1337582" y="17513"/>
                </a:moveTo>
                <a:lnTo>
                  <a:pt x="3705621" y="1427"/>
                </a:lnTo>
                <a:cubicBezTo>
                  <a:pt x="3710019" y="-5388"/>
                  <a:pt x="3967236" y="-1952"/>
                  <a:pt x="3968889" y="352591"/>
                </a:cubicBezTo>
                <a:cubicBezTo>
                  <a:pt x="3970542" y="707134"/>
                  <a:pt x="3977923" y="4540584"/>
                  <a:pt x="3984095" y="4545620"/>
                </a:cubicBezTo>
                <a:cubicBezTo>
                  <a:pt x="4004664" y="4562403"/>
                  <a:pt x="2956922" y="5608783"/>
                  <a:pt x="2937045" y="5608864"/>
                </a:cubicBezTo>
                <a:lnTo>
                  <a:pt x="250162" y="5619785"/>
                </a:lnTo>
                <a:cubicBezTo>
                  <a:pt x="121879" y="5619785"/>
                  <a:pt x="17903" y="5515879"/>
                  <a:pt x="17903" y="5387683"/>
                </a:cubicBezTo>
                <a:cubicBezTo>
                  <a:pt x="11935" y="3984055"/>
                  <a:pt x="5968" y="2580427"/>
                  <a:pt x="0" y="1176799"/>
                </a:cubicBezTo>
                <a:cubicBezTo>
                  <a:pt x="0" y="1101128"/>
                  <a:pt x="72713" y="1003434"/>
                  <a:pt x="134564" y="959939"/>
                </a:cubicBezTo>
                <a:lnTo>
                  <a:pt x="1337582" y="17513"/>
                </a:lnTo>
                <a:close/>
              </a:path>
            </a:pathLst>
          </a:custGeom>
        </p:spPr>
      </p:pic>
      <p:sp>
        <p:nvSpPr>
          <p:cNvPr id="11" name="TextBox 1">
            <a:extLst>
              <a:ext uri="{FF2B5EF4-FFF2-40B4-BE49-F238E27FC236}">
                <a16:creationId xmlns:a16="http://schemas.microsoft.com/office/drawing/2014/main" id="{0152D443-B49A-43FB-E7CB-EB5B1987BC55}"/>
              </a:ext>
            </a:extLst>
          </p:cNvPr>
          <p:cNvSpPr txBox="1"/>
          <p:nvPr/>
        </p:nvSpPr>
        <p:spPr>
          <a:xfrm>
            <a:off x="9541120" y="5662203"/>
            <a:ext cx="25365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atest Update: </a:t>
            </a:r>
            <a:r>
              <a:rPr kumimoji="0" lang="en-US" sz="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January 31, 2025</a:t>
            </a:r>
          </a:p>
        </p:txBody>
      </p:sp>
      <p:sp>
        <p:nvSpPr>
          <p:cNvPr id="12" name="TextBox 7">
            <a:extLst>
              <a:ext uri="{FF2B5EF4-FFF2-40B4-BE49-F238E27FC236}">
                <a16:creationId xmlns:a16="http://schemas.microsoft.com/office/drawing/2014/main" id="{DAEE622E-A535-DA02-0F6B-A3D43B9BCAC6}"/>
              </a:ext>
            </a:extLst>
          </p:cNvPr>
          <p:cNvSpPr txBox="1"/>
          <p:nvPr/>
        </p:nvSpPr>
        <p:spPr>
          <a:xfrm>
            <a:off x="4885008" y="5952596"/>
            <a:ext cx="69456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a:t>
            </a:r>
            <a:r>
              <a:rPr kumimoji="0" lang="en-US" sz="800" b="0" i="0" u="none" strike="noStrike" kern="1200" cap="none" spc="0" normalizeH="0" baseline="0" noProof="0" err="1">
                <a:ln>
                  <a:noFill/>
                </a:ln>
                <a:solidFill>
                  <a:prstClr val="white">
                    <a:lumMod val="65000"/>
                  </a:prstClr>
                </a:solidFill>
                <a:effectLst/>
                <a:uLnTx/>
                <a:uFillTx/>
                <a:latin typeface="Aptos" panose="020B0004020202020204" pitchFamily="34" charset="0"/>
                <a:ea typeface="+mn-ea"/>
                <a:cs typeface="+mn-cs"/>
              </a:rPr>
              <a:t>Quickserve</a:t>
            </a: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 should be used for official maintenance schedule by ESN.     **Very dependent on oil pan size selected this is high capacity shown</a:t>
            </a:r>
          </a:p>
        </p:txBody>
      </p:sp>
      <p:sp>
        <p:nvSpPr>
          <p:cNvPr id="13" name="TextBox 137">
            <a:extLst>
              <a:ext uri="{FF2B5EF4-FFF2-40B4-BE49-F238E27FC236}">
                <a16:creationId xmlns:a16="http://schemas.microsoft.com/office/drawing/2014/main" id="{2BA65341-120A-2151-A3DB-07E9796E31D9}"/>
              </a:ext>
            </a:extLst>
          </p:cNvPr>
          <p:cNvSpPr txBox="1"/>
          <p:nvPr/>
        </p:nvSpPr>
        <p:spPr>
          <a:xfrm>
            <a:off x="5708119" y="1864221"/>
            <a:ext cx="5317844" cy="969496"/>
          </a:xfrm>
          <a:prstGeom prst="rect">
            <a:avLst/>
          </a:prstGeom>
          <a:noFill/>
        </p:spPr>
        <p:txBody>
          <a:bodyPr wrap="square" lIns="0" tIns="0" rIns="0" bIns="0" rtlCol="0" anchor="t">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The dual overhead cam architecture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increases the angle between the intake and exhaust valves</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 optimizing the X10’s ability to implement efficiency-boosting technologies </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Cummins allows customers to set their engine ECM software for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over-the-air updates based on custom time and location</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 delivering the latest software automatically without requiring additional action or approval</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signed to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meet strict emissions regulations</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 while maintaining durability and reliability</a:t>
            </a:r>
          </a:p>
        </p:txBody>
      </p:sp>
      <p:grpSp>
        <p:nvGrpSpPr>
          <p:cNvPr id="14" name="Group 493">
            <a:extLst>
              <a:ext uri="{FF2B5EF4-FFF2-40B4-BE49-F238E27FC236}">
                <a16:creationId xmlns:a16="http://schemas.microsoft.com/office/drawing/2014/main" id="{3BECD081-C63B-4346-30C7-6BCD19B929E6}"/>
              </a:ext>
            </a:extLst>
          </p:cNvPr>
          <p:cNvGrpSpPr/>
          <p:nvPr/>
        </p:nvGrpSpPr>
        <p:grpSpPr>
          <a:xfrm>
            <a:off x="8963942" y="3250788"/>
            <a:ext cx="1870636" cy="601162"/>
            <a:chOff x="8629830" y="3957185"/>
            <a:chExt cx="1870636" cy="601162"/>
          </a:xfrm>
        </p:grpSpPr>
        <p:sp>
          <p:nvSpPr>
            <p:cNvPr id="15" name="TextBox 496">
              <a:extLst>
                <a:ext uri="{FF2B5EF4-FFF2-40B4-BE49-F238E27FC236}">
                  <a16:creationId xmlns:a16="http://schemas.microsoft.com/office/drawing/2014/main" id="{650D4770-4627-C37C-3BED-8587E2B238C8}"/>
                </a:ext>
              </a:extLst>
            </p:cNvPr>
            <p:cNvSpPr txBox="1"/>
            <p:nvPr/>
          </p:nvSpPr>
          <p:spPr>
            <a:xfrm>
              <a:off x="8629830" y="3957185"/>
              <a:ext cx="86389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Value Package</a:t>
              </a:r>
            </a:p>
          </p:txBody>
        </p:sp>
        <p:sp>
          <p:nvSpPr>
            <p:cNvPr id="16" name="TextBox 497">
              <a:extLst>
                <a:ext uri="{FF2B5EF4-FFF2-40B4-BE49-F238E27FC236}">
                  <a16:creationId xmlns:a16="http://schemas.microsoft.com/office/drawing/2014/main" id="{F0A83588-3979-7F9B-2473-83B766C4DCFA}"/>
                </a:ext>
              </a:extLst>
            </p:cNvPr>
            <p:cNvSpPr txBox="1"/>
            <p:nvPr/>
          </p:nvSpPr>
          <p:spPr>
            <a:xfrm>
              <a:off x="9339588" y="3958183"/>
              <a:ext cx="1160878" cy="600164"/>
            </a:xfrm>
            <a:prstGeom prst="rect">
              <a:avLst/>
            </a:prstGeom>
            <a:noFill/>
          </p:spPr>
          <p:txBody>
            <a:bodyPr wrap="square" rtlCol="0">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Efficienc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Reliabilit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Serviceability </a:t>
              </a:r>
            </a:p>
          </p:txBody>
        </p:sp>
      </p:grpSp>
      <p:sp>
        <p:nvSpPr>
          <p:cNvPr id="127" name="CaixaDeTexto 126">
            <a:extLst>
              <a:ext uri="{FF2B5EF4-FFF2-40B4-BE49-F238E27FC236}">
                <a16:creationId xmlns:a16="http://schemas.microsoft.com/office/drawing/2014/main" id="{55B42A38-7CB3-734E-C396-9683DAC5A587}"/>
              </a:ext>
            </a:extLst>
          </p:cNvPr>
          <p:cNvSpPr txBox="1"/>
          <p:nvPr/>
        </p:nvSpPr>
        <p:spPr>
          <a:xfrm>
            <a:off x="5599170" y="1508356"/>
            <a:ext cx="21084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9281C"/>
                </a:solidFill>
                <a:effectLst/>
                <a:uLnTx/>
                <a:uFillTx/>
                <a:latin typeface="Aptos" panose="020B0004020202020204" pitchFamily="34" charset="0"/>
                <a:ea typeface="+mn-ea"/>
                <a:cs typeface="+mn-cs"/>
              </a:rPr>
              <a:t>Differentiators</a:t>
            </a:r>
          </a:p>
        </p:txBody>
      </p:sp>
      <p:sp>
        <p:nvSpPr>
          <p:cNvPr id="128" name="TextBox 506">
            <a:extLst>
              <a:ext uri="{FF2B5EF4-FFF2-40B4-BE49-F238E27FC236}">
                <a16:creationId xmlns:a16="http://schemas.microsoft.com/office/drawing/2014/main" id="{1B57D4D1-3EA9-459C-EE42-7AE7A7E48FAA}"/>
              </a:ext>
            </a:extLst>
          </p:cNvPr>
          <p:cNvSpPr txBox="1"/>
          <p:nvPr/>
        </p:nvSpPr>
        <p:spPr>
          <a:xfrm>
            <a:off x="5618843" y="3232290"/>
            <a:ext cx="103713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Primary Applications</a:t>
            </a:r>
          </a:p>
        </p:txBody>
      </p:sp>
      <p:grpSp>
        <p:nvGrpSpPr>
          <p:cNvPr id="130" name="Group 12">
            <a:extLst>
              <a:ext uri="{FF2B5EF4-FFF2-40B4-BE49-F238E27FC236}">
                <a16:creationId xmlns:a16="http://schemas.microsoft.com/office/drawing/2014/main" id="{24E2C0E5-6EC9-C851-72F9-B254621A9287}"/>
              </a:ext>
            </a:extLst>
          </p:cNvPr>
          <p:cNvGrpSpPr>
            <a:grpSpLocks noChangeAspect="1"/>
          </p:cNvGrpSpPr>
          <p:nvPr/>
        </p:nvGrpSpPr>
        <p:grpSpPr>
          <a:xfrm flipH="1">
            <a:off x="6812819" y="3330566"/>
            <a:ext cx="1129970" cy="362381"/>
            <a:chOff x="6723759" y="4862318"/>
            <a:chExt cx="1345025" cy="431346"/>
          </a:xfrm>
          <a:solidFill>
            <a:schemeClr val="tx1"/>
          </a:solidFill>
        </p:grpSpPr>
        <p:sp>
          <p:nvSpPr>
            <p:cNvPr id="131" name="Freeform 571">
              <a:extLst>
                <a:ext uri="{FF2B5EF4-FFF2-40B4-BE49-F238E27FC236}">
                  <a16:creationId xmlns:a16="http://schemas.microsoft.com/office/drawing/2014/main" id="{31CBB529-D4D8-DB53-6336-0557E6C33435}"/>
                </a:ext>
              </a:extLst>
            </p:cNvPr>
            <p:cNvSpPr/>
            <p:nvPr/>
          </p:nvSpPr>
          <p:spPr>
            <a:xfrm>
              <a:off x="7418864" y="4979190"/>
              <a:ext cx="35961" cy="44721"/>
            </a:xfrm>
            <a:custGeom>
              <a:avLst/>
              <a:gdLst>
                <a:gd name="connsiteX0" fmla="*/ 5331 w 35960"/>
                <a:gd name="connsiteY0" fmla="*/ 44722 h 44721"/>
                <a:gd name="connsiteX1" fmla="*/ 2134 w 35960"/>
                <a:gd name="connsiteY1" fmla="*/ 43650 h 44721"/>
                <a:gd name="connsiteX2" fmla="*/ 1068 w 35960"/>
                <a:gd name="connsiteY2" fmla="*/ 36149 h 44721"/>
                <a:gd name="connsiteX3" fmla="*/ 26365 w 35960"/>
                <a:gd name="connsiteY3" fmla="*/ 2145 h 44721"/>
                <a:gd name="connsiteX4" fmla="*/ 33826 w 35960"/>
                <a:gd name="connsiteY4" fmla="*/ 1074 h 44721"/>
                <a:gd name="connsiteX5" fmla="*/ 34892 w 35960"/>
                <a:gd name="connsiteY5" fmla="*/ 8574 h 44721"/>
                <a:gd name="connsiteX6" fmla="*/ 9595 w 35960"/>
                <a:gd name="connsiteY6" fmla="*/ 42579 h 44721"/>
                <a:gd name="connsiteX7" fmla="*/ 5331 w 35960"/>
                <a:gd name="connsiteY7" fmla="*/ 44722 h 4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60" h="44721">
                  <a:moveTo>
                    <a:pt x="5331" y="44722"/>
                  </a:moveTo>
                  <a:cubicBezTo>
                    <a:pt x="4194" y="44722"/>
                    <a:pt x="3129" y="44365"/>
                    <a:pt x="2134" y="43650"/>
                  </a:cubicBezTo>
                  <a:cubicBezTo>
                    <a:pt x="-211" y="41864"/>
                    <a:pt x="-709" y="38507"/>
                    <a:pt x="1068" y="36149"/>
                  </a:cubicBezTo>
                  <a:lnTo>
                    <a:pt x="26365" y="2145"/>
                  </a:lnTo>
                  <a:cubicBezTo>
                    <a:pt x="28141" y="-212"/>
                    <a:pt x="31481" y="-712"/>
                    <a:pt x="33826" y="1074"/>
                  </a:cubicBezTo>
                  <a:cubicBezTo>
                    <a:pt x="36171" y="2859"/>
                    <a:pt x="36669" y="6217"/>
                    <a:pt x="34892" y="8574"/>
                  </a:cubicBezTo>
                  <a:lnTo>
                    <a:pt x="9595" y="42579"/>
                  </a:lnTo>
                  <a:cubicBezTo>
                    <a:pt x="8529" y="44007"/>
                    <a:pt x="6966" y="44722"/>
                    <a:pt x="5331" y="4472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72">
              <a:extLst>
                <a:ext uri="{FF2B5EF4-FFF2-40B4-BE49-F238E27FC236}">
                  <a16:creationId xmlns:a16="http://schemas.microsoft.com/office/drawing/2014/main" id="{0A14FC60-ECFF-0CB9-2E8F-F36463672430}"/>
                </a:ext>
              </a:extLst>
            </p:cNvPr>
            <p:cNvSpPr/>
            <p:nvPr/>
          </p:nvSpPr>
          <p:spPr>
            <a:xfrm>
              <a:off x="7654214" y="4979190"/>
              <a:ext cx="35961" cy="44721"/>
            </a:xfrm>
            <a:custGeom>
              <a:avLst/>
              <a:gdLst>
                <a:gd name="connsiteX0" fmla="*/ 5331 w 35960"/>
                <a:gd name="connsiteY0" fmla="*/ 44722 h 44721"/>
                <a:gd name="connsiteX1" fmla="*/ 2134 w 35960"/>
                <a:gd name="connsiteY1" fmla="*/ 43650 h 44721"/>
                <a:gd name="connsiteX2" fmla="*/ 1068 w 35960"/>
                <a:gd name="connsiteY2" fmla="*/ 36149 h 44721"/>
                <a:gd name="connsiteX3" fmla="*/ 26365 w 35960"/>
                <a:gd name="connsiteY3" fmla="*/ 2145 h 44721"/>
                <a:gd name="connsiteX4" fmla="*/ 33826 w 35960"/>
                <a:gd name="connsiteY4" fmla="*/ 1074 h 44721"/>
                <a:gd name="connsiteX5" fmla="*/ 34892 w 35960"/>
                <a:gd name="connsiteY5" fmla="*/ 8574 h 44721"/>
                <a:gd name="connsiteX6" fmla="*/ 9595 w 35960"/>
                <a:gd name="connsiteY6" fmla="*/ 42579 h 44721"/>
                <a:gd name="connsiteX7" fmla="*/ 5331 w 35960"/>
                <a:gd name="connsiteY7" fmla="*/ 44722 h 4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60" h="44721">
                  <a:moveTo>
                    <a:pt x="5331" y="44722"/>
                  </a:moveTo>
                  <a:cubicBezTo>
                    <a:pt x="4194" y="44722"/>
                    <a:pt x="3129" y="44365"/>
                    <a:pt x="2134" y="43650"/>
                  </a:cubicBezTo>
                  <a:cubicBezTo>
                    <a:pt x="-211" y="41864"/>
                    <a:pt x="-709" y="38507"/>
                    <a:pt x="1068" y="36149"/>
                  </a:cubicBezTo>
                  <a:lnTo>
                    <a:pt x="26365" y="2145"/>
                  </a:lnTo>
                  <a:cubicBezTo>
                    <a:pt x="28141" y="-212"/>
                    <a:pt x="31481" y="-712"/>
                    <a:pt x="33826" y="1074"/>
                  </a:cubicBezTo>
                  <a:cubicBezTo>
                    <a:pt x="36171" y="2859"/>
                    <a:pt x="36669" y="6217"/>
                    <a:pt x="34892" y="8574"/>
                  </a:cubicBezTo>
                  <a:lnTo>
                    <a:pt x="9595" y="42579"/>
                  </a:lnTo>
                  <a:cubicBezTo>
                    <a:pt x="8529" y="44007"/>
                    <a:pt x="6966" y="44722"/>
                    <a:pt x="5331" y="4472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573">
              <a:extLst>
                <a:ext uri="{FF2B5EF4-FFF2-40B4-BE49-F238E27FC236}">
                  <a16:creationId xmlns:a16="http://schemas.microsoft.com/office/drawing/2014/main" id="{A4AEB336-06D5-B52E-5EE7-BE1B5A0CABEF}"/>
                </a:ext>
              </a:extLst>
            </p:cNvPr>
            <p:cNvSpPr/>
            <p:nvPr/>
          </p:nvSpPr>
          <p:spPr>
            <a:xfrm>
              <a:off x="7810688" y="4979190"/>
              <a:ext cx="35960" cy="44721"/>
            </a:xfrm>
            <a:custGeom>
              <a:avLst/>
              <a:gdLst>
                <a:gd name="connsiteX0" fmla="*/ 5331 w 35959"/>
                <a:gd name="connsiteY0" fmla="*/ 44722 h 44721"/>
                <a:gd name="connsiteX1" fmla="*/ 2134 w 35959"/>
                <a:gd name="connsiteY1" fmla="*/ 43650 h 44721"/>
                <a:gd name="connsiteX2" fmla="*/ 1068 w 35959"/>
                <a:gd name="connsiteY2" fmla="*/ 36149 h 44721"/>
                <a:gd name="connsiteX3" fmla="*/ 26365 w 35959"/>
                <a:gd name="connsiteY3" fmla="*/ 2145 h 44721"/>
                <a:gd name="connsiteX4" fmla="*/ 33826 w 35959"/>
                <a:gd name="connsiteY4" fmla="*/ 1074 h 44721"/>
                <a:gd name="connsiteX5" fmla="*/ 34892 w 35959"/>
                <a:gd name="connsiteY5" fmla="*/ 8574 h 44721"/>
                <a:gd name="connsiteX6" fmla="*/ 9595 w 35959"/>
                <a:gd name="connsiteY6" fmla="*/ 42579 h 44721"/>
                <a:gd name="connsiteX7" fmla="*/ 5331 w 35959"/>
                <a:gd name="connsiteY7" fmla="*/ 44722 h 4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9" h="44721">
                  <a:moveTo>
                    <a:pt x="5331" y="44722"/>
                  </a:moveTo>
                  <a:cubicBezTo>
                    <a:pt x="4194" y="44722"/>
                    <a:pt x="3129" y="44365"/>
                    <a:pt x="2134" y="43650"/>
                  </a:cubicBezTo>
                  <a:cubicBezTo>
                    <a:pt x="-211" y="41864"/>
                    <a:pt x="-709" y="38507"/>
                    <a:pt x="1068" y="36149"/>
                  </a:cubicBezTo>
                  <a:lnTo>
                    <a:pt x="26365" y="2145"/>
                  </a:lnTo>
                  <a:cubicBezTo>
                    <a:pt x="28142" y="-212"/>
                    <a:pt x="31481" y="-712"/>
                    <a:pt x="33826" y="1074"/>
                  </a:cubicBezTo>
                  <a:cubicBezTo>
                    <a:pt x="36171" y="2859"/>
                    <a:pt x="36669" y="6217"/>
                    <a:pt x="34892" y="8574"/>
                  </a:cubicBezTo>
                  <a:lnTo>
                    <a:pt x="9595" y="42579"/>
                  </a:lnTo>
                  <a:cubicBezTo>
                    <a:pt x="8529" y="44007"/>
                    <a:pt x="6966" y="44722"/>
                    <a:pt x="5331" y="4472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574">
              <a:extLst>
                <a:ext uri="{FF2B5EF4-FFF2-40B4-BE49-F238E27FC236}">
                  <a16:creationId xmlns:a16="http://schemas.microsoft.com/office/drawing/2014/main" id="{597954B6-1C01-9872-AFA5-80A478A9EEAC}"/>
                </a:ext>
              </a:extLst>
            </p:cNvPr>
            <p:cNvSpPr/>
            <p:nvPr/>
          </p:nvSpPr>
          <p:spPr>
            <a:xfrm>
              <a:off x="7967233" y="4979190"/>
              <a:ext cx="35960" cy="44721"/>
            </a:xfrm>
            <a:custGeom>
              <a:avLst/>
              <a:gdLst>
                <a:gd name="connsiteX0" fmla="*/ 5331 w 35959"/>
                <a:gd name="connsiteY0" fmla="*/ 44722 h 44721"/>
                <a:gd name="connsiteX1" fmla="*/ 2134 w 35959"/>
                <a:gd name="connsiteY1" fmla="*/ 43650 h 44721"/>
                <a:gd name="connsiteX2" fmla="*/ 1068 w 35959"/>
                <a:gd name="connsiteY2" fmla="*/ 36149 h 44721"/>
                <a:gd name="connsiteX3" fmla="*/ 26365 w 35959"/>
                <a:gd name="connsiteY3" fmla="*/ 2145 h 44721"/>
                <a:gd name="connsiteX4" fmla="*/ 33826 w 35959"/>
                <a:gd name="connsiteY4" fmla="*/ 1074 h 44721"/>
                <a:gd name="connsiteX5" fmla="*/ 34892 w 35959"/>
                <a:gd name="connsiteY5" fmla="*/ 8574 h 44721"/>
                <a:gd name="connsiteX6" fmla="*/ 9595 w 35959"/>
                <a:gd name="connsiteY6" fmla="*/ 42579 h 44721"/>
                <a:gd name="connsiteX7" fmla="*/ 5331 w 35959"/>
                <a:gd name="connsiteY7" fmla="*/ 44722 h 4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9" h="44721">
                  <a:moveTo>
                    <a:pt x="5331" y="44722"/>
                  </a:moveTo>
                  <a:cubicBezTo>
                    <a:pt x="4194" y="44722"/>
                    <a:pt x="3128" y="44365"/>
                    <a:pt x="2134" y="43650"/>
                  </a:cubicBezTo>
                  <a:cubicBezTo>
                    <a:pt x="-211" y="41864"/>
                    <a:pt x="-709" y="38507"/>
                    <a:pt x="1068" y="36149"/>
                  </a:cubicBezTo>
                  <a:lnTo>
                    <a:pt x="26365" y="2145"/>
                  </a:lnTo>
                  <a:cubicBezTo>
                    <a:pt x="28141" y="-212"/>
                    <a:pt x="31481" y="-712"/>
                    <a:pt x="33826" y="1074"/>
                  </a:cubicBezTo>
                  <a:cubicBezTo>
                    <a:pt x="36171" y="2859"/>
                    <a:pt x="36669" y="6217"/>
                    <a:pt x="34892" y="8574"/>
                  </a:cubicBezTo>
                  <a:lnTo>
                    <a:pt x="9595" y="42579"/>
                  </a:lnTo>
                  <a:cubicBezTo>
                    <a:pt x="8529" y="44007"/>
                    <a:pt x="6966" y="44722"/>
                    <a:pt x="5331" y="4472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575">
              <a:extLst>
                <a:ext uri="{FF2B5EF4-FFF2-40B4-BE49-F238E27FC236}">
                  <a16:creationId xmlns:a16="http://schemas.microsoft.com/office/drawing/2014/main" id="{0E5F074E-F59F-5B85-4F15-48FD2AFDCEB8}"/>
                </a:ext>
              </a:extLst>
            </p:cNvPr>
            <p:cNvSpPr/>
            <p:nvPr/>
          </p:nvSpPr>
          <p:spPr>
            <a:xfrm>
              <a:off x="7262319" y="4979190"/>
              <a:ext cx="35960" cy="44721"/>
            </a:xfrm>
            <a:custGeom>
              <a:avLst/>
              <a:gdLst>
                <a:gd name="connsiteX0" fmla="*/ 5331 w 35959"/>
                <a:gd name="connsiteY0" fmla="*/ 44722 h 44721"/>
                <a:gd name="connsiteX1" fmla="*/ 2134 w 35959"/>
                <a:gd name="connsiteY1" fmla="*/ 43650 h 44721"/>
                <a:gd name="connsiteX2" fmla="*/ 1068 w 35959"/>
                <a:gd name="connsiteY2" fmla="*/ 36149 h 44721"/>
                <a:gd name="connsiteX3" fmla="*/ 26365 w 35959"/>
                <a:gd name="connsiteY3" fmla="*/ 2145 h 44721"/>
                <a:gd name="connsiteX4" fmla="*/ 33826 w 35959"/>
                <a:gd name="connsiteY4" fmla="*/ 1074 h 44721"/>
                <a:gd name="connsiteX5" fmla="*/ 34892 w 35959"/>
                <a:gd name="connsiteY5" fmla="*/ 8574 h 44721"/>
                <a:gd name="connsiteX6" fmla="*/ 9595 w 35959"/>
                <a:gd name="connsiteY6" fmla="*/ 42579 h 44721"/>
                <a:gd name="connsiteX7" fmla="*/ 5331 w 35959"/>
                <a:gd name="connsiteY7" fmla="*/ 44722 h 4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9" h="44721">
                  <a:moveTo>
                    <a:pt x="5331" y="44722"/>
                  </a:moveTo>
                  <a:cubicBezTo>
                    <a:pt x="4194" y="44722"/>
                    <a:pt x="3129" y="44365"/>
                    <a:pt x="2134" y="43650"/>
                  </a:cubicBezTo>
                  <a:cubicBezTo>
                    <a:pt x="-211" y="41864"/>
                    <a:pt x="-709" y="38507"/>
                    <a:pt x="1068" y="36149"/>
                  </a:cubicBezTo>
                  <a:lnTo>
                    <a:pt x="26365" y="2145"/>
                  </a:lnTo>
                  <a:cubicBezTo>
                    <a:pt x="28141" y="-212"/>
                    <a:pt x="31481" y="-712"/>
                    <a:pt x="33826" y="1074"/>
                  </a:cubicBezTo>
                  <a:cubicBezTo>
                    <a:pt x="36171" y="2859"/>
                    <a:pt x="36669" y="6217"/>
                    <a:pt x="34892" y="8574"/>
                  </a:cubicBezTo>
                  <a:lnTo>
                    <a:pt x="9595" y="42579"/>
                  </a:lnTo>
                  <a:cubicBezTo>
                    <a:pt x="8529" y="44007"/>
                    <a:pt x="6966" y="44722"/>
                    <a:pt x="5331" y="4472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576">
              <a:extLst>
                <a:ext uri="{FF2B5EF4-FFF2-40B4-BE49-F238E27FC236}">
                  <a16:creationId xmlns:a16="http://schemas.microsoft.com/office/drawing/2014/main" id="{E5A8E052-2452-E666-918C-56459236307F}"/>
                </a:ext>
              </a:extLst>
            </p:cNvPr>
            <p:cNvSpPr/>
            <p:nvPr/>
          </p:nvSpPr>
          <p:spPr>
            <a:xfrm>
              <a:off x="7105844" y="4979190"/>
              <a:ext cx="35961" cy="44721"/>
            </a:xfrm>
            <a:custGeom>
              <a:avLst/>
              <a:gdLst>
                <a:gd name="connsiteX0" fmla="*/ 5331 w 35960"/>
                <a:gd name="connsiteY0" fmla="*/ 44722 h 44721"/>
                <a:gd name="connsiteX1" fmla="*/ 2134 w 35960"/>
                <a:gd name="connsiteY1" fmla="*/ 43650 h 44721"/>
                <a:gd name="connsiteX2" fmla="*/ 1068 w 35960"/>
                <a:gd name="connsiteY2" fmla="*/ 36149 h 44721"/>
                <a:gd name="connsiteX3" fmla="*/ 26365 w 35960"/>
                <a:gd name="connsiteY3" fmla="*/ 2145 h 44721"/>
                <a:gd name="connsiteX4" fmla="*/ 33826 w 35960"/>
                <a:gd name="connsiteY4" fmla="*/ 1074 h 44721"/>
                <a:gd name="connsiteX5" fmla="*/ 34892 w 35960"/>
                <a:gd name="connsiteY5" fmla="*/ 8574 h 44721"/>
                <a:gd name="connsiteX6" fmla="*/ 9595 w 35960"/>
                <a:gd name="connsiteY6" fmla="*/ 42579 h 44721"/>
                <a:gd name="connsiteX7" fmla="*/ 5331 w 35960"/>
                <a:gd name="connsiteY7" fmla="*/ 44722 h 4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60" h="44721">
                  <a:moveTo>
                    <a:pt x="5331" y="44722"/>
                  </a:moveTo>
                  <a:cubicBezTo>
                    <a:pt x="4194" y="44722"/>
                    <a:pt x="3129" y="44365"/>
                    <a:pt x="2134" y="43650"/>
                  </a:cubicBezTo>
                  <a:cubicBezTo>
                    <a:pt x="-211" y="41864"/>
                    <a:pt x="-709" y="38507"/>
                    <a:pt x="1068" y="36149"/>
                  </a:cubicBezTo>
                  <a:lnTo>
                    <a:pt x="26365" y="2145"/>
                  </a:lnTo>
                  <a:cubicBezTo>
                    <a:pt x="28142" y="-212"/>
                    <a:pt x="31481" y="-712"/>
                    <a:pt x="33826" y="1074"/>
                  </a:cubicBezTo>
                  <a:cubicBezTo>
                    <a:pt x="36171" y="2859"/>
                    <a:pt x="36669" y="6217"/>
                    <a:pt x="34892" y="8574"/>
                  </a:cubicBezTo>
                  <a:lnTo>
                    <a:pt x="9595" y="42579"/>
                  </a:lnTo>
                  <a:cubicBezTo>
                    <a:pt x="8529" y="44007"/>
                    <a:pt x="6966" y="44722"/>
                    <a:pt x="5331" y="4472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577">
              <a:extLst>
                <a:ext uri="{FF2B5EF4-FFF2-40B4-BE49-F238E27FC236}">
                  <a16:creationId xmlns:a16="http://schemas.microsoft.com/office/drawing/2014/main" id="{B7EE7910-AEA1-832E-F6A5-B28F17ADA010}"/>
                </a:ext>
              </a:extLst>
            </p:cNvPr>
            <p:cNvSpPr/>
            <p:nvPr/>
          </p:nvSpPr>
          <p:spPr>
            <a:xfrm>
              <a:off x="6949371" y="4979190"/>
              <a:ext cx="35960" cy="44721"/>
            </a:xfrm>
            <a:custGeom>
              <a:avLst/>
              <a:gdLst>
                <a:gd name="connsiteX0" fmla="*/ 5331 w 35959"/>
                <a:gd name="connsiteY0" fmla="*/ 44722 h 44721"/>
                <a:gd name="connsiteX1" fmla="*/ 2134 w 35959"/>
                <a:gd name="connsiteY1" fmla="*/ 43650 h 44721"/>
                <a:gd name="connsiteX2" fmla="*/ 1068 w 35959"/>
                <a:gd name="connsiteY2" fmla="*/ 36149 h 44721"/>
                <a:gd name="connsiteX3" fmla="*/ 26365 w 35959"/>
                <a:gd name="connsiteY3" fmla="*/ 2145 h 44721"/>
                <a:gd name="connsiteX4" fmla="*/ 33826 w 35959"/>
                <a:gd name="connsiteY4" fmla="*/ 1074 h 44721"/>
                <a:gd name="connsiteX5" fmla="*/ 34892 w 35959"/>
                <a:gd name="connsiteY5" fmla="*/ 8574 h 44721"/>
                <a:gd name="connsiteX6" fmla="*/ 9595 w 35959"/>
                <a:gd name="connsiteY6" fmla="*/ 42579 h 44721"/>
                <a:gd name="connsiteX7" fmla="*/ 5331 w 35959"/>
                <a:gd name="connsiteY7" fmla="*/ 44722 h 4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9" h="44721">
                  <a:moveTo>
                    <a:pt x="5331" y="44722"/>
                  </a:moveTo>
                  <a:cubicBezTo>
                    <a:pt x="4194" y="44722"/>
                    <a:pt x="3129" y="44365"/>
                    <a:pt x="2134" y="43650"/>
                  </a:cubicBezTo>
                  <a:cubicBezTo>
                    <a:pt x="-211" y="41864"/>
                    <a:pt x="-709" y="38507"/>
                    <a:pt x="1068" y="36149"/>
                  </a:cubicBezTo>
                  <a:lnTo>
                    <a:pt x="26365" y="2145"/>
                  </a:lnTo>
                  <a:cubicBezTo>
                    <a:pt x="28142" y="-212"/>
                    <a:pt x="31481" y="-712"/>
                    <a:pt x="33826" y="1074"/>
                  </a:cubicBezTo>
                  <a:cubicBezTo>
                    <a:pt x="36171" y="2859"/>
                    <a:pt x="36669" y="6217"/>
                    <a:pt x="34892" y="8574"/>
                  </a:cubicBezTo>
                  <a:lnTo>
                    <a:pt x="9595" y="42579"/>
                  </a:lnTo>
                  <a:cubicBezTo>
                    <a:pt x="8529" y="44007"/>
                    <a:pt x="6966" y="44722"/>
                    <a:pt x="5331" y="4472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578">
              <a:extLst>
                <a:ext uri="{FF2B5EF4-FFF2-40B4-BE49-F238E27FC236}">
                  <a16:creationId xmlns:a16="http://schemas.microsoft.com/office/drawing/2014/main" id="{F3DE77FC-1FA7-FB23-6F66-B149E231FB22}"/>
                </a:ext>
              </a:extLst>
            </p:cNvPr>
            <p:cNvSpPr/>
            <p:nvPr/>
          </p:nvSpPr>
          <p:spPr>
            <a:xfrm>
              <a:off x="6723759" y="5191861"/>
              <a:ext cx="34891" cy="10715"/>
            </a:xfrm>
            <a:custGeom>
              <a:avLst/>
              <a:gdLst>
                <a:gd name="connsiteX0" fmla="*/ 29561 w 34890"/>
                <a:gd name="connsiteY0" fmla="*/ 10716 h 10715"/>
                <a:gd name="connsiteX1" fmla="*/ 5329 w 34890"/>
                <a:gd name="connsiteY1" fmla="*/ 10716 h 10715"/>
                <a:gd name="connsiteX2" fmla="*/ 0 w 34890"/>
                <a:gd name="connsiteY2" fmla="*/ 5358 h 10715"/>
                <a:gd name="connsiteX3" fmla="*/ 5329 w 34890"/>
                <a:gd name="connsiteY3" fmla="*/ 0 h 10715"/>
                <a:gd name="connsiteX4" fmla="*/ 29561 w 34890"/>
                <a:gd name="connsiteY4" fmla="*/ 0 h 10715"/>
                <a:gd name="connsiteX5" fmla="*/ 34890 w 34890"/>
                <a:gd name="connsiteY5" fmla="*/ 5358 h 10715"/>
                <a:gd name="connsiteX6" fmla="*/ 29561 w 34890"/>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90" h="10715">
                  <a:moveTo>
                    <a:pt x="29561" y="10716"/>
                  </a:moveTo>
                  <a:lnTo>
                    <a:pt x="5329" y="10716"/>
                  </a:lnTo>
                  <a:cubicBezTo>
                    <a:pt x="2416" y="10716"/>
                    <a:pt x="0" y="8287"/>
                    <a:pt x="0" y="5358"/>
                  </a:cubicBezTo>
                  <a:cubicBezTo>
                    <a:pt x="0" y="2429"/>
                    <a:pt x="2416" y="0"/>
                    <a:pt x="5329" y="0"/>
                  </a:cubicBezTo>
                  <a:lnTo>
                    <a:pt x="29561" y="0"/>
                  </a:lnTo>
                  <a:cubicBezTo>
                    <a:pt x="32474" y="0"/>
                    <a:pt x="34890" y="2429"/>
                    <a:pt x="34890" y="5358"/>
                  </a:cubicBezTo>
                  <a:cubicBezTo>
                    <a:pt x="34890" y="8287"/>
                    <a:pt x="32474" y="10716"/>
                    <a:pt x="29561"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579">
              <a:extLst>
                <a:ext uri="{FF2B5EF4-FFF2-40B4-BE49-F238E27FC236}">
                  <a16:creationId xmlns:a16="http://schemas.microsoft.com/office/drawing/2014/main" id="{F514D595-3441-25F6-1D80-BA6D3947DE8D}"/>
                </a:ext>
              </a:extLst>
            </p:cNvPr>
            <p:cNvSpPr/>
            <p:nvPr/>
          </p:nvSpPr>
          <p:spPr>
            <a:xfrm>
              <a:off x="8031548" y="5149070"/>
              <a:ext cx="37236" cy="10715"/>
            </a:xfrm>
            <a:custGeom>
              <a:avLst/>
              <a:gdLst>
                <a:gd name="connsiteX0" fmla="*/ 31906 w 37235"/>
                <a:gd name="connsiteY0" fmla="*/ 10716 h 10715"/>
                <a:gd name="connsiteX1" fmla="*/ 5329 w 37235"/>
                <a:gd name="connsiteY1" fmla="*/ 10716 h 10715"/>
                <a:gd name="connsiteX2" fmla="*/ 0 w 37235"/>
                <a:gd name="connsiteY2" fmla="*/ 5358 h 10715"/>
                <a:gd name="connsiteX3" fmla="*/ 5329 w 37235"/>
                <a:gd name="connsiteY3" fmla="*/ 0 h 10715"/>
                <a:gd name="connsiteX4" fmla="*/ 31906 w 37235"/>
                <a:gd name="connsiteY4" fmla="*/ 0 h 10715"/>
                <a:gd name="connsiteX5" fmla="*/ 37235 w 37235"/>
                <a:gd name="connsiteY5" fmla="*/ 5358 h 10715"/>
                <a:gd name="connsiteX6" fmla="*/ 31906 w 37235"/>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35" h="10715">
                  <a:moveTo>
                    <a:pt x="31906" y="10716"/>
                  </a:moveTo>
                  <a:lnTo>
                    <a:pt x="5329" y="10716"/>
                  </a:lnTo>
                  <a:cubicBezTo>
                    <a:pt x="2416" y="10716"/>
                    <a:pt x="0" y="8287"/>
                    <a:pt x="0" y="5358"/>
                  </a:cubicBezTo>
                  <a:cubicBezTo>
                    <a:pt x="0" y="2429"/>
                    <a:pt x="2416" y="0"/>
                    <a:pt x="5329" y="0"/>
                  </a:cubicBezTo>
                  <a:lnTo>
                    <a:pt x="31906" y="0"/>
                  </a:lnTo>
                  <a:cubicBezTo>
                    <a:pt x="34819" y="0"/>
                    <a:pt x="37235" y="2429"/>
                    <a:pt x="37235" y="5358"/>
                  </a:cubicBezTo>
                  <a:cubicBezTo>
                    <a:pt x="37235" y="8287"/>
                    <a:pt x="34819" y="10716"/>
                    <a:pt x="31906"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580">
              <a:extLst>
                <a:ext uri="{FF2B5EF4-FFF2-40B4-BE49-F238E27FC236}">
                  <a16:creationId xmlns:a16="http://schemas.microsoft.com/office/drawing/2014/main" id="{69C1FB77-5301-73AD-AEEC-5E28B49D23D7}"/>
                </a:ext>
              </a:extLst>
            </p:cNvPr>
            <p:cNvSpPr/>
            <p:nvPr/>
          </p:nvSpPr>
          <p:spPr>
            <a:xfrm>
              <a:off x="6789969" y="5068612"/>
              <a:ext cx="104424" cy="39739"/>
            </a:xfrm>
            <a:custGeom>
              <a:avLst/>
              <a:gdLst>
                <a:gd name="connsiteX0" fmla="*/ 5349 w 104424"/>
                <a:gd name="connsiteY0" fmla="*/ 39739 h 39738"/>
                <a:gd name="connsiteX1" fmla="*/ 232 w 104424"/>
                <a:gd name="connsiteY1" fmla="*/ 35952 h 39738"/>
                <a:gd name="connsiteX2" fmla="*/ 3785 w 104424"/>
                <a:gd name="connsiteY2" fmla="*/ 29237 h 39738"/>
                <a:gd name="connsiteX3" fmla="*/ 97513 w 104424"/>
                <a:gd name="connsiteY3" fmla="*/ 234 h 39738"/>
                <a:gd name="connsiteX4" fmla="*/ 104192 w 104424"/>
                <a:gd name="connsiteY4" fmla="*/ 3805 h 39738"/>
                <a:gd name="connsiteX5" fmla="*/ 100639 w 104424"/>
                <a:gd name="connsiteY5" fmla="*/ 10521 h 39738"/>
                <a:gd name="connsiteX6" fmla="*/ 6912 w 104424"/>
                <a:gd name="connsiteY6" fmla="*/ 39524 h 39738"/>
                <a:gd name="connsiteX7" fmla="*/ 5349 w 104424"/>
                <a:gd name="connsiteY7" fmla="*/ 39739 h 39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424" h="39738">
                  <a:moveTo>
                    <a:pt x="5349" y="39739"/>
                  </a:moveTo>
                  <a:cubicBezTo>
                    <a:pt x="3075" y="39739"/>
                    <a:pt x="943" y="38238"/>
                    <a:pt x="232" y="35952"/>
                  </a:cubicBezTo>
                  <a:cubicBezTo>
                    <a:pt x="-620" y="33095"/>
                    <a:pt x="943" y="30095"/>
                    <a:pt x="3785" y="29237"/>
                  </a:cubicBezTo>
                  <a:lnTo>
                    <a:pt x="97513" y="234"/>
                  </a:lnTo>
                  <a:cubicBezTo>
                    <a:pt x="100355" y="-624"/>
                    <a:pt x="103340" y="948"/>
                    <a:pt x="104192" y="3805"/>
                  </a:cubicBezTo>
                  <a:cubicBezTo>
                    <a:pt x="105045" y="6663"/>
                    <a:pt x="103482" y="9663"/>
                    <a:pt x="100639" y="10521"/>
                  </a:cubicBezTo>
                  <a:lnTo>
                    <a:pt x="6912" y="39524"/>
                  </a:lnTo>
                  <a:cubicBezTo>
                    <a:pt x="6415" y="39667"/>
                    <a:pt x="5846" y="39739"/>
                    <a:pt x="5349" y="39739"/>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581">
              <a:extLst>
                <a:ext uri="{FF2B5EF4-FFF2-40B4-BE49-F238E27FC236}">
                  <a16:creationId xmlns:a16="http://schemas.microsoft.com/office/drawing/2014/main" id="{AF798420-25C6-ECA5-1A37-23B2EA46D89B}"/>
                </a:ext>
              </a:extLst>
            </p:cNvPr>
            <p:cNvSpPr/>
            <p:nvPr/>
          </p:nvSpPr>
          <p:spPr>
            <a:xfrm>
              <a:off x="7033866" y="5149070"/>
              <a:ext cx="206073" cy="10715"/>
            </a:xfrm>
            <a:custGeom>
              <a:avLst/>
              <a:gdLst>
                <a:gd name="connsiteX0" fmla="*/ 200743 w 206072"/>
                <a:gd name="connsiteY0" fmla="*/ 10716 h 10715"/>
                <a:gd name="connsiteX1" fmla="*/ 5329 w 206072"/>
                <a:gd name="connsiteY1" fmla="*/ 10716 h 10715"/>
                <a:gd name="connsiteX2" fmla="*/ 0 w 206072"/>
                <a:gd name="connsiteY2" fmla="*/ 5358 h 10715"/>
                <a:gd name="connsiteX3" fmla="*/ 5329 w 206072"/>
                <a:gd name="connsiteY3" fmla="*/ 0 h 10715"/>
                <a:gd name="connsiteX4" fmla="*/ 200743 w 206072"/>
                <a:gd name="connsiteY4" fmla="*/ 0 h 10715"/>
                <a:gd name="connsiteX5" fmla="*/ 206073 w 206072"/>
                <a:gd name="connsiteY5" fmla="*/ 5358 h 10715"/>
                <a:gd name="connsiteX6" fmla="*/ 200743 w 206072"/>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072" h="10715">
                  <a:moveTo>
                    <a:pt x="200743" y="10716"/>
                  </a:moveTo>
                  <a:lnTo>
                    <a:pt x="5329" y="10716"/>
                  </a:lnTo>
                  <a:cubicBezTo>
                    <a:pt x="2416" y="10716"/>
                    <a:pt x="0" y="8287"/>
                    <a:pt x="0" y="5358"/>
                  </a:cubicBezTo>
                  <a:cubicBezTo>
                    <a:pt x="0" y="2429"/>
                    <a:pt x="2416" y="0"/>
                    <a:pt x="5329" y="0"/>
                  </a:cubicBezTo>
                  <a:lnTo>
                    <a:pt x="200743" y="0"/>
                  </a:lnTo>
                  <a:cubicBezTo>
                    <a:pt x="203657" y="0"/>
                    <a:pt x="206073" y="2429"/>
                    <a:pt x="206073" y="5358"/>
                  </a:cubicBezTo>
                  <a:cubicBezTo>
                    <a:pt x="206073" y="8287"/>
                    <a:pt x="203657" y="10716"/>
                    <a:pt x="200743"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582">
              <a:extLst>
                <a:ext uri="{FF2B5EF4-FFF2-40B4-BE49-F238E27FC236}">
                  <a16:creationId xmlns:a16="http://schemas.microsoft.com/office/drawing/2014/main" id="{D4275F2F-3A68-A938-3E95-BD8AEAE179DA}"/>
                </a:ext>
              </a:extLst>
            </p:cNvPr>
            <p:cNvSpPr/>
            <p:nvPr/>
          </p:nvSpPr>
          <p:spPr>
            <a:xfrm>
              <a:off x="7588418" y="5149070"/>
              <a:ext cx="131674" cy="10715"/>
            </a:xfrm>
            <a:custGeom>
              <a:avLst/>
              <a:gdLst>
                <a:gd name="connsiteX0" fmla="*/ 126344 w 131673"/>
                <a:gd name="connsiteY0" fmla="*/ 10716 h 10715"/>
                <a:gd name="connsiteX1" fmla="*/ 5329 w 131673"/>
                <a:gd name="connsiteY1" fmla="*/ 10716 h 10715"/>
                <a:gd name="connsiteX2" fmla="*/ 0 w 131673"/>
                <a:gd name="connsiteY2" fmla="*/ 5358 h 10715"/>
                <a:gd name="connsiteX3" fmla="*/ 5329 w 131673"/>
                <a:gd name="connsiteY3" fmla="*/ 0 h 10715"/>
                <a:gd name="connsiteX4" fmla="*/ 126344 w 131673"/>
                <a:gd name="connsiteY4" fmla="*/ 0 h 10715"/>
                <a:gd name="connsiteX5" fmla="*/ 131673 w 131673"/>
                <a:gd name="connsiteY5" fmla="*/ 5358 h 10715"/>
                <a:gd name="connsiteX6" fmla="*/ 126344 w 131673"/>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673" h="10715">
                  <a:moveTo>
                    <a:pt x="126344" y="10716"/>
                  </a:moveTo>
                  <a:lnTo>
                    <a:pt x="5329" y="10716"/>
                  </a:lnTo>
                  <a:cubicBezTo>
                    <a:pt x="2416" y="10716"/>
                    <a:pt x="0" y="8287"/>
                    <a:pt x="0" y="5358"/>
                  </a:cubicBezTo>
                  <a:cubicBezTo>
                    <a:pt x="0" y="2429"/>
                    <a:pt x="2416" y="0"/>
                    <a:pt x="5329" y="0"/>
                  </a:cubicBezTo>
                  <a:lnTo>
                    <a:pt x="126344" y="0"/>
                  </a:lnTo>
                  <a:cubicBezTo>
                    <a:pt x="129257" y="0"/>
                    <a:pt x="131673" y="2429"/>
                    <a:pt x="131673" y="5358"/>
                  </a:cubicBezTo>
                  <a:cubicBezTo>
                    <a:pt x="131673" y="8287"/>
                    <a:pt x="129257" y="10716"/>
                    <a:pt x="126344"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583">
              <a:extLst>
                <a:ext uri="{FF2B5EF4-FFF2-40B4-BE49-F238E27FC236}">
                  <a16:creationId xmlns:a16="http://schemas.microsoft.com/office/drawing/2014/main" id="{EBEA603B-A6F0-A8AE-CA48-B0A278D370F5}"/>
                </a:ext>
              </a:extLst>
            </p:cNvPr>
            <p:cNvSpPr/>
            <p:nvPr/>
          </p:nvSpPr>
          <p:spPr>
            <a:xfrm>
              <a:off x="6789988" y="4923827"/>
              <a:ext cx="104458" cy="10715"/>
            </a:xfrm>
            <a:custGeom>
              <a:avLst/>
              <a:gdLst>
                <a:gd name="connsiteX0" fmla="*/ 99128 w 104457"/>
                <a:gd name="connsiteY0" fmla="*/ 10716 h 10715"/>
                <a:gd name="connsiteX1" fmla="*/ 5329 w 104457"/>
                <a:gd name="connsiteY1" fmla="*/ 10716 h 10715"/>
                <a:gd name="connsiteX2" fmla="*/ 0 w 104457"/>
                <a:gd name="connsiteY2" fmla="*/ 5358 h 10715"/>
                <a:gd name="connsiteX3" fmla="*/ 5329 w 104457"/>
                <a:gd name="connsiteY3" fmla="*/ 0 h 10715"/>
                <a:gd name="connsiteX4" fmla="*/ 99128 w 104457"/>
                <a:gd name="connsiteY4" fmla="*/ 0 h 10715"/>
                <a:gd name="connsiteX5" fmla="*/ 104458 w 104457"/>
                <a:gd name="connsiteY5" fmla="*/ 5358 h 10715"/>
                <a:gd name="connsiteX6" fmla="*/ 99128 w 104457"/>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57" h="10715">
                  <a:moveTo>
                    <a:pt x="99128" y="10716"/>
                  </a:moveTo>
                  <a:lnTo>
                    <a:pt x="5329" y="10716"/>
                  </a:lnTo>
                  <a:cubicBezTo>
                    <a:pt x="2416" y="10716"/>
                    <a:pt x="0" y="8287"/>
                    <a:pt x="0" y="5358"/>
                  </a:cubicBezTo>
                  <a:cubicBezTo>
                    <a:pt x="0" y="2429"/>
                    <a:pt x="2416" y="0"/>
                    <a:pt x="5329" y="0"/>
                  </a:cubicBezTo>
                  <a:lnTo>
                    <a:pt x="99128" y="0"/>
                  </a:lnTo>
                  <a:cubicBezTo>
                    <a:pt x="102041" y="0"/>
                    <a:pt x="104458" y="2429"/>
                    <a:pt x="104458" y="5358"/>
                  </a:cubicBezTo>
                  <a:cubicBezTo>
                    <a:pt x="104458" y="8287"/>
                    <a:pt x="102041" y="10716"/>
                    <a:pt x="99128"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584">
              <a:extLst>
                <a:ext uri="{FF2B5EF4-FFF2-40B4-BE49-F238E27FC236}">
                  <a16:creationId xmlns:a16="http://schemas.microsoft.com/office/drawing/2014/main" id="{54AF7BA0-2D14-8474-4D34-1B432BCE017D}"/>
                </a:ext>
              </a:extLst>
            </p:cNvPr>
            <p:cNvSpPr/>
            <p:nvPr/>
          </p:nvSpPr>
          <p:spPr>
            <a:xfrm>
              <a:off x="6883788" y="4923827"/>
              <a:ext cx="167133" cy="155519"/>
            </a:xfrm>
            <a:custGeom>
              <a:avLst/>
              <a:gdLst>
                <a:gd name="connsiteX0" fmla="*/ 161803 w 167132"/>
                <a:gd name="connsiteY0" fmla="*/ 155519 h 155519"/>
                <a:gd name="connsiteX1" fmla="*/ 5329 w 167132"/>
                <a:gd name="connsiteY1" fmla="*/ 155519 h 155519"/>
                <a:gd name="connsiteX2" fmla="*/ 0 w 167132"/>
                <a:gd name="connsiteY2" fmla="*/ 150162 h 155519"/>
                <a:gd name="connsiteX3" fmla="*/ 0 w 167132"/>
                <a:gd name="connsiteY3" fmla="*/ 5358 h 155519"/>
                <a:gd name="connsiteX4" fmla="*/ 5329 w 167132"/>
                <a:gd name="connsiteY4" fmla="*/ 0 h 155519"/>
                <a:gd name="connsiteX5" fmla="*/ 161803 w 167132"/>
                <a:gd name="connsiteY5" fmla="*/ 0 h 155519"/>
                <a:gd name="connsiteX6" fmla="*/ 167132 w 167132"/>
                <a:gd name="connsiteY6" fmla="*/ 5358 h 155519"/>
                <a:gd name="connsiteX7" fmla="*/ 167132 w 167132"/>
                <a:gd name="connsiteY7" fmla="*/ 150162 h 155519"/>
                <a:gd name="connsiteX8" fmla="*/ 161803 w 167132"/>
                <a:gd name="connsiteY8" fmla="*/ 155519 h 155519"/>
                <a:gd name="connsiteX9" fmla="*/ 10659 w 167132"/>
                <a:gd name="connsiteY9" fmla="*/ 144804 h 155519"/>
                <a:gd name="connsiteX10" fmla="*/ 156473 w 167132"/>
                <a:gd name="connsiteY10" fmla="*/ 144804 h 155519"/>
                <a:gd name="connsiteX11" fmla="*/ 156473 w 167132"/>
                <a:gd name="connsiteY11" fmla="*/ 10716 h 155519"/>
                <a:gd name="connsiteX12" fmla="*/ 10659 w 167132"/>
                <a:gd name="connsiteY12" fmla="*/ 10716 h 155519"/>
                <a:gd name="connsiteX13" fmla="*/ 10659 w 167132"/>
                <a:gd name="connsiteY13" fmla="*/ 144804 h 15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132" h="155519">
                  <a:moveTo>
                    <a:pt x="161803" y="155519"/>
                  </a:moveTo>
                  <a:lnTo>
                    <a:pt x="5329" y="155519"/>
                  </a:lnTo>
                  <a:cubicBezTo>
                    <a:pt x="2416" y="155519"/>
                    <a:pt x="0" y="153091"/>
                    <a:pt x="0" y="150162"/>
                  </a:cubicBezTo>
                  <a:lnTo>
                    <a:pt x="0" y="5358"/>
                  </a:lnTo>
                  <a:cubicBezTo>
                    <a:pt x="0" y="2429"/>
                    <a:pt x="2416" y="0"/>
                    <a:pt x="5329" y="0"/>
                  </a:cubicBezTo>
                  <a:lnTo>
                    <a:pt x="161803" y="0"/>
                  </a:lnTo>
                  <a:cubicBezTo>
                    <a:pt x="164716" y="0"/>
                    <a:pt x="167132" y="2429"/>
                    <a:pt x="167132" y="5358"/>
                  </a:cubicBezTo>
                  <a:lnTo>
                    <a:pt x="167132" y="150162"/>
                  </a:lnTo>
                  <a:cubicBezTo>
                    <a:pt x="167132" y="153091"/>
                    <a:pt x="164716" y="155519"/>
                    <a:pt x="161803" y="155519"/>
                  </a:cubicBezTo>
                  <a:close/>
                  <a:moveTo>
                    <a:pt x="10659" y="144804"/>
                  </a:moveTo>
                  <a:lnTo>
                    <a:pt x="156473" y="144804"/>
                  </a:lnTo>
                  <a:lnTo>
                    <a:pt x="156473" y="10716"/>
                  </a:lnTo>
                  <a:lnTo>
                    <a:pt x="10659" y="10716"/>
                  </a:lnTo>
                  <a:lnTo>
                    <a:pt x="10659" y="14480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585">
              <a:extLst>
                <a:ext uri="{FF2B5EF4-FFF2-40B4-BE49-F238E27FC236}">
                  <a16:creationId xmlns:a16="http://schemas.microsoft.com/office/drawing/2014/main" id="{6BCEBB29-5ABF-1A90-4A5A-91D1FC55FF79}"/>
                </a:ext>
              </a:extLst>
            </p:cNvPr>
            <p:cNvSpPr/>
            <p:nvPr/>
          </p:nvSpPr>
          <p:spPr>
            <a:xfrm>
              <a:off x="7040262" y="4923827"/>
              <a:ext cx="167132" cy="155519"/>
            </a:xfrm>
            <a:custGeom>
              <a:avLst/>
              <a:gdLst>
                <a:gd name="connsiteX0" fmla="*/ 161803 w 167131"/>
                <a:gd name="connsiteY0" fmla="*/ 155519 h 155519"/>
                <a:gd name="connsiteX1" fmla="*/ 5329 w 167131"/>
                <a:gd name="connsiteY1" fmla="*/ 155519 h 155519"/>
                <a:gd name="connsiteX2" fmla="*/ 0 w 167131"/>
                <a:gd name="connsiteY2" fmla="*/ 150162 h 155519"/>
                <a:gd name="connsiteX3" fmla="*/ 0 w 167131"/>
                <a:gd name="connsiteY3" fmla="*/ 5358 h 155519"/>
                <a:gd name="connsiteX4" fmla="*/ 5329 w 167131"/>
                <a:gd name="connsiteY4" fmla="*/ 0 h 155519"/>
                <a:gd name="connsiteX5" fmla="*/ 161803 w 167131"/>
                <a:gd name="connsiteY5" fmla="*/ 0 h 155519"/>
                <a:gd name="connsiteX6" fmla="*/ 167132 w 167131"/>
                <a:gd name="connsiteY6" fmla="*/ 5358 h 155519"/>
                <a:gd name="connsiteX7" fmla="*/ 167132 w 167131"/>
                <a:gd name="connsiteY7" fmla="*/ 150162 h 155519"/>
                <a:gd name="connsiteX8" fmla="*/ 161803 w 167131"/>
                <a:gd name="connsiteY8" fmla="*/ 155519 h 155519"/>
                <a:gd name="connsiteX9" fmla="*/ 10659 w 167131"/>
                <a:gd name="connsiteY9" fmla="*/ 144804 h 155519"/>
                <a:gd name="connsiteX10" fmla="*/ 156473 w 167131"/>
                <a:gd name="connsiteY10" fmla="*/ 144804 h 155519"/>
                <a:gd name="connsiteX11" fmla="*/ 156473 w 167131"/>
                <a:gd name="connsiteY11" fmla="*/ 10716 h 155519"/>
                <a:gd name="connsiteX12" fmla="*/ 10659 w 167131"/>
                <a:gd name="connsiteY12" fmla="*/ 10716 h 155519"/>
                <a:gd name="connsiteX13" fmla="*/ 10659 w 167131"/>
                <a:gd name="connsiteY13" fmla="*/ 144804 h 15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131" h="155519">
                  <a:moveTo>
                    <a:pt x="161803" y="155519"/>
                  </a:moveTo>
                  <a:lnTo>
                    <a:pt x="5329" y="155519"/>
                  </a:lnTo>
                  <a:cubicBezTo>
                    <a:pt x="2416" y="155519"/>
                    <a:pt x="0" y="153091"/>
                    <a:pt x="0" y="150162"/>
                  </a:cubicBezTo>
                  <a:lnTo>
                    <a:pt x="0" y="5358"/>
                  </a:lnTo>
                  <a:cubicBezTo>
                    <a:pt x="0" y="2429"/>
                    <a:pt x="2416" y="0"/>
                    <a:pt x="5329" y="0"/>
                  </a:cubicBezTo>
                  <a:lnTo>
                    <a:pt x="161803" y="0"/>
                  </a:lnTo>
                  <a:cubicBezTo>
                    <a:pt x="164716" y="0"/>
                    <a:pt x="167132" y="2429"/>
                    <a:pt x="167132" y="5358"/>
                  </a:cubicBezTo>
                  <a:lnTo>
                    <a:pt x="167132" y="150162"/>
                  </a:lnTo>
                  <a:cubicBezTo>
                    <a:pt x="167132" y="153091"/>
                    <a:pt x="164716" y="155519"/>
                    <a:pt x="161803" y="155519"/>
                  </a:cubicBezTo>
                  <a:close/>
                  <a:moveTo>
                    <a:pt x="10659" y="144804"/>
                  </a:moveTo>
                  <a:lnTo>
                    <a:pt x="156473" y="144804"/>
                  </a:lnTo>
                  <a:lnTo>
                    <a:pt x="156473" y="10716"/>
                  </a:lnTo>
                  <a:lnTo>
                    <a:pt x="10659" y="10716"/>
                  </a:lnTo>
                  <a:lnTo>
                    <a:pt x="10659" y="14480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586">
              <a:extLst>
                <a:ext uri="{FF2B5EF4-FFF2-40B4-BE49-F238E27FC236}">
                  <a16:creationId xmlns:a16="http://schemas.microsoft.com/office/drawing/2014/main" id="{32F7E5EA-59C7-07E8-1E96-3995A53B050F}"/>
                </a:ext>
              </a:extLst>
            </p:cNvPr>
            <p:cNvSpPr/>
            <p:nvPr/>
          </p:nvSpPr>
          <p:spPr>
            <a:xfrm>
              <a:off x="7196807" y="4923827"/>
              <a:ext cx="167132" cy="155519"/>
            </a:xfrm>
            <a:custGeom>
              <a:avLst/>
              <a:gdLst>
                <a:gd name="connsiteX0" fmla="*/ 161803 w 167131"/>
                <a:gd name="connsiteY0" fmla="*/ 155519 h 155519"/>
                <a:gd name="connsiteX1" fmla="*/ 5329 w 167131"/>
                <a:gd name="connsiteY1" fmla="*/ 155519 h 155519"/>
                <a:gd name="connsiteX2" fmla="*/ 0 w 167131"/>
                <a:gd name="connsiteY2" fmla="*/ 150162 h 155519"/>
                <a:gd name="connsiteX3" fmla="*/ 0 w 167131"/>
                <a:gd name="connsiteY3" fmla="*/ 5358 h 155519"/>
                <a:gd name="connsiteX4" fmla="*/ 5329 w 167131"/>
                <a:gd name="connsiteY4" fmla="*/ 0 h 155519"/>
                <a:gd name="connsiteX5" fmla="*/ 161803 w 167131"/>
                <a:gd name="connsiteY5" fmla="*/ 0 h 155519"/>
                <a:gd name="connsiteX6" fmla="*/ 167132 w 167131"/>
                <a:gd name="connsiteY6" fmla="*/ 5358 h 155519"/>
                <a:gd name="connsiteX7" fmla="*/ 167132 w 167131"/>
                <a:gd name="connsiteY7" fmla="*/ 150162 h 155519"/>
                <a:gd name="connsiteX8" fmla="*/ 161803 w 167131"/>
                <a:gd name="connsiteY8" fmla="*/ 155519 h 155519"/>
                <a:gd name="connsiteX9" fmla="*/ 10588 w 167131"/>
                <a:gd name="connsiteY9" fmla="*/ 144804 h 155519"/>
                <a:gd name="connsiteX10" fmla="*/ 156402 w 167131"/>
                <a:gd name="connsiteY10" fmla="*/ 144804 h 155519"/>
                <a:gd name="connsiteX11" fmla="*/ 156402 w 167131"/>
                <a:gd name="connsiteY11" fmla="*/ 10716 h 155519"/>
                <a:gd name="connsiteX12" fmla="*/ 10588 w 167131"/>
                <a:gd name="connsiteY12" fmla="*/ 10716 h 155519"/>
                <a:gd name="connsiteX13" fmla="*/ 10588 w 167131"/>
                <a:gd name="connsiteY13" fmla="*/ 144804 h 15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131" h="155519">
                  <a:moveTo>
                    <a:pt x="161803" y="155519"/>
                  </a:moveTo>
                  <a:lnTo>
                    <a:pt x="5329" y="155519"/>
                  </a:lnTo>
                  <a:cubicBezTo>
                    <a:pt x="2416" y="155519"/>
                    <a:pt x="0" y="153091"/>
                    <a:pt x="0" y="150162"/>
                  </a:cubicBezTo>
                  <a:lnTo>
                    <a:pt x="0" y="5358"/>
                  </a:lnTo>
                  <a:cubicBezTo>
                    <a:pt x="0" y="2429"/>
                    <a:pt x="2416" y="0"/>
                    <a:pt x="5329" y="0"/>
                  </a:cubicBezTo>
                  <a:lnTo>
                    <a:pt x="161803" y="0"/>
                  </a:lnTo>
                  <a:cubicBezTo>
                    <a:pt x="164716" y="0"/>
                    <a:pt x="167132" y="2429"/>
                    <a:pt x="167132" y="5358"/>
                  </a:cubicBezTo>
                  <a:lnTo>
                    <a:pt x="167132" y="150162"/>
                  </a:lnTo>
                  <a:cubicBezTo>
                    <a:pt x="167132" y="153091"/>
                    <a:pt x="164716" y="155519"/>
                    <a:pt x="161803" y="155519"/>
                  </a:cubicBezTo>
                  <a:close/>
                  <a:moveTo>
                    <a:pt x="10588" y="144804"/>
                  </a:moveTo>
                  <a:lnTo>
                    <a:pt x="156402" y="144804"/>
                  </a:lnTo>
                  <a:lnTo>
                    <a:pt x="156402" y="10716"/>
                  </a:lnTo>
                  <a:lnTo>
                    <a:pt x="10588" y="10716"/>
                  </a:lnTo>
                  <a:lnTo>
                    <a:pt x="10588" y="14480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587">
              <a:extLst>
                <a:ext uri="{FF2B5EF4-FFF2-40B4-BE49-F238E27FC236}">
                  <a16:creationId xmlns:a16="http://schemas.microsoft.com/office/drawing/2014/main" id="{FE0C0F1B-DF19-CC71-5C6E-21BF8F16487B}"/>
                </a:ext>
              </a:extLst>
            </p:cNvPr>
            <p:cNvSpPr/>
            <p:nvPr/>
          </p:nvSpPr>
          <p:spPr>
            <a:xfrm>
              <a:off x="7353281" y="4923827"/>
              <a:ext cx="167133" cy="155519"/>
            </a:xfrm>
            <a:custGeom>
              <a:avLst/>
              <a:gdLst>
                <a:gd name="connsiteX0" fmla="*/ 161803 w 167132"/>
                <a:gd name="connsiteY0" fmla="*/ 155519 h 155519"/>
                <a:gd name="connsiteX1" fmla="*/ 5329 w 167132"/>
                <a:gd name="connsiteY1" fmla="*/ 155519 h 155519"/>
                <a:gd name="connsiteX2" fmla="*/ 0 w 167132"/>
                <a:gd name="connsiteY2" fmla="*/ 150162 h 155519"/>
                <a:gd name="connsiteX3" fmla="*/ 0 w 167132"/>
                <a:gd name="connsiteY3" fmla="*/ 5358 h 155519"/>
                <a:gd name="connsiteX4" fmla="*/ 5329 w 167132"/>
                <a:gd name="connsiteY4" fmla="*/ 0 h 155519"/>
                <a:gd name="connsiteX5" fmla="*/ 161803 w 167132"/>
                <a:gd name="connsiteY5" fmla="*/ 0 h 155519"/>
                <a:gd name="connsiteX6" fmla="*/ 167132 w 167132"/>
                <a:gd name="connsiteY6" fmla="*/ 5358 h 155519"/>
                <a:gd name="connsiteX7" fmla="*/ 167132 w 167132"/>
                <a:gd name="connsiteY7" fmla="*/ 150162 h 155519"/>
                <a:gd name="connsiteX8" fmla="*/ 161803 w 167132"/>
                <a:gd name="connsiteY8" fmla="*/ 155519 h 155519"/>
                <a:gd name="connsiteX9" fmla="*/ 10659 w 167132"/>
                <a:gd name="connsiteY9" fmla="*/ 144804 h 155519"/>
                <a:gd name="connsiteX10" fmla="*/ 156473 w 167132"/>
                <a:gd name="connsiteY10" fmla="*/ 144804 h 155519"/>
                <a:gd name="connsiteX11" fmla="*/ 156473 w 167132"/>
                <a:gd name="connsiteY11" fmla="*/ 10716 h 155519"/>
                <a:gd name="connsiteX12" fmla="*/ 10659 w 167132"/>
                <a:gd name="connsiteY12" fmla="*/ 10716 h 155519"/>
                <a:gd name="connsiteX13" fmla="*/ 10659 w 167132"/>
                <a:gd name="connsiteY13" fmla="*/ 144804 h 15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132" h="155519">
                  <a:moveTo>
                    <a:pt x="161803" y="155519"/>
                  </a:moveTo>
                  <a:lnTo>
                    <a:pt x="5329" y="155519"/>
                  </a:lnTo>
                  <a:cubicBezTo>
                    <a:pt x="2416" y="155519"/>
                    <a:pt x="0" y="153091"/>
                    <a:pt x="0" y="150162"/>
                  </a:cubicBezTo>
                  <a:lnTo>
                    <a:pt x="0" y="5358"/>
                  </a:lnTo>
                  <a:cubicBezTo>
                    <a:pt x="0" y="2429"/>
                    <a:pt x="2416" y="0"/>
                    <a:pt x="5329" y="0"/>
                  </a:cubicBezTo>
                  <a:lnTo>
                    <a:pt x="161803" y="0"/>
                  </a:lnTo>
                  <a:cubicBezTo>
                    <a:pt x="164716" y="0"/>
                    <a:pt x="167132" y="2429"/>
                    <a:pt x="167132" y="5358"/>
                  </a:cubicBezTo>
                  <a:lnTo>
                    <a:pt x="167132" y="150162"/>
                  </a:lnTo>
                  <a:cubicBezTo>
                    <a:pt x="167132" y="153091"/>
                    <a:pt x="164716" y="155519"/>
                    <a:pt x="161803" y="155519"/>
                  </a:cubicBezTo>
                  <a:close/>
                  <a:moveTo>
                    <a:pt x="10659" y="144804"/>
                  </a:moveTo>
                  <a:lnTo>
                    <a:pt x="156473" y="144804"/>
                  </a:lnTo>
                  <a:lnTo>
                    <a:pt x="156473" y="10716"/>
                  </a:lnTo>
                  <a:lnTo>
                    <a:pt x="10659" y="10716"/>
                  </a:lnTo>
                  <a:lnTo>
                    <a:pt x="10659" y="14480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588">
              <a:extLst>
                <a:ext uri="{FF2B5EF4-FFF2-40B4-BE49-F238E27FC236}">
                  <a16:creationId xmlns:a16="http://schemas.microsoft.com/office/drawing/2014/main" id="{440B6CF5-08A7-8681-1C1A-4C529E2E6C61}"/>
                </a:ext>
              </a:extLst>
            </p:cNvPr>
            <p:cNvSpPr/>
            <p:nvPr/>
          </p:nvSpPr>
          <p:spPr>
            <a:xfrm>
              <a:off x="7588631" y="4923756"/>
              <a:ext cx="167132" cy="155590"/>
            </a:xfrm>
            <a:custGeom>
              <a:avLst/>
              <a:gdLst>
                <a:gd name="connsiteX0" fmla="*/ 161803 w 167131"/>
                <a:gd name="connsiteY0" fmla="*/ 155591 h 155590"/>
                <a:gd name="connsiteX1" fmla="*/ 5329 w 167131"/>
                <a:gd name="connsiteY1" fmla="*/ 155591 h 155590"/>
                <a:gd name="connsiteX2" fmla="*/ 0 w 167131"/>
                <a:gd name="connsiteY2" fmla="*/ 150233 h 155590"/>
                <a:gd name="connsiteX3" fmla="*/ 0 w 167131"/>
                <a:gd name="connsiteY3" fmla="*/ 5358 h 155590"/>
                <a:gd name="connsiteX4" fmla="*/ 5329 w 167131"/>
                <a:gd name="connsiteY4" fmla="*/ 0 h 155590"/>
                <a:gd name="connsiteX5" fmla="*/ 161803 w 167131"/>
                <a:gd name="connsiteY5" fmla="*/ 0 h 155590"/>
                <a:gd name="connsiteX6" fmla="*/ 167132 w 167131"/>
                <a:gd name="connsiteY6" fmla="*/ 5358 h 155590"/>
                <a:gd name="connsiteX7" fmla="*/ 167132 w 167131"/>
                <a:gd name="connsiteY7" fmla="*/ 150162 h 155590"/>
                <a:gd name="connsiteX8" fmla="*/ 161803 w 167131"/>
                <a:gd name="connsiteY8" fmla="*/ 155519 h 155590"/>
                <a:gd name="connsiteX9" fmla="*/ 10659 w 167131"/>
                <a:gd name="connsiteY9" fmla="*/ 144875 h 155590"/>
                <a:gd name="connsiteX10" fmla="*/ 156473 w 167131"/>
                <a:gd name="connsiteY10" fmla="*/ 144875 h 155590"/>
                <a:gd name="connsiteX11" fmla="*/ 156473 w 167131"/>
                <a:gd name="connsiteY11" fmla="*/ 10716 h 155590"/>
                <a:gd name="connsiteX12" fmla="*/ 10659 w 167131"/>
                <a:gd name="connsiteY12" fmla="*/ 10716 h 155590"/>
                <a:gd name="connsiteX13" fmla="*/ 10659 w 167131"/>
                <a:gd name="connsiteY13" fmla="*/ 144804 h 15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131" h="155590">
                  <a:moveTo>
                    <a:pt x="161803" y="155591"/>
                  </a:moveTo>
                  <a:lnTo>
                    <a:pt x="5329" y="155591"/>
                  </a:lnTo>
                  <a:cubicBezTo>
                    <a:pt x="2416" y="155591"/>
                    <a:pt x="0" y="153162"/>
                    <a:pt x="0" y="150233"/>
                  </a:cubicBezTo>
                  <a:lnTo>
                    <a:pt x="0" y="5358"/>
                  </a:lnTo>
                  <a:cubicBezTo>
                    <a:pt x="0" y="2429"/>
                    <a:pt x="2416" y="0"/>
                    <a:pt x="5329" y="0"/>
                  </a:cubicBezTo>
                  <a:lnTo>
                    <a:pt x="161803" y="0"/>
                  </a:lnTo>
                  <a:cubicBezTo>
                    <a:pt x="164716" y="0"/>
                    <a:pt x="167132" y="2429"/>
                    <a:pt x="167132" y="5358"/>
                  </a:cubicBezTo>
                  <a:lnTo>
                    <a:pt x="167132" y="150162"/>
                  </a:lnTo>
                  <a:cubicBezTo>
                    <a:pt x="167132" y="153091"/>
                    <a:pt x="164716" y="155519"/>
                    <a:pt x="161803" y="155519"/>
                  </a:cubicBezTo>
                  <a:close/>
                  <a:moveTo>
                    <a:pt x="10659" y="144875"/>
                  </a:moveTo>
                  <a:lnTo>
                    <a:pt x="156473" y="144875"/>
                  </a:lnTo>
                  <a:lnTo>
                    <a:pt x="156473" y="10716"/>
                  </a:lnTo>
                  <a:lnTo>
                    <a:pt x="10659" y="10716"/>
                  </a:lnTo>
                  <a:lnTo>
                    <a:pt x="10659" y="14480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589">
              <a:extLst>
                <a:ext uri="{FF2B5EF4-FFF2-40B4-BE49-F238E27FC236}">
                  <a16:creationId xmlns:a16="http://schemas.microsoft.com/office/drawing/2014/main" id="{77CC95FE-0924-14E9-D0E6-55FFE5C1D993}"/>
                </a:ext>
              </a:extLst>
            </p:cNvPr>
            <p:cNvSpPr/>
            <p:nvPr/>
          </p:nvSpPr>
          <p:spPr>
            <a:xfrm>
              <a:off x="7745176" y="4923827"/>
              <a:ext cx="167132" cy="155519"/>
            </a:xfrm>
            <a:custGeom>
              <a:avLst/>
              <a:gdLst>
                <a:gd name="connsiteX0" fmla="*/ 161802 w 167131"/>
                <a:gd name="connsiteY0" fmla="*/ 155519 h 155519"/>
                <a:gd name="connsiteX1" fmla="*/ 5329 w 167131"/>
                <a:gd name="connsiteY1" fmla="*/ 155519 h 155519"/>
                <a:gd name="connsiteX2" fmla="*/ 0 w 167131"/>
                <a:gd name="connsiteY2" fmla="*/ 150162 h 155519"/>
                <a:gd name="connsiteX3" fmla="*/ 0 w 167131"/>
                <a:gd name="connsiteY3" fmla="*/ 5358 h 155519"/>
                <a:gd name="connsiteX4" fmla="*/ 5329 w 167131"/>
                <a:gd name="connsiteY4" fmla="*/ 0 h 155519"/>
                <a:gd name="connsiteX5" fmla="*/ 161802 w 167131"/>
                <a:gd name="connsiteY5" fmla="*/ 0 h 155519"/>
                <a:gd name="connsiteX6" fmla="*/ 167132 w 167131"/>
                <a:gd name="connsiteY6" fmla="*/ 5358 h 155519"/>
                <a:gd name="connsiteX7" fmla="*/ 167132 w 167131"/>
                <a:gd name="connsiteY7" fmla="*/ 150162 h 155519"/>
                <a:gd name="connsiteX8" fmla="*/ 161802 w 167131"/>
                <a:gd name="connsiteY8" fmla="*/ 155519 h 155519"/>
                <a:gd name="connsiteX9" fmla="*/ 10588 w 167131"/>
                <a:gd name="connsiteY9" fmla="*/ 144804 h 155519"/>
                <a:gd name="connsiteX10" fmla="*/ 156402 w 167131"/>
                <a:gd name="connsiteY10" fmla="*/ 144804 h 155519"/>
                <a:gd name="connsiteX11" fmla="*/ 156402 w 167131"/>
                <a:gd name="connsiteY11" fmla="*/ 10716 h 155519"/>
                <a:gd name="connsiteX12" fmla="*/ 10588 w 167131"/>
                <a:gd name="connsiteY12" fmla="*/ 10716 h 155519"/>
                <a:gd name="connsiteX13" fmla="*/ 10588 w 167131"/>
                <a:gd name="connsiteY13" fmla="*/ 144804 h 15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131" h="155519">
                  <a:moveTo>
                    <a:pt x="161802" y="155519"/>
                  </a:moveTo>
                  <a:lnTo>
                    <a:pt x="5329" y="155519"/>
                  </a:lnTo>
                  <a:cubicBezTo>
                    <a:pt x="2416" y="155519"/>
                    <a:pt x="0" y="153091"/>
                    <a:pt x="0" y="150162"/>
                  </a:cubicBezTo>
                  <a:lnTo>
                    <a:pt x="0" y="5358"/>
                  </a:lnTo>
                  <a:cubicBezTo>
                    <a:pt x="0" y="2429"/>
                    <a:pt x="2416" y="0"/>
                    <a:pt x="5329" y="0"/>
                  </a:cubicBezTo>
                  <a:lnTo>
                    <a:pt x="161802" y="0"/>
                  </a:lnTo>
                  <a:cubicBezTo>
                    <a:pt x="164716" y="0"/>
                    <a:pt x="167132" y="2429"/>
                    <a:pt x="167132" y="5358"/>
                  </a:cubicBezTo>
                  <a:lnTo>
                    <a:pt x="167132" y="150162"/>
                  </a:lnTo>
                  <a:cubicBezTo>
                    <a:pt x="167132" y="153091"/>
                    <a:pt x="164716" y="155519"/>
                    <a:pt x="161802" y="155519"/>
                  </a:cubicBezTo>
                  <a:close/>
                  <a:moveTo>
                    <a:pt x="10588" y="144804"/>
                  </a:moveTo>
                  <a:lnTo>
                    <a:pt x="156402" y="144804"/>
                  </a:lnTo>
                  <a:lnTo>
                    <a:pt x="156402" y="10716"/>
                  </a:lnTo>
                  <a:lnTo>
                    <a:pt x="10588" y="10716"/>
                  </a:lnTo>
                  <a:lnTo>
                    <a:pt x="10588" y="14480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590">
              <a:extLst>
                <a:ext uri="{FF2B5EF4-FFF2-40B4-BE49-F238E27FC236}">
                  <a16:creationId xmlns:a16="http://schemas.microsoft.com/office/drawing/2014/main" id="{C8C8975A-D731-C87A-94CC-B7CB67C23245}"/>
                </a:ext>
              </a:extLst>
            </p:cNvPr>
            <p:cNvSpPr/>
            <p:nvPr/>
          </p:nvSpPr>
          <p:spPr>
            <a:xfrm>
              <a:off x="7901649" y="4923827"/>
              <a:ext cx="167133" cy="155519"/>
            </a:xfrm>
            <a:custGeom>
              <a:avLst/>
              <a:gdLst>
                <a:gd name="connsiteX0" fmla="*/ 161803 w 167132"/>
                <a:gd name="connsiteY0" fmla="*/ 155519 h 155519"/>
                <a:gd name="connsiteX1" fmla="*/ 5329 w 167132"/>
                <a:gd name="connsiteY1" fmla="*/ 155519 h 155519"/>
                <a:gd name="connsiteX2" fmla="*/ 0 w 167132"/>
                <a:gd name="connsiteY2" fmla="*/ 150162 h 155519"/>
                <a:gd name="connsiteX3" fmla="*/ 0 w 167132"/>
                <a:gd name="connsiteY3" fmla="*/ 5358 h 155519"/>
                <a:gd name="connsiteX4" fmla="*/ 5329 w 167132"/>
                <a:gd name="connsiteY4" fmla="*/ 0 h 155519"/>
                <a:gd name="connsiteX5" fmla="*/ 161803 w 167132"/>
                <a:gd name="connsiteY5" fmla="*/ 0 h 155519"/>
                <a:gd name="connsiteX6" fmla="*/ 167132 w 167132"/>
                <a:gd name="connsiteY6" fmla="*/ 5358 h 155519"/>
                <a:gd name="connsiteX7" fmla="*/ 167132 w 167132"/>
                <a:gd name="connsiteY7" fmla="*/ 150162 h 155519"/>
                <a:gd name="connsiteX8" fmla="*/ 161803 w 167132"/>
                <a:gd name="connsiteY8" fmla="*/ 155519 h 155519"/>
                <a:gd name="connsiteX9" fmla="*/ 10659 w 167132"/>
                <a:gd name="connsiteY9" fmla="*/ 144804 h 155519"/>
                <a:gd name="connsiteX10" fmla="*/ 156473 w 167132"/>
                <a:gd name="connsiteY10" fmla="*/ 144804 h 155519"/>
                <a:gd name="connsiteX11" fmla="*/ 156473 w 167132"/>
                <a:gd name="connsiteY11" fmla="*/ 10716 h 155519"/>
                <a:gd name="connsiteX12" fmla="*/ 10659 w 167132"/>
                <a:gd name="connsiteY12" fmla="*/ 10716 h 155519"/>
                <a:gd name="connsiteX13" fmla="*/ 10659 w 167132"/>
                <a:gd name="connsiteY13" fmla="*/ 144804 h 15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132" h="155519">
                  <a:moveTo>
                    <a:pt x="161803" y="155519"/>
                  </a:moveTo>
                  <a:lnTo>
                    <a:pt x="5329" y="155519"/>
                  </a:lnTo>
                  <a:cubicBezTo>
                    <a:pt x="2416" y="155519"/>
                    <a:pt x="0" y="153091"/>
                    <a:pt x="0" y="150162"/>
                  </a:cubicBezTo>
                  <a:lnTo>
                    <a:pt x="0" y="5358"/>
                  </a:lnTo>
                  <a:cubicBezTo>
                    <a:pt x="0" y="2429"/>
                    <a:pt x="2416" y="0"/>
                    <a:pt x="5329" y="0"/>
                  </a:cubicBezTo>
                  <a:lnTo>
                    <a:pt x="161803" y="0"/>
                  </a:lnTo>
                  <a:cubicBezTo>
                    <a:pt x="164716" y="0"/>
                    <a:pt x="167132" y="2429"/>
                    <a:pt x="167132" y="5358"/>
                  </a:cubicBezTo>
                  <a:lnTo>
                    <a:pt x="167132" y="150162"/>
                  </a:lnTo>
                  <a:cubicBezTo>
                    <a:pt x="167132" y="153091"/>
                    <a:pt x="164716" y="155519"/>
                    <a:pt x="161803" y="155519"/>
                  </a:cubicBezTo>
                  <a:close/>
                  <a:moveTo>
                    <a:pt x="10659" y="144804"/>
                  </a:moveTo>
                  <a:lnTo>
                    <a:pt x="156473" y="144804"/>
                  </a:lnTo>
                  <a:lnTo>
                    <a:pt x="156473" y="10716"/>
                  </a:lnTo>
                  <a:lnTo>
                    <a:pt x="10659" y="10716"/>
                  </a:lnTo>
                  <a:lnTo>
                    <a:pt x="10659" y="14480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591">
              <a:extLst>
                <a:ext uri="{FF2B5EF4-FFF2-40B4-BE49-F238E27FC236}">
                  <a16:creationId xmlns:a16="http://schemas.microsoft.com/office/drawing/2014/main" id="{007C7B6E-399D-BDDB-C067-3FF7290A5BD3}"/>
                </a:ext>
              </a:extLst>
            </p:cNvPr>
            <p:cNvSpPr/>
            <p:nvPr/>
          </p:nvSpPr>
          <p:spPr>
            <a:xfrm>
              <a:off x="6723760" y="4923827"/>
              <a:ext cx="76886" cy="217384"/>
            </a:xfrm>
            <a:custGeom>
              <a:avLst/>
              <a:gdLst>
                <a:gd name="connsiteX0" fmla="*/ 48178 w 76886"/>
                <a:gd name="connsiteY0" fmla="*/ 217313 h 217384"/>
                <a:gd name="connsiteX1" fmla="*/ 5329 w 76886"/>
                <a:gd name="connsiteY1" fmla="*/ 217313 h 217384"/>
                <a:gd name="connsiteX2" fmla="*/ 0 w 76886"/>
                <a:gd name="connsiteY2" fmla="*/ 211955 h 217384"/>
                <a:gd name="connsiteX3" fmla="*/ 5329 w 76886"/>
                <a:gd name="connsiteY3" fmla="*/ 206597 h 217384"/>
                <a:gd name="connsiteX4" fmla="*/ 48178 w 76886"/>
                <a:gd name="connsiteY4" fmla="*/ 206597 h 217384"/>
                <a:gd name="connsiteX5" fmla="*/ 66227 w 76886"/>
                <a:gd name="connsiteY5" fmla="*/ 188452 h 217384"/>
                <a:gd name="connsiteX6" fmla="*/ 66227 w 76886"/>
                <a:gd name="connsiteY6" fmla="*/ 10716 h 217384"/>
                <a:gd name="connsiteX7" fmla="*/ 5329 w 76886"/>
                <a:gd name="connsiteY7" fmla="*/ 10716 h 217384"/>
                <a:gd name="connsiteX8" fmla="*/ 0 w 76886"/>
                <a:gd name="connsiteY8" fmla="*/ 5358 h 217384"/>
                <a:gd name="connsiteX9" fmla="*/ 5329 w 76886"/>
                <a:gd name="connsiteY9" fmla="*/ 0 h 217384"/>
                <a:gd name="connsiteX10" fmla="*/ 71557 w 76886"/>
                <a:gd name="connsiteY10" fmla="*/ 0 h 217384"/>
                <a:gd name="connsiteX11" fmla="*/ 76886 w 76886"/>
                <a:gd name="connsiteY11" fmla="*/ 5358 h 217384"/>
                <a:gd name="connsiteX12" fmla="*/ 76886 w 76886"/>
                <a:gd name="connsiteY12" fmla="*/ 188524 h 217384"/>
                <a:gd name="connsiteX13" fmla="*/ 48178 w 76886"/>
                <a:gd name="connsiteY13" fmla="*/ 217384 h 21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886" h="217384">
                  <a:moveTo>
                    <a:pt x="48178" y="217313"/>
                  </a:moveTo>
                  <a:lnTo>
                    <a:pt x="5329" y="217313"/>
                  </a:lnTo>
                  <a:cubicBezTo>
                    <a:pt x="2416" y="217313"/>
                    <a:pt x="0" y="214955"/>
                    <a:pt x="0" y="211955"/>
                  </a:cubicBezTo>
                  <a:cubicBezTo>
                    <a:pt x="0" y="208955"/>
                    <a:pt x="2416" y="206597"/>
                    <a:pt x="5329" y="206597"/>
                  </a:cubicBezTo>
                  <a:lnTo>
                    <a:pt x="48178" y="206597"/>
                  </a:lnTo>
                  <a:cubicBezTo>
                    <a:pt x="58127" y="206597"/>
                    <a:pt x="66227" y="198453"/>
                    <a:pt x="66227" y="188452"/>
                  </a:cubicBezTo>
                  <a:lnTo>
                    <a:pt x="66227" y="10716"/>
                  </a:lnTo>
                  <a:lnTo>
                    <a:pt x="5329" y="10716"/>
                  </a:lnTo>
                  <a:cubicBezTo>
                    <a:pt x="2416" y="10716"/>
                    <a:pt x="0" y="8287"/>
                    <a:pt x="0" y="5358"/>
                  </a:cubicBezTo>
                  <a:cubicBezTo>
                    <a:pt x="0" y="2429"/>
                    <a:pt x="2416" y="0"/>
                    <a:pt x="5329" y="0"/>
                  </a:cubicBezTo>
                  <a:lnTo>
                    <a:pt x="71557" y="0"/>
                  </a:lnTo>
                  <a:cubicBezTo>
                    <a:pt x="74470" y="0"/>
                    <a:pt x="76886" y="2429"/>
                    <a:pt x="76886" y="5358"/>
                  </a:cubicBezTo>
                  <a:lnTo>
                    <a:pt x="76886" y="188524"/>
                  </a:lnTo>
                  <a:cubicBezTo>
                    <a:pt x="76886" y="204454"/>
                    <a:pt x="64025" y="217384"/>
                    <a:pt x="48178" y="21738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592">
              <a:extLst>
                <a:ext uri="{FF2B5EF4-FFF2-40B4-BE49-F238E27FC236}">
                  <a16:creationId xmlns:a16="http://schemas.microsoft.com/office/drawing/2014/main" id="{80E13639-6DE8-0AAC-E0C0-BB642ECFE560}"/>
                </a:ext>
              </a:extLst>
            </p:cNvPr>
            <p:cNvSpPr/>
            <p:nvPr/>
          </p:nvSpPr>
          <p:spPr>
            <a:xfrm>
              <a:off x="6843567" y="5149070"/>
              <a:ext cx="143825" cy="144589"/>
            </a:xfrm>
            <a:custGeom>
              <a:avLst/>
              <a:gdLst>
                <a:gd name="connsiteX0" fmla="*/ 71912 w 143824"/>
                <a:gd name="connsiteY0" fmla="*/ 144590 h 144589"/>
                <a:gd name="connsiteX1" fmla="*/ 0 w 143824"/>
                <a:gd name="connsiteY1" fmla="*/ 72295 h 144589"/>
                <a:gd name="connsiteX2" fmla="*/ 71912 w 143824"/>
                <a:gd name="connsiteY2" fmla="*/ 0 h 144589"/>
                <a:gd name="connsiteX3" fmla="*/ 143824 w 143824"/>
                <a:gd name="connsiteY3" fmla="*/ 72295 h 144589"/>
                <a:gd name="connsiteX4" fmla="*/ 71912 w 143824"/>
                <a:gd name="connsiteY4" fmla="*/ 144590 h 144589"/>
                <a:gd name="connsiteX5" fmla="*/ 71912 w 143824"/>
                <a:gd name="connsiteY5" fmla="*/ 10716 h 144589"/>
                <a:gd name="connsiteX6" fmla="*/ 10659 w 143824"/>
                <a:gd name="connsiteY6" fmla="*/ 72295 h 144589"/>
                <a:gd name="connsiteX7" fmla="*/ 71912 w 143824"/>
                <a:gd name="connsiteY7" fmla="*/ 133874 h 144589"/>
                <a:gd name="connsiteX8" fmla="*/ 133166 w 143824"/>
                <a:gd name="connsiteY8" fmla="*/ 72295 h 144589"/>
                <a:gd name="connsiteX9" fmla="*/ 71912 w 143824"/>
                <a:gd name="connsiteY9" fmla="*/ 10716 h 14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4" h="144589">
                  <a:moveTo>
                    <a:pt x="71912" y="144590"/>
                  </a:moveTo>
                  <a:cubicBezTo>
                    <a:pt x="32261" y="144590"/>
                    <a:pt x="0" y="112157"/>
                    <a:pt x="0" y="72295"/>
                  </a:cubicBezTo>
                  <a:cubicBezTo>
                    <a:pt x="0" y="32433"/>
                    <a:pt x="32261" y="0"/>
                    <a:pt x="71912" y="0"/>
                  </a:cubicBezTo>
                  <a:cubicBezTo>
                    <a:pt x="111563" y="0"/>
                    <a:pt x="143824" y="32433"/>
                    <a:pt x="143824" y="72295"/>
                  </a:cubicBezTo>
                  <a:cubicBezTo>
                    <a:pt x="143824" y="112157"/>
                    <a:pt x="111563" y="144590"/>
                    <a:pt x="71912" y="144590"/>
                  </a:cubicBezTo>
                  <a:close/>
                  <a:moveTo>
                    <a:pt x="71912" y="10716"/>
                  </a:moveTo>
                  <a:cubicBezTo>
                    <a:pt x="38159" y="10716"/>
                    <a:pt x="10659" y="38362"/>
                    <a:pt x="10659" y="72295"/>
                  </a:cubicBezTo>
                  <a:cubicBezTo>
                    <a:pt x="10659" y="106228"/>
                    <a:pt x="38159" y="133874"/>
                    <a:pt x="71912" y="133874"/>
                  </a:cubicBezTo>
                  <a:cubicBezTo>
                    <a:pt x="105666" y="133874"/>
                    <a:pt x="133166" y="106228"/>
                    <a:pt x="133166" y="72295"/>
                  </a:cubicBezTo>
                  <a:cubicBezTo>
                    <a:pt x="133166" y="38362"/>
                    <a:pt x="105666" y="10716"/>
                    <a:pt x="71912"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593">
              <a:extLst>
                <a:ext uri="{FF2B5EF4-FFF2-40B4-BE49-F238E27FC236}">
                  <a16:creationId xmlns:a16="http://schemas.microsoft.com/office/drawing/2014/main" id="{EE2E467B-0C67-B91B-435A-91DC0FEB7EBA}"/>
                </a:ext>
              </a:extLst>
            </p:cNvPr>
            <p:cNvSpPr/>
            <p:nvPr/>
          </p:nvSpPr>
          <p:spPr>
            <a:xfrm>
              <a:off x="6882934" y="5188646"/>
              <a:ext cx="65090" cy="65436"/>
            </a:xfrm>
            <a:custGeom>
              <a:avLst/>
              <a:gdLst>
                <a:gd name="connsiteX0" fmla="*/ 32545 w 65090"/>
                <a:gd name="connsiteY0" fmla="*/ 65437 h 65436"/>
                <a:gd name="connsiteX1" fmla="*/ 0 w 65090"/>
                <a:gd name="connsiteY1" fmla="*/ 32718 h 65436"/>
                <a:gd name="connsiteX2" fmla="*/ 32545 w 65090"/>
                <a:gd name="connsiteY2" fmla="*/ 0 h 65436"/>
                <a:gd name="connsiteX3" fmla="*/ 65091 w 65090"/>
                <a:gd name="connsiteY3" fmla="*/ 32718 h 65436"/>
                <a:gd name="connsiteX4" fmla="*/ 32545 w 65090"/>
                <a:gd name="connsiteY4" fmla="*/ 65437 h 65436"/>
                <a:gd name="connsiteX5" fmla="*/ 32545 w 65090"/>
                <a:gd name="connsiteY5" fmla="*/ 10716 h 65436"/>
                <a:gd name="connsiteX6" fmla="*/ 10659 w 65090"/>
                <a:gd name="connsiteY6" fmla="*/ 32718 h 65436"/>
                <a:gd name="connsiteX7" fmla="*/ 32545 w 65090"/>
                <a:gd name="connsiteY7" fmla="*/ 54721 h 65436"/>
                <a:gd name="connsiteX8" fmla="*/ 54432 w 65090"/>
                <a:gd name="connsiteY8" fmla="*/ 32718 h 65436"/>
                <a:gd name="connsiteX9" fmla="*/ 32545 w 65090"/>
                <a:gd name="connsiteY9" fmla="*/ 10716 h 6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090" h="65436">
                  <a:moveTo>
                    <a:pt x="32545" y="65437"/>
                  </a:moveTo>
                  <a:cubicBezTo>
                    <a:pt x="14567" y="65437"/>
                    <a:pt x="0" y="50792"/>
                    <a:pt x="0" y="32718"/>
                  </a:cubicBezTo>
                  <a:cubicBezTo>
                    <a:pt x="0" y="14645"/>
                    <a:pt x="14567" y="0"/>
                    <a:pt x="32545" y="0"/>
                  </a:cubicBezTo>
                  <a:cubicBezTo>
                    <a:pt x="50523" y="0"/>
                    <a:pt x="65091" y="14645"/>
                    <a:pt x="65091" y="32718"/>
                  </a:cubicBezTo>
                  <a:cubicBezTo>
                    <a:pt x="65091" y="50792"/>
                    <a:pt x="50523" y="65437"/>
                    <a:pt x="32545" y="65437"/>
                  </a:cubicBezTo>
                  <a:close/>
                  <a:moveTo>
                    <a:pt x="32545" y="10716"/>
                  </a:moveTo>
                  <a:cubicBezTo>
                    <a:pt x="20465" y="10716"/>
                    <a:pt x="10659" y="20574"/>
                    <a:pt x="10659" y="32718"/>
                  </a:cubicBezTo>
                  <a:cubicBezTo>
                    <a:pt x="10659" y="44863"/>
                    <a:pt x="20465" y="54721"/>
                    <a:pt x="32545" y="54721"/>
                  </a:cubicBezTo>
                  <a:cubicBezTo>
                    <a:pt x="44625" y="54721"/>
                    <a:pt x="54432" y="44863"/>
                    <a:pt x="54432" y="32718"/>
                  </a:cubicBezTo>
                  <a:cubicBezTo>
                    <a:pt x="54432" y="20574"/>
                    <a:pt x="44625" y="10716"/>
                    <a:pt x="32545"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594">
              <a:extLst>
                <a:ext uri="{FF2B5EF4-FFF2-40B4-BE49-F238E27FC236}">
                  <a16:creationId xmlns:a16="http://schemas.microsoft.com/office/drawing/2014/main" id="{1A7118A9-3A94-20F0-462D-CF709A1B6A5F}"/>
                </a:ext>
              </a:extLst>
            </p:cNvPr>
            <p:cNvSpPr/>
            <p:nvPr/>
          </p:nvSpPr>
          <p:spPr>
            <a:xfrm>
              <a:off x="7269358" y="5149074"/>
              <a:ext cx="143825" cy="144590"/>
            </a:xfrm>
            <a:custGeom>
              <a:avLst/>
              <a:gdLst>
                <a:gd name="connsiteX0" fmla="*/ 71912 w 143824"/>
                <a:gd name="connsiteY0" fmla="*/ 144590 h 144589"/>
                <a:gd name="connsiteX1" fmla="*/ 0 w 143824"/>
                <a:gd name="connsiteY1" fmla="*/ 72295 h 144589"/>
                <a:gd name="connsiteX2" fmla="*/ 71912 w 143824"/>
                <a:gd name="connsiteY2" fmla="*/ 0 h 144589"/>
                <a:gd name="connsiteX3" fmla="*/ 143824 w 143824"/>
                <a:gd name="connsiteY3" fmla="*/ 72295 h 144589"/>
                <a:gd name="connsiteX4" fmla="*/ 71912 w 143824"/>
                <a:gd name="connsiteY4" fmla="*/ 144590 h 144589"/>
                <a:gd name="connsiteX5" fmla="*/ 71912 w 143824"/>
                <a:gd name="connsiteY5" fmla="*/ 10716 h 144589"/>
                <a:gd name="connsiteX6" fmla="*/ 10659 w 143824"/>
                <a:gd name="connsiteY6" fmla="*/ 72295 h 144589"/>
                <a:gd name="connsiteX7" fmla="*/ 71912 w 143824"/>
                <a:gd name="connsiteY7" fmla="*/ 133874 h 144589"/>
                <a:gd name="connsiteX8" fmla="*/ 133166 w 143824"/>
                <a:gd name="connsiteY8" fmla="*/ 72295 h 144589"/>
                <a:gd name="connsiteX9" fmla="*/ 71912 w 143824"/>
                <a:gd name="connsiteY9" fmla="*/ 10716 h 14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4" h="144589">
                  <a:moveTo>
                    <a:pt x="71912" y="144590"/>
                  </a:moveTo>
                  <a:cubicBezTo>
                    <a:pt x="32261" y="144590"/>
                    <a:pt x="0" y="112157"/>
                    <a:pt x="0" y="72295"/>
                  </a:cubicBezTo>
                  <a:cubicBezTo>
                    <a:pt x="0" y="32433"/>
                    <a:pt x="32261" y="0"/>
                    <a:pt x="71912" y="0"/>
                  </a:cubicBezTo>
                  <a:cubicBezTo>
                    <a:pt x="111563" y="0"/>
                    <a:pt x="143824" y="32433"/>
                    <a:pt x="143824" y="72295"/>
                  </a:cubicBezTo>
                  <a:cubicBezTo>
                    <a:pt x="143824" y="112157"/>
                    <a:pt x="111563" y="144590"/>
                    <a:pt x="71912" y="144590"/>
                  </a:cubicBezTo>
                  <a:close/>
                  <a:moveTo>
                    <a:pt x="71912" y="10716"/>
                  </a:moveTo>
                  <a:cubicBezTo>
                    <a:pt x="38159" y="10716"/>
                    <a:pt x="10659" y="38362"/>
                    <a:pt x="10659" y="72295"/>
                  </a:cubicBezTo>
                  <a:cubicBezTo>
                    <a:pt x="10659" y="106228"/>
                    <a:pt x="38159" y="133874"/>
                    <a:pt x="71912" y="133874"/>
                  </a:cubicBezTo>
                  <a:cubicBezTo>
                    <a:pt x="105666" y="133874"/>
                    <a:pt x="133166" y="106228"/>
                    <a:pt x="133166" y="72295"/>
                  </a:cubicBezTo>
                  <a:cubicBezTo>
                    <a:pt x="133166" y="38362"/>
                    <a:pt x="105666" y="10716"/>
                    <a:pt x="71912"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595">
              <a:extLst>
                <a:ext uri="{FF2B5EF4-FFF2-40B4-BE49-F238E27FC236}">
                  <a16:creationId xmlns:a16="http://schemas.microsoft.com/office/drawing/2014/main" id="{850127F1-0264-000B-3C77-C15405FC6C0D}"/>
                </a:ext>
              </a:extLst>
            </p:cNvPr>
            <p:cNvSpPr/>
            <p:nvPr/>
          </p:nvSpPr>
          <p:spPr>
            <a:xfrm>
              <a:off x="6971119" y="5242942"/>
              <a:ext cx="314582" cy="10715"/>
            </a:xfrm>
            <a:custGeom>
              <a:avLst/>
              <a:gdLst>
                <a:gd name="connsiteX0" fmla="*/ 309251 w 314580"/>
                <a:gd name="connsiteY0" fmla="*/ 10716 h 10715"/>
                <a:gd name="connsiteX1" fmla="*/ 5329 w 314580"/>
                <a:gd name="connsiteY1" fmla="*/ 10716 h 10715"/>
                <a:gd name="connsiteX2" fmla="*/ 0 w 314580"/>
                <a:gd name="connsiteY2" fmla="*/ 5358 h 10715"/>
                <a:gd name="connsiteX3" fmla="*/ 5329 w 314580"/>
                <a:gd name="connsiteY3" fmla="*/ 0 h 10715"/>
                <a:gd name="connsiteX4" fmla="*/ 309251 w 314580"/>
                <a:gd name="connsiteY4" fmla="*/ 0 h 10715"/>
                <a:gd name="connsiteX5" fmla="*/ 314581 w 314580"/>
                <a:gd name="connsiteY5" fmla="*/ 5358 h 10715"/>
                <a:gd name="connsiteX6" fmla="*/ 309251 w 314580"/>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580" h="10715">
                  <a:moveTo>
                    <a:pt x="309251" y="10716"/>
                  </a:moveTo>
                  <a:lnTo>
                    <a:pt x="5329" y="10716"/>
                  </a:lnTo>
                  <a:cubicBezTo>
                    <a:pt x="2416" y="10716"/>
                    <a:pt x="0" y="8287"/>
                    <a:pt x="0" y="5358"/>
                  </a:cubicBezTo>
                  <a:cubicBezTo>
                    <a:pt x="0" y="2429"/>
                    <a:pt x="2416" y="0"/>
                    <a:pt x="5329" y="0"/>
                  </a:cubicBezTo>
                  <a:lnTo>
                    <a:pt x="309251" y="0"/>
                  </a:lnTo>
                  <a:cubicBezTo>
                    <a:pt x="312164" y="0"/>
                    <a:pt x="314581" y="2429"/>
                    <a:pt x="314581" y="5358"/>
                  </a:cubicBezTo>
                  <a:cubicBezTo>
                    <a:pt x="314581" y="8287"/>
                    <a:pt x="312164" y="10716"/>
                    <a:pt x="309251"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596">
              <a:extLst>
                <a:ext uri="{FF2B5EF4-FFF2-40B4-BE49-F238E27FC236}">
                  <a16:creationId xmlns:a16="http://schemas.microsoft.com/office/drawing/2014/main" id="{8F1E8F1D-596C-20F8-2CA9-385287BA26F5}"/>
                </a:ext>
              </a:extLst>
            </p:cNvPr>
            <p:cNvSpPr/>
            <p:nvPr/>
          </p:nvSpPr>
          <p:spPr>
            <a:xfrm>
              <a:off x="6723760" y="4862324"/>
              <a:ext cx="796652" cy="391334"/>
            </a:xfrm>
            <a:custGeom>
              <a:avLst/>
              <a:gdLst>
                <a:gd name="connsiteX0" fmla="*/ 791319 w 796648"/>
                <a:gd name="connsiteY0" fmla="*/ 391335 h 391334"/>
                <a:gd name="connsiteX1" fmla="*/ 678405 w 796648"/>
                <a:gd name="connsiteY1" fmla="*/ 391335 h 391334"/>
                <a:gd name="connsiteX2" fmla="*/ 673076 w 796648"/>
                <a:gd name="connsiteY2" fmla="*/ 385977 h 391334"/>
                <a:gd name="connsiteX3" fmla="*/ 678405 w 796648"/>
                <a:gd name="connsiteY3" fmla="*/ 380619 h 391334"/>
                <a:gd name="connsiteX4" fmla="*/ 785989 w 796648"/>
                <a:gd name="connsiteY4" fmla="*/ 380619 h 391334"/>
                <a:gd name="connsiteX5" fmla="*/ 785989 w 796648"/>
                <a:gd name="connsiteY5" fmla="*/ 10716 h 391334"/>
                <a:gd name="connsiteX6" fmla="*/ 23308 w 796648"/>
                <a:gd name="connsiteY6" fmla="*/ 10716 h 391334"/>
                <a:gd name="connsiteX7" fmla="*/ 10659 w 796648"/>
                <a:gd name="connsiteY7" fmla="*/ 23432 h 391334"/>
                <a:gd name="connsiteX8" fmla="*/ 10659 w 796648"/>
                <a:gd name="connsiteY8" fmla="*/ 380619 h 391334"/>
                <a:gd name="connsiteX9" fmla="*/ 130750 w 796648"/>
                <a:gd name="connsiteY9" fmla="*/ 380619 h 391334"/>
                <a:gd name="connsiteX10" fmla="*/ 136079 w 796648"/>
                <a:gd name="connsiteY10" fmla="*/ 385977 h 391334"/>
                <a:gd name="connsiteX11" fmla="*/ 130750 w 796648"/>
                <a:gd name="connsiteY11" fmla="*/ 391335 h 391334"/>
                <a:gd name="connsiteX12" fmla="*/ 5329 w 796648"/>
                <a:gd name="connsiteY12" fmla="*/ 391335 h 391334"/>
                <a:gd name="connsiteX13" fmla="*/ 0 w 796648"/>
                <a:gd name="connsiteY13" fmla="*/ 385977 h 391334"/>
                <a:gd name="connsiteX14" fmla="*/ 0 w 796648"/>
                <a:gd name="connsiteY14" fmla="*/ 23432 h 391334"/>
                <a:gd name="connsiteX15" fmla="*/ 23308 w 796648"/>
                <a:gd name="connsiteY15" fmla="*/ 0 h 391334"/>
                <a:gd name="connsiteX16" fmla="*/ 791319 w 796648"/>
                <a:gd name="connsiteY16" fmla="*/ 0 h 391334"/>
                <a:gd name="connsiteX17" fmla="*/ 796648 w 796648"/>
                <a:gd name="connsiteY17" fmla="*/ 5358 h 391334"/>
                <a:gd name="connsiteX18" fmla="*/ 796648 w 796648"/>
                <a:gd name="connsiteY18" fmla="*/ 385977 h 391334"/>
                <a:gd name="connsiteX19" fmla="*/ 791319 w 796648"/>
                <a:gd name="connsiteY19" fmla="*/ 391335 h 39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6648" h="391334">
                  <a:moveTo>
                    <a:pt x="791319" y="391335"/>
                  </a:moveTo>
                  <a:lnTo>
                    <a:pt x="678405" y="391335"/>
                  </a:lnTo>
                  <a:cubicBezTo>
                    <a:pt x="675492" y="391335"/>
                    <a:pt x="673076" y="388906"/>
                    <a:pt x="673076" y="385977"/>
                  </a:cubicBezTo>
                  <a:cubicBezTo>
                    <a:pt x="673076" y="383048"/>
                    <a:pt x="675492" y="380619"/>
                    <a:pt x="678405" y="380619"/>
                  </a:cubicBezTo>
                  <a:lnTo>
                    <a:pt x="785989" y="380619"/>
                  </a:lnTo>
                  <a:lnTo>
                    <a:pt x="785989" y="10716"/>
                  </a:lnTo>
                  <a:lnTo>
                    <a:pt x="23308" y="10716"/>
                  </a:lnTo>
                  <a:cubicBezTo>
                    <a:pt x="16344" y="10716"/>
                    <a:pt x="10659" y="16431"/>
                    <a:pt x="10659" y="23432"/>
                  </a:cubicBezTo>
                  <a:lnTo>
                    <a:pt x="10659" y="380619"/>
                  </a:lnTo>
                  <a:lnTo>
                    <a:pt x="130750" y="380619"/>
                  </a:lnTo>
                  <a:cubicBezTo>
                    <a:pt x="133663" y="380619"/>
                    <a:pt x="136079" y="383048"/>
                    <a:pt x="136079" y="385977"/>
                  </a:cubicBezTo>
                  <a:cubicBezTo>
                    <a:pt x="136079" y="388906"/>
                    <a:pt x="133663" y="391335"/>
                    <a:pt x="130750" y="391335"/>
                  </a:cubicBezTo>
                  <a:lnTo>
                    <a:pt x="5329" y="391335"/>
                  </a:lnTo>
                  <a:cubicBezTo>
                    <a:pt x="2416" y="391335"/>
                    <a:pt x="0" y="388977"/>
                    <a:pt x="0" y="385977"/>
                  </a:cubicBezTo>
                  <a:lnTo>
                    <a:pt x="0" y="23432"/>
                  </a:lnTo>
                  <a:cubicBezTo>
                    <a:pt x="0" y="10501"/>
                    <a:pt x="10446" y="0"/>
                    <a:pt x="23308" y="0"/>
                  </a:cubicBezTo>
                  <a:lnTo>
                    <a:pt x="791319" y="0"/>
                  </a:lnTo>
                  <a:cubicBezTo>
                    <a:pt x="794232" y="0"/>
                    <a:pt x="796648" y="2429"/>
                    <a:pt x="796648" y="5358"/>
                  </a:cubicBezTo>
                  <a:lnTo>
                    <a:pt x="796648" y="385977"/>
                  </a:lnTo>
                  <a:cubicBezTo>
                    <a:pt x="796648" y="388906"/>
                    <a:pt x="794232" y="391335"/>
                    <a:pt x="791319" y="391335"/>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597">
              <a:extLst>
                <a:ext uri="{FF2B5EF4-FFF2-40B4-BE49-F238E27FC236}">
                  <a16:creationId xmlns:a16="http://schemas.microsoft.com/office/drawing/2014/main" id="{5526DA32-B88D-21E5-22C0-99892823CE89}"/>
                </a:ext>
              </a:extLst>
            </p:cNvPr>
            <p:cNvSpPr/>
            <p:nvPr/>
          </p:nvSpPr>
          <p:spPr>
            <a:xfrm>
              <a:off x="7308727" y="5188650"/>
              <a:ext cx="65090" cy="65436"/>
            </a:xfrm>
            <a:custGeom>
              <a:avLst/>
              <a:gdLst>
                <a:gd name="connsiteX0" fmla="*/ 32545 w 65090"/>
                <a:gd name="connsiteY0" fmla="*/ 65437 h 65436"/>
                <a:gd name="connsiteX1" fmla="*/ 0 w 65090"/>
                <a:gd name="connsiteY1" fmla="*/ 32718 h 65436"/>
                <a:gd name="connsiteX2" fmla="*/ 32545 w 65090"/>
                <a:gd name="connsiteY2" fmla="*/ 0 h 65436"/>
                <a:gd name="connsiteX3" fmla="*/ 65091 w 65090"/>
                <a:gd name="connsiteY3" fmla="*/ 32718 h 65436"/>
                <a:gd name="connsiteX4" fmla="*/ 32545 w 65090"/>
                <a:gd name="connsiteY4" fmla="*/ 65437 h 65436"/>
                <a:gd name="connsiteX5" fmla="*/ 32545 w 65090"/>
                <a:gd name="connsiteY5" fmla="*/ 10716 h 65436"/>
                <a:gd name="connsiteX6" fmla="*/ 10659 w 65090"/>
                <a:gd name="connsiteY6" fmla="*/ 32718 h 65436"/>
                <a:gd name="connsiteX7" fmla="*/ 32545 w 65090"/>
                <a:gd name="connsiteY7" fmla="*/ 54721 h 65436"/>
                <a:gd name="connsiteX8" fmla="*/ 54432 w 65090"/>
                <a:gd name="connsiteY8" fmla="*/ 32718 h 65436"/>
                <a:gd name="connsiteX9" fmla="*/ 32545 w 65090"/>
                <a:gd name="connsiteY9" fmla="*/ 10716 h 6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090" h="65436">
                  <a:moveTo>
                    <a:pt x="32545" y="65437"/>
                  </a:moveTo>
                  <a:cubicBezTo>
                    <a:pt x="14567" y="65437"/>
                    <a:pt x="0" y="50792"/>
                    <a:pt x="0" y="32718"/>
                  </a:cubicBezTo>
                  <a:cubicBezTo>
                    <a:pt x="0" y="14645"/>
                    <a:pt x="14567" y="0"/>
                    <a:pt x="32545" y="0"/>
                  </a:cubicBezTo>
                  <a:cubicBezTo>
                    <a:pt x="50523" y="0"/>
                    <a:pt x="65091" y="14645"/>
                    <a:pt x="65091" y="32718"/>
                  </a:cubicBezTo>
                  <a:cubicBezTo>
                    <a:pt x="65091" y="50792"/>
                    <a:pt x="50523" y="65437"/>
                    <a:pt x="32545" y="65437"/>
                  </a:cubicBezTo>
                  <a:close/>
                  <a:moveTo>
                    <a:pt x="32545" y="10716"/>
                  </a:moveTo>
                  <a:cubicBezTo>
                    <a:pt x="20465" y="10716"/>
                    <a:pt x="10659" y="20574"/>
                    <a:pt x="10659" y="32718"/>
                  </a:cubicBezTo>
                  <a:cubicBezTo>
                    <a:pt x="10659" y="44863"/>
                    <a:pt x="20465" y="54721"/>
                    <a:pt x="32545" y="54721"/>
                  </a:cubicBezTo>
                  <a:cubicBezTo>
                    <a:pt x="44625" y="54721"/>
                    <a:pt x="54432" y="44863"/>
                    <a:pt x="54432" y="32718"/>
                  </a:cubicBezTo>
                  <a:cubicBezTo>
                    <a:pt x="54432" y="20574"/>
                    <a:pt x="44625" y="10716"/>
                    <a:pt x="32545"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598">
              <a:extLst>
                <a:ext uri="{FF2B5EF4-FFF2-40B4-BE49-F238E27FC236}">
                  <a16:creationId xmlns:a16="http://schemas.microsoft.com/office/drawing/2014/main" id="{9BAAE3B9-3D0D-C5F3-845E-86F7C6BC2DD9}"/>
                </a:ext>
              </a:extLst>
            </p:cNvPr>
            <p:cNvSpPr/>
            <p:nvPr/>
          </p:nvSpPr>
          <p:spPr>
            <a:xfrm>
              <a:off x="7769266" y="5149067"/>
              <a:ext cx="143825" cy="144589"/>
            </a:xfrm>
            <a:custGeom>
              <a:avLst/>
              <a:gdLst>
                <a:gd name="connsiteX0" fmla="*/ 71912 w 143824"/>
                <a:gd name="connsiteY0" fmla="*/ 144590 h 144589"/>
                <a:gd name="connsiteX1" fmla="*/ 0 w 143824"/>
                <a:gd name="connsiteY1" fmla="*/ 72295 h 144589"/>
                <a:gd name="connsiteX2" fmla="*/ 71912 w 143824"/>
                <a:gd name="connsiteY2" fmla="*/ 0 h 144589"/>
                <a:gd name="connsiteX3" fmla="*/ 143824 w 143824"/>
                <a:gd name="connsiteY3" fmla="*/ 72295 h 144589"/>
                <a:gd name="connsiteX4" fmla="*/ 71912 w 143824"/>
                <a:gd name="connsiteY4" fmla="*/ 144590 h 144589"/>
                <a:gd name="connsiteX5" fmla="*/ 71912 w 143824"/>
                <a:gd name="connsiteY5" fmla="*/ 10716 h 144589"/>
                <a:gd name="connsiteX6" fmla="*/ 10659 w 143824"/>
                <a:gd name="connsiteY6" fmla="*/ 72295 h 144589"/>
                <a:gd name="connsiteX7" fmla="*/ 71912 w 143824"/>
                <a:gd name="connsiteY7" fmla="*/ 133874 h 144589"/>
                <a:gd name="connsiteX8" fmla="*/ 133165 w 143824"/>
                <a:gd name="connsiteY8" fmla="*/ 72295 h 144589"/>
                <a:gd name="connsiteX9" fmla="*/ 71912 w 143824"/>
                <a:gd name="connsiteY9" fmla="*/ 10716 h 14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4" h="144589">
                  <a:moveTo>
                    <a:pt x="71912" y="144590"/>
                  </a:moveTo>
                  <a:cubicBezTo>
                    <a:pt x="32261" y="144590"/>
                    <a:pt x="0" y="112157"/>
                    <a:pt x="0" y="72295"/>
                  </a:cubicBezTo>
                  <a:cubicBezTo>
                    <a:pt x="0" y="32433"/>
                    <a:pt x="32261" y="0"/>
                    <a:pt x="71912" y="0"/>
                  </a:cubicBezTo>
                  <a:cubicBezTo>
                    <a:pt x="111563" y="0"/>
                    <a:pt x="143824" y="32433"/>
                    <a:pt x="143824" y="72295"/>
                  </a:cubicBezTo>
                  <a:cubicBezTo>
                    <a:pt x="143824" y="112157"/>
                    <a:pt x="111563" y="144590"/>
                    <a:pt x="71912" y="144590"/>
                  </a:cubicBezTo>
                  <a:close/>
                  <a:moveTo>
                    <a:pt x="71912" y="10716"/>
                  </a:moveTo>
                  <a:cubicBezTo>
                    <a:pt x="38159" y="10716"/>
                    <a:pt x="10659" y="38362"/>
                    <a:pt x="10659" y="72295"/>
                  </a:cubicBezTo>
                  <a:cubicBezTo>
                    <a:pt x="10659" y="106228"/>
                    <a:pt x="38159" y="133874"/>
                    <a:pt x="71912" y="133874"/>
                  </a:cubicBezTo>
                  <a:cubicBezTo>
                    <a:pt x="105665" y="133874"/>
                    <a:pt x="133165" y="106228"/>
                    <a:pt x="133165" y="72295"/>
                  </a:cubicBezTo>
                  <a:cubicBezTo>
                    <a:pt x="133165" y="38362"/>
                    <a:pt x="105665" y="10716"/>
                    <a:pt x="71912"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599">
              <a:extLst>
                <a:ext uri="{FF2B5EF4-FFF2-40B4-BE49-F238E27FC236}">
                  <a16:creationId xmlns:a16="http://schemas.microsoft.com/office/drawing/2014/main" id="{4BC424B8-5055-A685-5446-8C2136EEC699}"/>
                </a:ext>
              </a:extLst>
            </p:cNvPr>
            <p:cNvSpPr/>
            <p:nvPr/>
          </p:nvSpPr>
          <p:spPr>
            <a:xfrm>
              <a:off x="7588710" y="4862318"/>
              <a:ext cx="480011" cy="391334"/>
            </a:xfrm>
            <a:custGeom>
              <a:avLst/>
              <a:gdLst>
                <a:gd name="connsiteX0" fmla="*/ 383652 w 480008"/>
                <a:gd name="connsiteY0" fmla="*/ 391335 h 391334"/>
                <a:gd name="connsiteX1" fmla="*/ 313445 w 480008"/>
                <a:gd name="connsiteY1" fmla="*/ 391335 h 391334"/>
                <a:gd name="connsiteX2" fmla="*/ 308116 w 480008"/>
                <a:gd name="connsiteY2" fmla="*/ 385977 h 391334"/>
                <a:gd name="connsiteX3" fmla="*/ 313445 w 480008"/>
                <a:gd name="connsiteY3" fmla="*/ 380619 h 391334"/>
                <a:gd name="connsiteX4" fmla="*/ 382515 w 480008"/>
                <a:gd name="connsiteY4" fmla="*/ 380619 h 391334"/>
                <a:gd name="connsiteX5" fmla="*/ 469421 w 480008"/>
                <a:gd name="connsiteY5" fmla="*/ 341186 h 391334"/>
                <a:gd name="connsiteX6" fmla="*/ 469421 w 480008"/>
                <a:gd name="connsiteY6" fmla="*/ 23432 h 391334"/>
                <a:gd name="connsiteX7" fmla="*/ 456772 w 480008"/>
                <a:gd name="connsiteY7" fmla="*/ 10716 h 391334"/>
                <a:gd name="connsiteX8" fmla="*/ 10660 w 480008"/>
                <a:gd name="connsiteY8" fmla="*/ 10716 h 391334"/>
                <a:gd name="connsiteX9" fmla="*/ 10660 w 480008"/>
                <a:gd name="connsiteY9" fmla="*/ 380619 h 391334"/>
                <a:gd name="connsiteX10" fmla="*/ 191578 w 480008"/>
                <a:gd name="connsiteY10" fmla="*/ 380619 h 391334"/>
                <a:gd name="connsiteX11" fmla="*/ 196907 w 480008"/>
                <a:gd name="connsiteY11" fmla="*/ 385977 h 391334"/>
                <a:gd name="connsiteX12" fmla="*/ 191578 w 480008"/>
                <a:gd name="connsiteY12" fmla="*/ 391335 h 391334"/>
                <a:gd name="connsiteX13" fmla="*/ 5331 w 480008"/>
                <a:gd name="connsiteY13" fmla="*/ 391335 h 391334"/>
                <a:gd name="connsiteX14" fmla="*/ 2 w 480008"/>
                <a:gd name="connsiteY14" fmla="*/ 385977 h 391334"/>
                <a:gd name="connsiteX15" fmla="*/ 2 w 480008"/>
                <a:gd name="connsiteY15" fmla="*/ 5358 h 391334"/>
                <a:gd name="connsiteX16" fmla="*/ 5260 w 480008"/>
                <a:gd name="connsiteY16" fmla="*/ 0 h 391334"/>
                <a:gd name="connsiteX17" fmla="*/ 456701 w 480008"/>
                <a:gd name="connsiteY17" fmla="*/ 0 h 391334"/>
                <a:gd name="connsiteX18" fmla="*/ 480009 w 480008"/>
                <a:gd name="connsiteY18" fmla="*/ 23432 h 391334"/>
                <a:gd name="connsiteX19" fmla="*/ 480009 w 480008"/>
                <a:gd name="connsiteY19" fmla="*/ 344615 h 391334"/>
                <a:gd name="connsiteX20" fmla="*/ 476882 w 480008"/>
                <a:gd name="connsiteY20" fmla="*/ 349472 h 391334"/>
                <a:gd name="connsiteX21" fmla="*/ 385784 w 480008"/>
                <a:gd name="connsiteY21" fmla="*/ 390835 h 391334"/>
                <a:gd name="connsiteX22" fmla="*/ 383581 w 480008"/>
                <a:gd name="connsiteY22" fmla="*/ 391335 h 39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008" h="391334">
                  <a:moveTo>
                    <a:pt x="383652" y="391335"/>
                  </a:moveTo>
                  <a:lnTo>
                    <a:pt x="313445" y="391335"/>
                  </a:lnTo>
                  <a:cubicBezTo>
                    <a:pt x="310532" y="391335"/>
                    <a:pt x="308116" y="388906"/>
                    <a:pt x="308116" y="385977"/>
                  </a:cubicBezTo>
                  <a:cubicBezTo>
                    <a:pt x="308116" y="383048"/>
                    <a:pt x="310532" y="380619"/>
                    <a:pt x="313445" y="380619"/>
                  </a:cubicBezTo>
                  <a:lnTo>
                    <a:pt x="382515" y="380619"/>
                  </a:lnTo>
                  <a:lnTo>
                    <a:pt x="469421" y="341186"/>
                  </a:lnTo>
                  <a:lnTo>
                    <a:pt x="469421" y="23432"/>
                  </a:lnTo>
                  <a:cubicBezTo>
                    <a:pt x="469421" y="16431"/>
                    <a:pt x="463736" y="10716"/>
                    <a:pt x="456772" y="10716"/>
                  </a:cubicBezTo>
                  <a:lnTo>
                    <a:pt x="10660" y="10716"/>
                  </a:lnTo>
                  <a:lnTo>
                    <a:pt x="10660" y="380619"/>
                  </a:lnTo>
                  <a:lnTo>
                    <a:pt x="191578" y="380619"/>
                  </a:lnTo>
                  <a:cubicBezTo>
                    <a:pt x="194491" y="380619"/>
                    <a:pt x="196907" y="383048"/>
                    <a:pt x="196907" y="385977"/>
                  </a:cubicBezTo>
                  <a:cubicBezTo>
                    <a:pt x="196907" y="388906"/>
                    <a:pt x="194491" y="391335"/>
                    <a:pt x="191578" y="391335"/>
                  </a:cubicBezTo>
                  <a:lnTo>
                    <a:pt x="5331" y="391335"/>
                  </a:lnTo>
                  <a:cubicBezTo>
                    <a:pt x="2418" y="391335"/>
                    <a:pt x="2" y="388906"/>
                    <a:pt x="2" y="385977"/>
                  </a:cubicBezTo>
                  <a:lnTo>
                    <a:pt x="2" y="5358"/>
                  </a:lnTo>
                  <a:cubicBezTo>
                    <a:pt x="-70" y="2429"/>
                    <a:pt x="2347" y="0"/>
                    <a:pt x="5260" y="0"/>
                  </a:cubicBezTo>
                  <a:lnTo>
                    <a:pt x="456701" y="0"/>
                  </a:lnTo>
                  <a:cubicBezTo>
                    <a:pt x="469563" y="0"/>
                    <a:pt x="480009" y="10501"/>
                    <a:pt x="480009" y="23432"/>
                  </a:cubicBezTo>
                  <a:lnTo>
                    <a:pt x="480009" y="344615"/>
                  </a:lnTo>
                  <a:cubicBezTo>
                    <a:pt x="480009" y="346686"/>
                    <a:pt x="478801" y="348615"/>
                    <a:pt x="476882" y="349472"/>
                  </a:cubicBezTo>
                  <a:lnTo>
                    <a:pt x="385784" y="390835"/>
                  </a:lnTo>
                  <a:cubicBezTo>
                    <a:pt x="385073" y="391120"/>
                    <a:pt x="384362" y="391335"/>
                    <a:pt x="383581" y="391335"/>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600">
              <a:extLst>
                <a:ext uri="{FF2B5EF4-FFF2-40B4-BE49-F238E27FC236}">
                  <a16:creationId xmlns:a16="http://schemas.microsoft.com/office/drawing/2014/main" id="{F175E72C-7563-9473-1FB3-8940BB23BC54}"/>
                </a:ext>
              </a:extLst>
            </p:cNvPr>
            <p:cNvSpPr/>
            <p:nvPr/>
          </p:nvSpPr>
          <p:spPr>
            <a:xfrm>
              <a:off x="7808632" y="5188644"/>
              <a:ext cx="65090" cy="65436"/>
            </a:xfrm>
            <a:custGeom>
              <a:avLst/>
              <a:gdLst>
                <a:gd name="connsiteX0" fmla="*/ 32545 w 65090"/>
                <a:gd name="connsiteY0" fmla="*/ 65437 h 65436"/>
                <a:gd name="connsiteX1" fmla="*/ 0 w 65090"/>
                <a:gd name="connsiteY1" fmla="*/ 32718 h 65436"/>
                <a:gd name="connsiteX2" fmla="*/ 32545 w 65090"/>
                <a:gd name="connsiteY2" fmla="*/ 0 h 65436"/>
                <a:gd name="connsiteX3" fmla="*/ 65091 w 65090"/>
                <a:gd name="connsiteY3" fmla="*/ 32718 h 65436"/>
                <a:gd name="connsiteX4" fmla="*/ 32545 w 65090"/>
                <a:gd name="connsiteY4" fmla="*/ 65437 h 65436"/>
                <a:gd name="connsiteX5" fmla="*/ 32545 w 65090"/>
                <a:gd name="connsiteY5" fmla="*/ 10716 h 65436"/>
                <a:gd name="connsiteX6" fmla="*/ 10659 w 65090"/>
                <a:gd name="connsiteY6" fmla="*/ 32718 h 65436"/>
                <a:gd name="connsiteX7" fmla="*/ 32545 w 65090"/>
                <a:gd name="connsiteY7" fmla="*/ 54721 h 65436"/>
                <a:gd name="connsiteX8" fmla="*/ 54432 w 65090"/>
                <a:gd name="connsiteY8" fmla="*/ 32718 h 65436"/>
                <a:gd name="connsiteX9" fmla="*/ 32545 w 65090"/>
                <a:gd name="connsiteY9" fmla="*/ 10716 h 6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090" h="65436">
                  <a:moveTo>
                    <a:pt x="32545" y="65437"/>
                  </a:moveTo>
                  <a:cubicBezTo>
                    <a:pt x="14567" y="65437"/>
                    <a:pt x="0" y="50792"/>
                    <a:pt x="0" y="32718"/>
                  </a:cubicBezTo>
                  <a:cubicBezTo>
                    <a:pt x="0" y="14645"/>
                    <a:pt x="14567" y="0"/>
                    <a:pt x="32545" y="0"/>
                  </a:cubicBezTo>
                  <a:cubicBezTo>
                    <a:pt x="50523" y="0"/>
                    <a:pt x="65091" y="14645"/>
                    <a:pt x="65091" y="32718"/>
                  </a:cubicBezTo>
                  <a:cubicBezTo>
                    <a:pt x="65091" y="50792"/>
                    <a:pt x="50523" y="65437"/>
                    <a:pt x="32545" y="65437"/>
                  </a:cubicBezTo>
                  <a:close/>
                  <a:moveTo>
                    <a:pt x="32545" y="10716"/>
                  </a:moveTo>
                  <a:cubicBezTo>
                    <a:pt x="20465" y="10716"/>
                    <a:pt x="10659" y="20574"/>
                    <a:pt x="10659" y="32718"/>
                  </a:cubicBezTo>
                  <a:cubicBezTo>
                    <a:pt x="10659" y="44863"/>
                    <a:pt x="20465" y="54721"/>
                    <a:pt x="32545" y="54721"/>
                  </a:cubicBezTo>
                  <a:cubicBezTo>
                    <a:pt x="44625" y="54721"/>
                    <a:pt x="54432" y="44863"/>
                    <a:pt x="54432" y="32718"/>
                  </a:cubicBezTo>
                  <a:cubicBezTo>
                    <a:pt x="54432" y="20574"/>
                    <a:pt x="44625" y="10716"/>
                    <a:pt x="32545"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601">
              <a:extLst>
                <a:ext uri="{FF2B5EF4-FFF2-40B4-BE49-F238E27FC236}">
                  <a16:creationId xmlns:a16="http://schemas.microsoft.com/office/drawing/2014/main" id="{3F526FC3-ADDC-B336-C322-E8F77BC955FC}"/>
                </a:ext>
              </a:extLst>
            </p:cNvPr>
            <p:cNvSpPr/>
            <p:nvPr/>
          </p:nvSpPr>
          <p:spPr>
            <a:xfrm>
              <a:off x="7509773" y="4881895"/>
              <a:ext cx="89393" cy="352258"/>
            </a:xfrm>
            <a:custGeom>
              <a:avLst/>
              <a:gdLst>
                <a:gd name="connsiteX0" fmla="*/ 84063 w 89392"/>
                <a:gd name="connsiteY0" fmla="*/ 352187 h 352258"/>
                <a:gd name="connsiteX1" fmla="*/ 5329 w 89392"/>
                <a:gd name="connsiteY1" fmla="*/ 352187 h 352258"/>
                <a:gd name="connsiteX2" fmla="*/ 0 w 89392"/>
                <a:gd name="connsiteY2" fmla="*/ 346829 h 352258"/>
                <a:gd name="connsiteX3" fmla="*/ 0 w 89392"/>
                <a:gd name="connsiteY3" fmla="*/ 5358 h 352258"/>
                <a:gd name="connsiteX4" fmla="*/ 5329 w 89392"/>
                <a:gd name="connsiteY4" fmla="*/ 0 h 352258"/>
                <a:gd name="connsiteX5" fmla="*/ 84063 w 89392"/>
                <a:gd name="connsiteY5" fmla="*/ 0 h 352258"/>
                <a:gd name="connsiteX6" fmla="*/ 89393 w 89392"/>
                <a:gd name="connsiteY6" fmla="*/ 5358 h 352258"/>
                <a:gd name="connsiteX7" fmla="*/ 89393 w 89392"/>
                <a:gd name="connsiteY7" fmla="*/ 346901 h 352258"/>
                <a:gd name="connsiteX8" fmla="*/ 84063 w 89392"/>
                <a:gd name="connsiteY8" fmla="*/ 352258 h 352258"/>
                <a:gd name="connsiteX9" fmla="*/ 10659 w 89392"/>
                <a:gd name="connsiteY9" fmla="*/ 341471 h 352258"/>
                <a:gd name="connsiteX10" fmla="*/ 78734 w 89392"/>
                <a:gd name="connsiteY10" fmla="*/ 341471 h 352258"/>
                <a:gd name="connsiteX11" fmla="*/ 78734 w 89392"/>
                <a:gd name="connsiteY11" fmla="*/ 10716 h 352258"/>
                <a:gd name="connsiteX12" fmla="*/ 10659 w 89392"/>
                <a:gd name="connsiteY12" fmla="*/ 10716 h 352258"/>
                <a:gd name="connsiteX13" fmla="*/ 10659 w 89392"/>
                <a:gd name="connsiteY13" fmla="*/ 341543 h 3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92" h="352258">
                  <a:moveTo>
                    <a:pt x="84063" y="352187"/>
                  </a:moveTo>
                  <a:lnTo>
                    <a:pt x="5329" y="352187"/>
                  </a:lnTo>
                  <a:cubicBezTo>
                    <a:pt x="2416" y="352187"/>
                    <a:pt x="0" y="349758"/>
                    <a:pt x="0" y="346829"/>
                  </a:cubicBezTo>
                  <a:lnTo>
                    <a:pt x="0" y="5358"/>
                  </a:lnTo>
                  <a:cubicBezTo>
                    <a:pt x="0" y="2429"/>
                    <a:pt x="2416" y="0"/>
                    <a:pt x="5329" y="0"/>
                  </a:cubicBezTo>
                  <a:lnTo>
                    <a:pt x="84063" y="0"/>
                  </a:lnTo>
                  <a:cubicBezTo>
                    <a:pt x="86977" y="0"/>
                    <a:pt x="89393" y="2429"/>
                    <a:pt x="89393" y="5358"/>
                  </a:cubicBezTo>
                  <a:lnTo>
                    <a:pt x="89393" y="346901"/>
                  </a:lnTo>
                  <a:cubicBezTo>
                    <a:pt x="89393" y="349829"/>
                    <a:pt x="86977" y="352258"/>
                    <a:pt x="84063" y="352258"/>
                  </a:cubicBezTo>
                  <a:close/>
                  <a:moveTo>
                    <a:pt x="10659" y="341471"/>
                  </a:moveTo>
                  <a:lnTo>
                    <a:pt x="78734" y="341471"/>
                  </a:lnTo>
                  <a:lnTo>
                    <a:pt x="78734" y="10716"/>
                  </a:lnTo>
                  <a:lnTo>
                    <a:pt x="10659" y="10716"/>
                  </a:lnTo>
                  <a:lnTo>
                    <a:pt x="10659" y="341543"/>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602">
              <a:extLst>
                <a:ext uri="{FF2B5EF4-FFF2-40B4-BE49-F238E27FC236}">
                  <a16:creationId xmlns:a16="http://schemas.microsoft.com/office/drawing/2014/main" id="{FEBF57C2-9BD3-6FC5-D31F-C25A83273D03}"/>
                </a:ext>
              </a:extLst>
            </p:cNvPr>
            <p:cNvSpPr/>
            <p:nvPr/>
          </p:nvSpPr>
          <p:spPr>
            <a:xfrm>
              <a:off x="7549036" y="4881895"/>
              <a:ext cx="10658" cy="91154"/>
            </a:xfrm>
            <a:custGeom>
              <a:avLst/>
              <a:gdLst>
                <a:gd name="connsiteX0" fmla="*/ 5329 w 10658"/>
                <a:gd name="connsiteY0" fmla="*/ 91154 h 91154"/>
                <a:gd name="connsiteX1" fmla="*/ 0 w 10658"/>
                <a:gd name="connsiteY1" fmla="*/ 85796 h 91154"/>
                <a:gd name="connsiteX2" fmla="*/ 0 w 10658"/>
                <a:gd name="connsiteY2" fmla="*/ 5358 h 91154"/>
                <a:gd name="connsiteX3" fmla="*/ 5329 w 10658"/>
                <a:gd name="connsiteY3" fmla="*/ 0 h 91154"/>
                <a:gd name="connsiteX4" fmla="*/ 10659 w 10658"/>
                <a:gd name="connsiteY4" fmla="*/ 5358 h 91154"/>
                <a:gd name="connsiteX5" fmla="*/ 10659 w 10658"/>
                <a:gd name="connsiteY5" fmla="*/ 85796 h 91154"/>
                <a:gd name="connsiteX6" fmla="*/ 5329 w 10658"/>
                <a:gd name="connsiteY6" fmla="*/ 91154 h 9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58" h="91154">
                  <a:moveTo>
                    <a:pt x="5329" y="91154"/>
                  </a:moveTo>
                  <a:cubicBezTo>
                    <a:pt x="2416" y="91154"/>
                    <a:pt x="0" y="88725"/>
                    <a:pt x="0" y="85796"/>
                  </a:cubicBezTo>
                  <a:lnTo>
                    <a:pt x="0" y="5358"/>
                  </a:lnTo>
                  <a:cubicBezTo>
                    <a:pt x="0" y="2429"/>
                    <a:pt x="2416" y="0"/>
                    <a:pt x="5329" y="0"/>
                  </a:cubicBezTo>
                  <a:cubicBezTo>
                    <a:pt x="8243" y="0"/>
                    <a:pt x="10659" y="2429"/>
                    <a:pt x="10659" y="5358"/>
                  </a:cubicBezTo>
                  <a:lnTo>
                    <a:pt x="10659" y="85796"/>
                  </a:lnTo>
                  <a:cubicBezTo>
                    <a:pt x="10659" y="88725"/>
                    <a:pt x="8243" y="91154"/>
                    <a:pt x="5329" y="9115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603">
              <a:extLst>
                <a:ext uri="{FF2B5EF4-FFF2-40B4-BE49-F238E27FC236}">
                  <a16:creationId xmlns:a16="http://schemas.microsoft.com/office/drawing/2014/main" id="{72CB0321-FEF3-5BC4-99C0-47CFE2561ED3}"/>
                </a:ext>
              </a:extLst>
            </p:cNvPr>
            <p:cNvSpPr/>
            <p:nvPr/>
          </p:nvSpPr>
          <p:spPr>
            <a:xfrm>
              <a:off x="7549079" y="5142929"/>
              <a:ext cx="10658" cy="91154"/>
            </a:xfrm>
            <a:custGeom>
              <a:avLst/>
              <a:gdLst>
                <a:gd name="connsiteX0" fmla="*/ 5329 w 10658"/>
                <a:gd name="connsiteY0" fmla="*/ 91154 h 91154"/>
                <a:gd name="connsiteX1" fmla="*/ 0 w 10658"/>
                <a:gd name="connsiteY1" fmla="*/ 85796 h 91154"/>
                <a:gd name="connsiteX2" fmla="*/ 0 w 10658"/>
                <a:gd name="connsiteY2" fmla="*/ 5358 h 91154"/>
                <a:gd name="connsiteX3" fmla="*/ 5329 w 10658"/>
                <a:gd name="connsiteY3" fmla="*/ 0 h 91154"/>
                <a:gd name="connsiteX4" fmla="*/ 10659 w 10658"/>
                <a:gd name="connsiteY4" fmla="*/ 5358 h 91154"/>
                <a:gd name="connsiteX5" fmla="*/ 10659 w 10658"/>
                <a:gd name="connsiteY5" fmla="*/ 85796 h 91154"/>
                <a:gd name="connsiteX6" fmla="*/ 5329 w 10658"/>
                <a:gd name="connsiteY6" fmla="*/ 91154 h 9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58" h="91154">
                  <a:moveTo>
                    <a:pt x="5329" y="91154"/>
                  </a:moveTo>
                  <a:cubicBezTo>
                    <a:pt x="2416" y="91154"/>
                    <a:pt x="0" y="88725"/>
                    <a:pt x="0" y="85796"/>
                  </a:cubicBezTo>
                  <a:lnTo>
                    <a:pt x="0" y="5358"/>
                  </a:lnTo>
                  <a:cubicBezTo>
                    <a:pt x="0" y="2429"/>
                    <a:pt x="2416" y="0"/>
                    <a:pt x="5329" y="0"/>
                  </a:cubicBezTo>
                  <a:cubicBezTo>
                    <a:pt x="8243" y="0"/>
                    <a:pt x="10659" y="2429"/>
                    <a:pt x="10659" y="5358"/>
                  </a:cubicBezTo>
                  <a:lnTo>
                    <a:pt x="10659" y="85796"/>
                  </a:lnTo>
                  <a:cubicBezTo>
                    <a:pt x="10659" y="88725"/>
                    <a:pt x="8243" y="91154"/>
                    <a:pt x="5329" y="9115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4" name="TextBox 507">
            <a:extLst>
              <a:ext uri="{FF2B5EF4-FFF2-40B4-BE49-F238E27FC236}">
                <a16:creationId xmlns:a16="http://schemas.microsoft.com/office/drawing/2014/main" id="{DF9F54E1-CEDC-A629-A63F-920BF3980ADC}"/>
              </a:ext>
            </a:extLst>
          </p:cNvPr>
          <p:cNvSpPr txBox="1"/>
          <p:nvPr/>
        </p:nvSpPr>
        <p:spPr>
          <a:xfrm>
            <a:off x="6452763" y="3758962"/>
            <a:ext cx="1852683"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Transit</a:t>
            </a:r>
          </a:p>
        </p:txBody>
      </p:sp>
      <p:graphicFrame>
        <p:nvGraphicFramePr>
          <p:cNvPr id="165" name="Table 492">
            <a:extLst>
              <a:ext uri="{FF2B5EF4-FFF2-40B4-BE49-F238E27FC236}">
                <a16:creationId xmlns:a16="http://schemas.microsoft.com/office/drawing/2014/main" id="{353E45BB-7A91-95C3-3974-F8D53DFD7BDE}"/>
              </a:ext>
            </a:extLst>
          </p:cNvPr>
          <p:cNvGraphicFramePr>
            <a:graphicFrameLocks noGrp="1"/>
          </p:cNvGraphicFramePr>
          <p:nvPr/>
        </p:nvGraphicFramePr>
        <p:xfrm>
          <a:off x="6005712" y="4136267"/>
          <a:ext cx="4620960" cy="1413744"/>
        </p:xfrm>
        <a:graphic>
          <a:graphicData uri="http://schemas.openxmlformats.org/drawingml/2006/table">
            <a:tbl>
              <a:tblPr>
                <a:tableStyleId>{9D7B26C5-4107-4FEC-AEDC-1716B250A1EF}</a:tableStyleId>
              </a:tblPr>
              <a:tblGrid>
                <a:gridCol w="2310480">
                  <a:extLst>
                    <a:ext uri="{9D8B030D-6E8A-4147-A177-3AD203B41FA5}">
                      <a16:colId xmlns:a16="http://schemas.microsoft.com/office/drawing/2014/main" val="1584487396"/>
                    </a:ext>
                  </a:extLst>
                </a:gridCol>
                <a:gridCol w="2310480">
                  <a:extLst>
                    <a:ext uri="{9D8B030D-6E8A-4147-A177-3AD203B41FA5}">
                      <a16:colId xmlns:a16="http://schemas.microsoft.com/office/drawing/2014/main" val="1073477736"/>
                    </a:ext>
                  </a:extLst>
                </a:gridCol>
              </a:tblGrid>
              <a:tr h="182880">
                <a:tc>
                  <a:txBody>
                    <a:bodyPr/>
                    <a:lstStyle/>
                    <a:p>
                      <a:pPr algn="ctr" rtl="0" fontAlgn="ctr">
                        <a:spcBef>
                          <a:spcPts val="0"/>
                        </a:spcBef>
                        <a:spcAft>
                          <a:spcPts val="0"/>
                        </a:spcAft>
                      </a:pPr>
                      <a:r>
                        <a:rPr lang="en-US" sz="1200" b="1" u="none" strike="noStrike" noProof="0">
                          <a:solidFill>
                            <a:schemeClr val="bg1"/>
                          </a:solidFill>
                          <a:effectLst/>
                        </a:rPr>
                        <a:t>Maintenance Event</a:t>
                      </a:r>
                      <a:endParaRPr lang="en-US" sz="12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B w="3175" cap="flat" cmpd="sng" algn="ctr">
                      <a:solidFill>
                        <a:srgbClr val="A9A8A6"/>
                      </a:solidFill>
                      <a:prstDash val="solid"/>
                      <a:round/>
                      <a:headEnd type="none" w="med" len="med"/>
                      <a:tailEnd type="none" w="med" len="med"/>
                    </a:lnB>
                    <a:solidFill>
                      <a:schemeClr val="tx1"/>
                    </a:solidFill>
                  </a:tcPr>
                </a:tc>
                <a:tc>
                  <a:txBody>
                    <a:bodyPr/>
                    <a:lstStyle/>
                    <a:p>
                      <a:pPr algn="ctr" rtl="0" fontAlgn="ctr">
                        <a:spcBef>
                          <a:spcPts val="0"/>
                        </a:spcBef>
                        <a:spcAft>
                          <a:spcPts val="0"/>
                        </a:spcAft>
                      </a:pPr>
                      <a:r>
                        <a:rPr lang="en-US" sz="1200" b="1" noProof="0">
                          <a:solidFill>
                            <a:schemeClr val="bg1"/>
                          </a:solidFill>
                          <a:effectLst/>
                        </a:rPr>
                        <a:t>Target</a:t>
                      </a:r>
                      <a:endParaRPr lang="en-US" sz="12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B w="3175" cap="flat" cmpd="sng" algn="ctr">
                      <a:solidFill>
                        <a:srgbClr val="A9A8A6"/>
                      </a:solidFill>
                      <a:prstDash val="solid"/>
                      <a:round/>
                      <a:headEnd type="none" w="med" len="med"/>
                      <a:tailEnd type="none" w="med" len="med"/>
                    </a:lnB>
                    <a:solidFill>
                      <a:schemeClr val="tx1"/>
                    </a:solidFill>
                  </a:tcPr>
                </a:tc>
                <a:extLst>
                  <a:ext uri="{0D108BD9-81ED-4DB2-BD59-A6C34878D82A}">
                    <a16:rowId xmlns:a16="http://schemas.microsoft.com/office/drawing/2014/main" val="3460064979"/>
                  </a:ext>
                </a:extLst>
              </a:tr>
              <a:tr h="182880">
                <a:tc>
                  <a:txBody>
                    <a:bodyPr/>
                    <a:lstStyle/>
                    <a:p>
                      <a:pPr algn="ctr" rtl="0" fontAlgn="ctr">
                        <a:spcBef>
                          <a:spcPts val="0"/>
                        </a:spcBef>
                        <a:spcAft>
                          <a:spcPts val="0"/>
                        </a:spcAft>
                      </a:pPr>
                      <a:r>
                        <a:rPr lang="en-US" sz="1200" b="0" u="none" strike="noStrike" noProof="0">
                          <a:solidFill>
                            <a:srgbClr val="000000"/>
                          </a:solidFill>
                          <a:effectLst/>
                        </a:rPr>
                        <a:t>Oil and filter</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15k / 1500 </a:t>
                      </a:r>
                      <a:r>
                        <a:rPr lang="en-US" sz="1200" noProof="0" err="1">
                          <a:effectLst/>
                        </a:rPr>
                        <a:t>hrs</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4101482269"/>
                  </a:ext>
                </a:extLst>
              </a:tr>
              <a:tr h="182880">
                <a:tc>
                  <a:txBody>
                    <a:bodyPr/>
                    <a:lstStyle/>
                    <a:p>
                      <a:pPr algn="ctr" rtl="0" fontAlgn="ctr">
                        <a:spcBef>
                          <a:spcPts val="0"/>
                        </a:spcBef>
                        <a:spcAft>
                          <a:spcPts val="0"/>
                        </a:spcAft>
                      </a:pPr>
                      <a:r>
                        <a:rPr lang="en-US" sz="1200" b="0" u="none" strike="noStrike" noProof="0">
                          <a:solidFill>
                            <a:srgbClr val="000000"/>
                          </a:solidFill>
                          <a:effectLst/>
                        </a:rPr>
                        <a:t>Valve lash adjustment</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45k mi </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496193975"/>
                  </a:ext>
                </a:extLst>
              </a:tr>
              <a:tr h="182880">
                <a:tc>
                  <a:txBody>
                    <a:bodyPr/>
                    <a:lstStyle/>
                    <a:p>
                      <a:pPr algn="ctr" rtl="0" fontAlgn="ctr">
                        <a:spcBef>
                          <a:spcPts val="0"/>
                        </a:spcBef>
                        <a:spcAft>
                          <a:spcPts val="0"/>
                        </a:spcAft>
                      </a:pPr>
                      <a:r>
                        <a:rPr lang="en-US" sz="1200" b="0" u="none" strike="noStrike" noProof="0">
                          <a:solidFill>
                            <a:srgbClr val="000000"/>
                          </a:solidFill>
                          <a:effectLst/>
                        </a:rPr>
                        <a:t>DPF clean</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5000 </a:t>
                      </a:r>
                      <a:r>
                        <a:rPr lang="en-US" sz="1200" noProof="0" err="1">
                          <a:effectLst/>
                        </a:rPr>
                        <a:t>hrs</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70473948"/>
                  </a:ext>
                </a:extLst>
              </a:tr>
              <a:tr h="182880">
                <a:tc>
                  <a:txBody>
                    <a:bodyPr/>
                    <a:lstStyle/>
                    <a:p>
                      <a:pPr algn="ctr" rtl="0" fontAlgn="ctr">
                        <a:spcBef>
                          <a:spcPts val="0"/>
                        </a:spcBef>
                        <a:spcAft>
                          <a:spcPts val="0"/>
                        </a:spcAft>
                      </a:pPr>
                      <a:r>
                        <a:rPr lang="en-US" sz="1200" b="0" u="none" strike="noStrike" noProof="0">
                          <a:solidFill>
                            <a:srgbClr val="000000"/>
                          </a:solidFill>
                          <a:effectLst/>
                        </a:rPr>
                        <a:t>DEF filter</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60k mi / 6500 </a:t>
                      </a:r>
                      <a:r>
                        <a:rPr lang="en-US" sz="1200" noProof="0" err="1">
                          <a:effectLst/>
                        </a:rPr>
                        <a:t>hrs</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003982871"/>
                  </a:ext>
                </a:extLst>
              </a:tr>
              <a:tr h="182880">
                <a:tc>
                  <a:txBody>
                    <a:bodyPr/>
                    <a:lstStyle/>
                    <a:p>
                      <a:pPr algn="ctr" rtl="0" fontAlgn="ctr">
                        <a:spcBef>
                          <a:spcPts val="0"/>
                        </a:spcBef>
                        <a:spcAft>
                          <a:spcPts val="0"/>
                        </a:spcAft>
                      </a:pPr>
                      <a:r>
                        <a:rPr lang="en-US" sz="1200" b="0" noProof="0">
                          <a:effectLst/>
                        </a:rPr>
                        <a:t>Base warranty</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2 yr / unlimited mi</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3065924489"/>
                  </a:ext>
                </a:extLst>
              </a:tr>
            </a:tbl>
          </a:graphicData>
        </a:graphic>
      </p:graphicFrame>
      <p:sp>
        <p:nvSpPr>
          <p:cNvPr id="50" name="Espaço Reservado para Conteúdo 49">
            <a:extLst>
              <a:ext uri="{FF2B5EF4-FFF2-40B4-BE49-F238E27FC236}">
                <a16:creationId xmlns:a16="http://schemas.microsoft.com/office/drawing/2014/main" id="{18102734-47A0-B6A2-93DF-8D97BF24FB37}"/>
              </a:ext>
            </a:extLst>
          </p:cNvPr>
          <p:cNvSpPr>
            <a:spLocks noGrp="1"/>
          </p:cNvSpPr>
          <p:nvPr>
            <p:ph idx="1"/>
          </p:nvPr>
        </p:nvSpPr>
        <p:spPr/>
        <p:txBody>
          <a:bodyPr/>
          <a:lstStyle/>
          <a:p>
            <a:r>
              <a:rPr kumimoji="0" lang="en-US" sz="2400" u="none" strike="noStrike" kern="1200" cap="none" normalizeH="0" baseline="0" noProof="0">
                <a:ln>
                  <a:noFill/>
                </a:ln>
                <a:solidFill>
                  <a:schemeClr val="accent1"/>
                </a:solidFill>
                <a:effectLst/>
                <a:uLnTx/>
                <a:uFillTx/>
                <a:latin typeface="Aptos" panose="020B0004020202020204" pitchFamily="34" charset="0"/>
                <a:ea typeface="+mn-ea"/>
                <a:cs typeface="Arial" panose="020B0604020202020204" pitchFamily="34" charset="0"/>
              </a:rPr>
              <a:t>Transit</a:t>
            </a:r>
            <a:r>
              <a:rPr lang="en-US" sz="2400" noProof="0">
                <a:solidFill>
                  <a:schemeClr val="accent1"/>
                </a:solidFill>
                <a:latin typeface="Aptos" panose="020B0004020202020204" pitchFamily="34" charset="0"/>
                <a:cs typeface="Arial" panose="020B0604020202020204" pitchFamily="34" charset="0"/>
              </a:rPr>
              <a:t> </a:t>
            </a:r>
            <a:r>
              <a:rPr kumimoji="0" lang="en-US" sz="2400" u="none" strike="noStrike" kern="1200" cap="none" normalizeH="0" baseline="0" noProof="0">
                <a:ln>
                  <a:noFill/>
                </a:ln>
                <a:solidFill>
                  <a:schemeClr val="accent1"/>
                </a:solidFill>
                <a:effectLst/>
                <a:uLnTx/>
                <a:uFillTx/>
                <a:latin typeface="Aptos" panose="020B0004020202020204" pitchFamily="34" charset="0"/>
                <a:ea typeface="+mn-ea"/>
                <a:cs typeface="Arial" panose="020B0604020202020204" pitchFamily="34" charset="0"/>
              </a:rPr>
              <a:t>Application</a:t>
            </a:r>
          </a:p>
          <a:p>
            <a:endParaRPr lang="en-US" noProof="0"/>
          </a:p>
        </p:txBody>
      </p:sp>
      <p:sp>
        <p:nvSpPr>
          <p:cNvPr id="4" name="Rounded Rectangle 56">
            <a:extLst>
              <a:ext uri="{FF2B5EF4-FFF2-40B4-BE49-F238E27FC236}">
                <a16:creationId xmlns:a16="http://schemas.microsoft.com/office/drawing/2014/main" id="{81E04BDA-28F6-8A44-4323-6E7215313CE3}"/>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8" name="Conector Reto 31">
            <a:extLst>
              <a:ext uri="{FF2B5EF4-FFF2-40B4-BE49-F238E27FC236}">
                <a16:creationId xmlns:a16="http://schemas.microsoft.com/office/drawing/2014/main" id="{723CE4B6-AA6E-F01D-C0BA-C83BC9275BCD}"/>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 name="Conector Reto 75">
            <a:extLst>
              <a:ext uri="{FF2B5EF4-FFF2-40B4-BE49-F238E27FC236}">
                <a16:creationId xmlns:a16="http://schemas.microsoft.com/office/drawing/2014/main" id="{6E1AA8E6-EDD9-036B-6681-024921306E26}"/>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 name="Conector Reto 31">
            <a:extLst>
              <a:ext uri="{FF2B5EF4-FFF2-40B4-BE49-F238E27FC236}">
                <a16:creationId xmlns:a16="http://schemas.microsoft.com/office/drawing/2014/main" id="{F05B95EC-5601-8D47-5924-71DF7E27462E}"/>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Conector Reto 31">
            <a:extLst>
              <a:ext uri="{FF2B5EF4-FFF2-40B4-BE49-F238E27FC236}">
                <a16:creationId xmlns:a16="http://schemas.microsoft.com/office/drawing/2014/main" id="{2D8377DA-FEEF-06B5-3BBD-E61FC74BFA87}"/>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78">
            <a:extLst>
              <a:ext uri="{FF2B5EF4-FFF2-40B4-BE49-F238E27FC236}">
                <a16:creationId xmlns:a16="http://schemas.microsoft.com/office/drawing/2014/main" id="{B32D418E-4CE0-FF10-14A3-8235A91A0DC4}"/>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31">
            <a:extLst>
              <a:ext uri="{FF2B5EF4-FFF2-40B4-BE49-F238E27FC236}">
                <a16:creationId xmlns:a16="http://schemas.microsoft.com/office/drawing/2014/main" id="{AECB94F6-4394-9E1E-4CDB-FF201CDC291B}"/>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4" name="CaixaDeTexto 80">
            <a:extLst>
              <a:ext uri="{FF2B5EF4-FFF2-40B4-BE49-F238E27FC236}">
                <a16:creationId xmlns:a16="http://schemas.microsoft.com/office/drawing/2014/main" id="{D04FD7D9-02E6-A840-7459-ECF2846023F3}"/>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25" name="CaixaDeTexto 81">
            <a:extLst>
              <a:ext uri="{FF2B5EF4-FFF2-40B4-BE49-F238E27FC236}">
                <a16:creationId xmlns:a16="http://schemas.microsoft.com/office/drawing/2014/main" id="{7581F162-9126-9034-97D4-9BE72C60FAB6}"/>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26" name="CaixaDeTexto 82">
            <a:extLst>
              <a:ext uri="{FF2B5EF4-FFF2-40B4-BE49-F238E27FC236}">
                <a16:creationId xmlns:a16="http://schemas.microsoft.com/office/drawing/2014/main" id="{C7F91DFA-CBC1-93B6-A1A3-A3FEB7AEF045}"/>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27" name="CaixaDeTexto 83">
            <a:extLst>
              <a:ext uri="{FF2B5EF4-FFF2-40B4-BE49-F238E27FC236}">
                <a16:creationId xmlns:a16="http://schemas.microsoft.com/office/drawing/2014/main" id="{28C2FB68-0B14-2A79-A6D7-E49602A60EE6}"/>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28" name="CaixaDeTexto 84">
            <a:extLst>
              <a:ext uri="{FF2B5EF4-FFF2-40B4-BE49-F238E27FC236}">
                <a16:creationId xmlns:a16="http://schemas.microsoft.com/office/drawing/2014/main" id="{F0D50513-68AF-7945-3804-2084C6DD8E73}"/>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pplications</a:t>
            </a:r>
          </a:p>
        </p:txBody>
      </p:sp>
      <p:sp>
        <p:nvSpPr>
          <p:cNvPr id="29" name="CaixaDeTexto 85">
            <a:extLst>
              <a:ext uri="{FF2B5EF4-FFF2-40B4-BE49-F238E27FC236}">
                <a16:creationId xmlns:a16="http://schemas.microsoft.com/office/drawing/2014/main" id="{C8ACA9DA-9D7C-DBFB-C00C-854E723D07D7}"/>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30" name="CaixaDeTexto 86">
            <a:extLst>
              <a:ext uri="{FF2B5EF4-FFF2-40B4-BE49-F238E27FC236}">
                <a16:creationId xmlns:a16="http://schemas.microsoft.com/office/drawing/2014/main" id="{75D53867-8EC9-212C-9BF4-1EC971B84046}"/>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31" name="CaixaDeTexto 87">
            <a:extLst>
              <a:ext uri="{FF2B5EF4-FFF2-40B4-BE49-F238E27FC236}">
                <a16:creationId xmlns:a16="http://schemas.microsoft.com/office/drawing/2014/main" id="{271F8AB9-0E5A-2787-3C35-FCAA2594DCFC}"/>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32" name="Conector Reto 31">
            <a:extLst>
              <a:ext uri="{FF2B5EF4-FFF2-40B4-BE49-F238E27FC236}">
                <a16:creationId xmlns:a16="http://schemas.microsoft.com/office/drawing/2014/main" id="{8B23FE87-C9CC-EA2E-A2AC-F61B70BCFF7E}"/>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3" name="Conector Reto 31">
            <a:extLst>
              <a:ext uri="{FF2B5EF4-FFF2-40B4-BE49-F238E27FC236}">
                <a16:creationId xmlns:a16="http://schemas.microsoft.com/office/drawing/2014/main" id="{A3937719-657A-7545-ACD2-2C35FD62DAA6}"/>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4" name="Conector Reto 17">
            <a:extLst>
              <a:ext uri="{FF2B5EF4-FFF2-40B4-BE49-F238E27FC236}">
                <a16:creationId xmlns:a16="http://schemas.microsoft.com/office/drawing/2014/main" id="{8238A209-BEC7-69CA-96BA-6372FE7CA2BE}"/>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5" name="Rounded Rectangle 141">
            <a:extLst>
              <a:ext uri="{FF2B5EF4-FFF2-40B4-BE49-F238E27FC236}">
                <a16:creationId xmlns:a16="http://schemas.microsoft.com/office/drawing/2014/main" id="{B4966836-34CD-AE71-3BB5-B495818CB387}"/>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43" name="CaixaDeTexto 89">
            <a:extLst>
              <a:ext uri="{FF2B5EF4-FFF2-40B4-BE49-F238E27FC236}">
                <a16:creationId xmlns:a16="http://schemas.microsoft.com/office/drawing/2014/main" id="{6B7FB172-C799-DC63-4CCC-972C07AEF988}"/>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44" name="Retângulo Arredondado 128">
            <a:extLst>
              <a:ext uri="{FF2B5EF4-FFF2-40B4-BE49-F238E27FC236}">
                <a16:creationId xmlns:a16="http://schemas.microsoft.com/office/drawing/2014/main" id="{4CB24873-B23E-90D2-12E5-74DF625DA1A3}"/>
              </a:ext>
            </a:extLst>
          </p:cNvPr>
          <p:cNvSpPr/>
          <p:nvPr/>
        </p:nvSpPr>
        <p:spPr>
          <a:xfrm>
            <a:off x="8783064"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46" name="TextBox 60">
            <a:extLst>
              <a:ext uri="{FF2B5EF4-FFF2-40B4-BE49-F238E27FC236}">
                <a16:creationId xmlns:a16="http://schemas.microsoft.com/office/drawing/2014/main" id="{468B2465-704B-DDE8-D20A-DF370A7D4AC6}"/>
              </a:ext>
            </a:extLst>
          </p:cNvPr>
          <p:cNvSpPr txBox="1"/>
          <p:nvPr/>
        </p:nvSpPr>
        <p:spPr>
          <a:xfrm>
            <a:off x="8723924"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3/6</a:t>
            </a:r>
          </a:p>
        </p:txBody>
      </p:sp>
      <p:pic>
        <p:nvPicPr>
          <p:cNvPr id="55" name="Gráfico 130" descr="Acento Circunflexo à Direita com preenchimento sólido">
            <a:extLst>
              <a:ext uri="{FF2B5EF4-FFF2-40B4-BE49-F238E27FC236}">
                <a16:creationId xmlns:a16="http://schemas.microsoft.com/office/drawing/2014/main" id="{99C73785-5896-46A6-784E-0ABE99EC0D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2415" y="6546689"/>
            <a:ext cx="156462" cy="156462"/>
          </a:xfrm>
          <a:prstGeom prst="rect">
            <a:avLst/>
          </a:prstGeom>
        </p:spPr>
      </p:pic>
      <p:pic>
        <p:nvPicPr>
          <p:cNvPr id="56" name="Gráfico 131" descr="Acento Circunflexo à Direita com preenchimento sólido">
            <a:extLst>
              <a:ext uri="{FF2B5EF4-FFF2-40B4-BE49-F238E27FC236}">
                <a16:creationId xmlns:a16="http://schemas.microsoft.com/office/drawing/2014/main" id="{60C7EB00-B899-00D7-50CE-B1C0682970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647109" y="6546689"/>
            <a:ext cx="156462" cy="156462"/>
          </a:xfrm>
          <a:prstGeom prst="rect">
            <a:avLst/>
          </a:prstGeom>
        </p:spPr>
      </p:pic>
    </p:spTree>
    <p:extLst>
      <p:ext uri="{BB962C8B-B14F-4D97-AF65-F5344CB8AC3E}">
        <p14:creationId xmlns:p14="http://schemas.microsoft.com/office/powerpoint/2010/main" val="330261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95E3B96-AA00-7259-C066-BC257C88B2C9}"/>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E807C5A0-EF20-4DF7-F0F2-B6986510D829}"/>
              </a:ext>
            </a:extLst>
          </p:cNvPr>
          <p:cNvSpPr/>
          <p:nvPr/>
        </p:nvSpPr>
        <p:spPr>
          <a:xfrm>
            <a:off x="2152149" y="1247695"/>
            <a:ext cx="9252710"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 name="Retângulo Arredondado 125">
            <a:extLst>
              <a:ext uri="{FF2B5EF4-FFF2-40B4-BE49-F238E27FC236}">
                <a16:creationId xmlns:a16="http://schemas.microsoft.com/office/drawing/2014/main" id="{7EDCAEF9-13D4-2F50-AEAD-86709F6BCD01}"/>
              </a:ext>
            </a:extLst>
          </p:cNvPr>
          <p:cNvSpPr/>
          <p:nvPr/>
        </p:nvSpPr>
        <p:spPr>
          <a:xfrm>
            <a:off x="1392865" y="1247695"/>
            <a:ext cx="10011994"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1" name="TextBox 1">
            <a:extLst>
              <a:ext uri="{FF2B5EF4-FFF2-40B4-BE49-F238E27FC236}">
                <a16:creationId xmlns:a16="http://schemas.microsoft.com/office/drawing/2014/main" id="{FE988A5E-3479-D6CF-8A40-6DBD3225A9E1}"/>
              </a:ext>
            </a:extLst>
          </p:cNvPr>
          <p:cNvSpPr txBox="1"/>
          <p:nvPr/>
        </p:nvSpPr>
        <p:spPr>
          <a:xfrm>
            <a:off x="9655420" y="5523980"/>
            <a:ext cx="25365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atest Update: </a:t>
            </a:r>
            <a:r>
              <a:rPr kumimoji="0" lang="en-US" sz="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January 31, 2025</a:t>
            </a:r>
          </a:p>
        </p:txBody>
      </p:sp>
      <p:sp>
        <p:nvSpPr>
          <p:cNvPr id="12" name="TextBox 7">
            <a:extLst>
              <a:ext uri="{FF2B5EF4-FFF2-40B4-BE49-F238E27FC236}">
                <a16:creationId xmlns:a16="http://schemas.microsoft.com/office/drawing/2014/main" id="{D76E0A8F-0A83-3940-7C0B-7C004BEF8696}"/>
              </a:ext>
            </a:extLst>
          </p:cNvPr>
          <p:cNvSpPr txBox="1"/>
          <p:nvPr/>
        </p:nvSpPr>
        <p:spPr>
          <a:xfrm>
            <a:off x="5012598" y="5899433"/>
            <a:ext cx="69456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a:t>
            </a:r>
            <a:r>
              <a:rPr kumimoji="0" lang="en-US" sz="800" b="0" i="0" u="none" strike="noStrike" kern="1200" cap="none" spc="0" normalizeH="0" baseline="0" noProof="0" err="1">
                <a:ln>
                  <a:noFill/>
                </a:ln>
                <a:solidFill>
                  <a:prstClr val="white">
                    <a:lumMod val="65000"/>
                  </a:prstClr>
                </a:solidFill>
                <a:effectLst/>
                <a:uLnTx/>
                <a:uFillTx/>
                <a:latin typeface="Aptos" panose="020B0004020202020204" pitchFamily="34" charset="0"/>
                <a:ea typeface="+mn-ea"/>
                <a:cs typeface="+mn-cs"/>
              </a:rPr>
              <a:t>Quickserve</a:t>
            </a: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 should be used for official maintenance schedule by ESN **Very dependent on oil pan size selected this is high capacity shown</a:t>
            </a:r>
          </a:p>
        </p:txBody>
      </p:sp>
      <p:sp>
        <p:nvSpPr>
          <p:cNvPr id="13" name="TextBox 137">
            <a:extLst>
              <a:ext uri="{FF2B5EF4-FFF2-40B4-BE49-F238E27FC236}">
                <a16:creationId xmlns:a16="http://schemas.microsoft.com/office/drawing/2014/main" id="{01CB6AFD-26FD-0104-F7F2-974AC1103BE3}"/>
              </a:ext>
            </a:extLst>
          </p:cNvPr>
          <p:cNvSpPr txBox="1"/>
          <p:nvPr/>
        </p:nvSpPr>
        <p:spPr>
          <a:xfrm>
            <a:off x="4954772" y="1864221"/>
            <a:ext cx="6071191" cy="1131079"/>
          </a:xfrm>
          <a:prstGeom prst="rect">
            <a:avLst/>
          </a:prstGeom>
          <a:noFill/>
        </p:spPr>
        <p:txBody>
          <a:bodyPr wrap="square" lIns="0" tIns="0" rIns="0" bIns="0" rtlCol="0" anchor="t">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Times New Roman" panose="02020603050405020304" pitchFamily="18" charset="0"/>
              </a:rPr>
              <a:t>Designed for efficiency and longevity, the X10 minimizes the need for frequent maintenance, offering lower service costs</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Delivering up to </a:t>
            </a:r>
            <a:r>
              <a:rPr kumimoji="0" lang="en-US" sz="1050" b="1" i="0" u="none" strike="noStrike" kern="12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450 hp </a:t>
            </a: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and </a:t>
            </a:r>
            <a:r>
              <a:rPr kumimoji="0" lang="en-US" sz="1050" b="1" i="0" u="none" strike="noStrike" kern="12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1650 lb-ft </a:t>
            </a: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torque, improving towing capacity and driving comfort even with heavy loads or challenging terrains</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Cummins Sales &amp; Service Network offers RV owners </a:t>
            </a:r>
            <a:r>
              <a:rPr kumimoji="0" lang="en-US" sz="1050" b="1" i="0" u="none" strike="noStrike" kern="12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access to thousands of service locations</a:t>
            </a: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Times New Roman" panose="02020603050405020304" pitchFamily="18" charset="0"/>
              </a:rPr>
              <a:t>, ensuring they have the resources and information needed to stay informed and maintain optimal performance </a:t>
            </a:r>
            <a:endPar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14" name="Group 493">
            <a:extLst>
              <a:ext uri="{FF2B5EF4-FFF2-40B4-BE49-F238E27FC236}">
                <a16:creationId xmlns:a16="http://schemas.microsoft.com/office/drawing/2014/main" id="{8ED87477-DD73-C86C-3DF2-8AFF38774CD8}"/>
              </a:ext>
            </a:extLst>
          </p:cNvPr>
          <p:cNvGrpSpPr/>
          <p:nvPr/>
        </p:nvGrpSpPr>
        <p:grpSpPr>
          <a:xfrm>
            <a:off x="8325989" y="3197625"/>
            <a:ext cx="2093918" cy="770439"/>
            <a:chOff x="8236426" y="3957185"/>
            <a:chExt cx="2093918" cy="770439"/>
          </a:xfrm>
        </p:grpSpPr>
        <p:sp>
          <p:nvSpPr>
            <p:cNvPr id="15" name="TextBox 496">
              <a:extLst>
                <a:ext uri="{FF2B5EF4-FFF2-40B4-BE49-F238E27FC236}">
                  <a16:creationId xmlns:a16="http://schemas.microsoft.com/office/drawing/2014/main" id="{06A24488-260D-B8E5-C2BC-976DECC5BAC3}"/>
                </a:ext>
              </a:extLst>
            </p:cNvPr>
            <p:cNvSpPr txBox="1"/>
            <p:nvPr/>
          </p:nvSpPr>
          <p:spPr>
            <a:xfrm>
              <a:off x="8236426" y="3957185"/>
              <a:ext cx="86389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Value Package</a:t>
              </a:r>
            </a:p>
          </p:txBody>
        </p:sp>
        <p:sp>
          <p:nvSpPr>
            <p:cNvPr id="16" name="TextBox 497">
              <a:extLst>
                <a:ext uri="{FF2B5EF4-FFF2-40B4-BE49-F238E27FC236}">
                  <a16:creationId xmlns:a16="http://schemas.microsoft.com/office/drawing/2014/main" id="{94E09D5B-B513-296F-B818-D3ECD779756B}"/>
                </a:ext>
              </a:extLst>
            </p:cNvPr>
            <p:cNvSpPr txBox="1"/>
            <p:nvPr/>
          </p:nvSpPr>
          <p:spPr>
            <a:xfrm>
              <a:off x="8946184" y="3958183"/>
              <a:ext cx="1384160" cy="769441"/>
            </a:xfrm>
            <a:prstGeom prst="rect">
              <a:avLst/>
            </a:prstGeom>
            <a:noFill/>
          </p:spPr>
          <p:txBody>
            <a:bodyPr wrap="square" rtlCol="0">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Reliabilit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Lower total costs of ownership</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Serviceability </a:t>
              </a:r>
            </a:p>
          </p:txBody>
        </p:sp>
      </p:grpSp>
      <p:sp>
        <p:nvSpPr>
          <p:cNvPr id="17" name="CaixaDeTexto 16">
            <a:extLst>
              <a:ext uri="{FF2B5EF4-FFF2-40B4-BE49-F238E27FC236}">
                <a16:creationId xmlns:a16="http://schemas.microsoft.com/office/drawing/2014/main" id="{6A62F3B7-45E2-4269-8F71-58E03AA49161}"/>
              </a:ext>
            </a:extLst>
          </p:cNvPr>
          <p:cNvSpPr txBox="1"/>
          <p:nvPr/>
        </p:nvSpPr>
        <p:spPr>
          <a:xfrm>
            <a:off x="4950584" y="1508356"/>
            <a:ext cx="21084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9281C"/>
                </a:solidFill>
                <a:effectLst/>
                <a:uLnTx/>
                <a:uFillTx/>
                <a:latin typeface="Aptos" panose="020B0004020202020204" pitchFamily="34" charset="0"/>
                <a:ea typeface="+mn-ea"/>
                <a:cs typeface="+mn-cs"/>
              </a:rPr>
              <a:t>Differentiators</a:t>
            </a:r>
          </a:p>
        </p:txBody>
      </p:sp>
      <p:sp>
        <p:nvSpPr>
          <p:cNvPr id="18" name="TextBox 506">
            <a:extLst>
              <a:ext uri="{FF2B5EF4-FFF2-40B4-BE49-F238E27FC236}">
                <a16:creationId xmlns:a16="http://schemas.microsoft.com/office/drawing/2014/main" id="{1E7949F7-ECA5-DCBF-111E-E6009C93FF15}"/>
              </a:ext>
            </a:extLst>
          </p:cNvPr>
          <p:cNvSpPr txBox="1"/>
          <p:nvPr/>
        </p:nvSpPr>
        <p:spPr>
          <a:xfrm>
            <a:off x="5374294" y="3179127"/>
            <a:ext cx="103713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Primary Applications</a:t>
            </a:r>
          </a:p>
        </p:txBody>
      </p:sp>
      <p:sp>
        <p:nvSpPr>
          <p:cNvPr id="68" name="Rounded Rectangle 3">
            <a:extLst>
              <a:ext uri="{FF2B5EF4-FFF2-40B4-BE49-F238E27FC236}">
                <a16:creationId xmlns:a16="http://schemas.microsoft.com/office/drawing/2014/main" id="{AF204E21-7D11-6119-18E4-32ACAC94FBAE}"/>
              </a:ext>
            </a:extLst>
          </p:cNvPr>
          <p:cNvSpPr/>
          <p:nvPr/>
        </p:nvSpPr>
        <p:spPr>
          <a:xfrm>
            <a:off x="1668319" y="1499192"/>
            <a:ext cx="2903681" cy="1924492"/>
          </a:xfrm>
          <a:prstGeom prst="roundRect">
            <a:avLst>
              <a:gd name="adj" fmla="val 10351"/>
            </a:avLst>
          </a:prstGeom>
          <a:blipFill>
            <a:blip r:embed="rId3" cstate="screen">
              <a:extLst>
                <a:ext uri="{28A0092B-C50C-407E-A947-70E740481C1C}">
                  <a14:useLocalDpi xmlns:a14="http://schemas.microsoft.com/office/drawing/2010/main"/>
                </a:ext>
              </a:extLst>
            </a:blip>
            <a:srcRect/>
            <a:stretch>
              <a:fillRect l="-1417" t="-3575" r="-11352" b="-1353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ounded Rectangle 3">
            <a:extLst>
              <a:ext uri="{FF2B5EF4-FFF2-40B4-BE49-F238E27FC236}">
                <a16:creationId xmlns:a16="http://schemas.microsoft.com/office/drawing/2014/main" id="{7DE727E3-1E14-90F5-493D-24CCABD155A4}"/>
              </a:ext>
            </a:extLst>
          </p:cNvPr>
          <p:cNvSpPr/>
          <p:nvPr/>
        </p:nvSpPr>
        <p:spPr>
          <a:xfrm>
            <a:off x="1668319" y="3589778"/>
            <a:ext cx="2903681" cy="2045478"/>
          </a:xfrm>
          <a:prstGeom prst="roundRect">
            <a:avLst>
              <a:gd name="adj" fmla="val 10351"/>
            </a:avLst>
          </a:prstGeom>
          <a:blipFill>
            <a:blip r:embed="rId4" cstate="screen">
              <a:extLst>
                <a:ext uri="{28A0092B-C50C-407E-A947-70E740481C1C}">
                  <a14:useLocalDpi xmlns:a14="http://schemas.microsoft.com/office/drawing/2010/main"/>
                </a:ext>
              </a:extLst>
            </a:blip>
            <a:stretch>
              <a:fillRect l="-22221" r="-6956" b="-1040"/>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TextBox 507">
            <a:extLst>
              <a:ext uri="{FF2B5EF4-FFF2-40B4-BE49-F238E27FC236}">
                <a16:creationId xmlns:a16="http://schemas.microsoft.com/office/drawing/2014/main" id="{9761B01B-847D-D691-34A9-494A9312F23B}"/>
              </a:ext>
            </a:extLst>
          </p:cNvPr>
          <p:cNvSpPr txBox="1"/>
          <p:nvPr/>
        </p:nvSpPr>
        <p:spPr>
          <a:xfrm>
            <a:off x="6195603" y="3684534"/>
            <a:ext cx="1852683"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Recreational Vehicle</a:t>
            </a:r>
          </a:p>
        </p:txBody>
      </p:sp>
      <p:grpSp>
        <p:nvGrpSpPr>
          <p:cNvPr id="73" name="Group 1">
            <a:extLst>
              <a:ext uri="{FF2B5EF4-FFF2-40B4-BE49-F238E27FC236}">
                <a16:creationId xmlns:a16="http://schemas.microsoft.com/office/drawing/2014/main" id="{48B3D94F-B0B1-4ABF-0AD2-CAA4FE7DA2F9}"/>
              </a:ext>
            </a:extLst>
          </p:cNvPr>
          <p:cNvGrpSpPr>
            <a:grpSpLocks noChangeAspect="1"/>
          </p:cNvGrpSpPr>
          <p:nvPr/>
        </p:nvGrpSpPr>
        <p:grpSpPr>
          <a:xfrm>
            <a:off x="6731308" y="3225706"/>
            <a:ext cx="711168" cy="385060"/>
            <a:chOff x="3579203" y="4969002"/>
            <a:chExt cx="846513" cy="458342"/>
          </a:xfrm>
          <a:solidFill>
            <a:schemeClr val="tx1"/>
          </a:solidFill>
        </p:grpSpPr>
        <p:sp>
          <p:nvSpPr>
            <p:cNvPr id="74" name="Freeform 417">
              <a:extLst>
                <a:ext uri="{FF2B5EF4-FFF2-40B4-BE49-F238E27FC236}">
                  <a16:creationId xmlns:a16="http://schemas.microsoft.com/office/drawing/2014/main" id="{0F18C17B-4BD2-25FA-9F8B-67D69D349E72}"/>
                </a:ext>
              </a:extLst>
            </p:cNvPr>
            <p:cNvSpPr/>
            <p:nvPr/>
          </p:nvSpPr>
          <p:spPr>
            <a:xfrm>
              <a:off x="4227961" y="5282755"/>
              <a:ext cx="144184" cy="144589"/>
            </a:xfrm>
            <a:custGeom>
              <a:avLst/>
              <a:gdLst>
                <a:gd name="connsiteX0" fmla="*/ 72092 w 144184"/>
                <a:gd name="connsiteY0" fmla="*/ 144590 h 144589"/>
                <a:gd name="connsiteX1" fmla="*/ 0 w 144184"/>
                <a:gd name="connsiteY1" fmla="*/ 72295 h 144589"/>
                <a:gd name="connsiteX2" fmla="*/ 72092 w 144184"/>
                <a:gd name="connsiteY2" fmla="*/ 0 h 144589"/>
                <a:gd name="connsiteX3" fmla="*/ 144184 w 144184"/>
                <a:gd name="connsiteY3" fmla="*/ 72295 h 144589"/>
                <a:gd name="connsiteX4" fmla="*/ 72092 w 144184"/>
                <a:gd name="connsiteY4" fmla="*/ 144590 h 144589"/>
                <a:gd name="connsiteX5" fmla="*/ 72092 w 144184"/>
                <a:gd name="connsiteY5" fmla="*/ 10716 h 144589"/>
                <a:gd name="connsiteX6" fmla="*/ 10686 w 144184"/>
                <a:gd name="connsiteY6" fmla="*/ 72295 h 144589"/>
                <a:gd name="connsiteX7" fmla="*/ 72092 w 144184"/>
                <a:gd name="connsiteY7" fmla="*/ 133874 h 144589"/>
                <a:gd name="connsiteX8" fmla="*/ 133499 w 144184"/>
                <a:gd name="connsiteY8" fmla="*/ 72295 h 144589"/>
                <a:gd name="connsiteX9" fmla="*/ 72092 w 144184"/>
                <a:gd name="connsiteY9" fmla="*/ 10716 h 14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184" h="144589">
                  <a:moveTo>
                    <a:pt x="72092" y="144590"/>
                  </a:moveTo>
                  <a:cubicBezTo>
                    <a:pt x="32342" y="144590"/>
                    <a:pt x="0" y="112157"/>
                    <a:pt x="0" y="72295"/>
                  </a:cubicBezTo>
                  <a:cubicBezTo>
                    <a:pt x="0" y="32433"/>
                    <a:pt x="32342" y="0"/>
                    <a:pt x="72092" y="0"/>
                  </a:cubicBezTo>
                  <a:cubicBezTo>
                    <a:pt x="111843" y="0"/>
                    <a:pt x="144184" y="32433"/>
                    <a:pt x="144184" y="72295"/>
                  </a:cubicBezTo>
                  <a:cubicBezTo>
                    <a:pt x="144184" y="112157"/>
                    <a:pt x="111843" y="144590"/>
                    <a:pt x="72092" y="144590"/>
                  </a:cubicBezTo>
                  <a:close/>
                  <a:moveTo>
                    <a:pt x="72092" y="10716"/>
                  </a:moveTo>
                  <a:cubicBezTo>
                    <a:pt x="38255" y="10716"/>
                    <a:pt x="10686" y="38362"/>
                    <a:pt x="10686" y="72295"/>
                  </a:cubicBezTo>
                  <a:cubicBezTo>
                    <a:pt x="10686" y="106228"/>
                    <a:pt x="38255" y="133874"/>
                    <a:pt x="72092" y="133874"/>
                  </a:cubicBezTo>
                  <a:cubicBezTo>
                    <a:pt x="105930" y="133874"/>
                    <a:pt x="133499" y="106228"/>
                    <a:pt x="133499" y="72295"/>
                  </a:cubicBezTo>
                  <a:cubicBezTo>
                    <a:pt x="133499" y="38362"/>
                    <a:pt x="105930" y="10716"/>
                    <a:pt x="72092"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418">
              <a:extLst>
                <a:ext uri="{FF2B5EF4-FFF2-40B4-BE49-F238E27FC236}">
                  <a16:creationId xmlns:a16="http://schemas.microsoft.com/office/drawing/2014/main" id="{66BE33C0-07B9-DC06-6E27-F9C9D5ACEDD2}"/>
                </a:ext>
              </a:extLst>
            </p:cNvPr>
            <p:cNvSpPr/>
            <p:nvPr/>
          </p:nvSpPr>
          <p:spPr>
            <a:xfrm>
              <a:off x="4267427" y="5322331"/>
              <a:ext cx="65253" cy="65436"/>
            </a:xfrm>
            <a:custGeom>
              <a:avLst/>
              <a:gdLst>
                <a:gd name="connsiteX0" fmla="*/ 32627 w 65253"/>
                <a:gd name="connsiteY0" fmla="*/ 65437 h 65436"/>
                <a:gd name="connsiteX1" fmla="*/ 0 w 65253"/>
                <a:gd name="connsiteY1" fmla="*/ 32718 h 65436"/>
                <a:gd name="connsiteX2" fmla="*/ 32627 w 65253"/>
                <a:gd name="connsiteY2" fmla="*/ 0 h 65436"/>
                <a:gd name="connsiteX3" fmla="*/ 65253 w 65253"/>
                <a:gd name="connsiteY3" fmla="*/ 32718 h 65436"/>
                <a:gd name="connsiteX4" fmla="*/ 32627 w 65253"/>
                <a:gd name="connsiteY4" fmla="*/ 65437 h 65436"/>
                <a:gd name="connsiteX5" fmla="*/ 32627 w 65253"/>
                <a:gd name="connsiteY5" fmla="*/ 10716 h 65436"/>
                <a:gd name="connsiteX6" fmla="*/ 10686 w 65253"/>
                <a:gd name="connsiteY6" fmla="*/ 32718 h 65436"/>
                <a:gd name="connsiteX7" fmla="*/ 32627 w 65253"/>
                <a:gd name="connsiteY7" fmla="*/ 54721 h 65436"/>
                <a:gd name="connsiteX8" fmla="*/ 54568 w 65253"/>
                <a:gd name="connsiteY8" fmla="*/ 32718 h 65436"/>
                <a:gd name="connsiteX9" fmla="*/ 32627 w 65253"/>
                <a:gd name="connsiteY9" fmla="*/ 10716 h 6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53" h="65436">
                  <a:moveTo>
                    <a:pt x="32627" y="65437"/>
                  </a:moveTo>
                  <a:cubicBezTo>
                    <a:pt x="14604" y="65437"/>
                    <a:pt x="0" y="50792"/>
                    <a:pt x="0" y="32718"/>
                  </a:cubicBezTo>
                  <a:cubicBezTo>
                    <a:pt x="0" y="14645"/>
                    <a:pt x="14604" y="0"/>
                    <a:pt x="32627" y="0"/>
                  </a:cubicBezTo>
                  <a:cubicBezTo>
                    <a:pt x="50650" y="0"/>
                    <a:pt x="65253" y="14645"/>
                    <a:pt x="65253" y="32718"/>
                  </a:cubicBezTo>
                  <a:cubicBezTo>
                    <a:pt x="65253" y="50792"/>
                    <a:pt x="50650" y="65437"/>
                    <a:pt x="32627" y="65437"/>
                  </a:cubicBezTo>
                  <a:close/>
                  <a:moveTo>
                    <a:pt x="32627" y="10716"/>
                  </a:moveTo>
                  <a:cubicBezTo>
                    <a:pt x="20516" y="10716"/>
                    <a:pt x="10686" y="20574"/>
                    <a:pt x="10686" y="32718"/>
                  </a:cubicBezTo>
                  <a:cubicBezTo>
                    <a:pt x="10686" y="44863"/>
                    <a:pt x="20516" y="54721"/>
                    <a:pt x="32627" y="54721"/>
                  </a:cubicBezTo>
                  <a:cubicBezTo>
                    <a:pt x="44737" y="54721"/>
                    <a:pt x="54568" y="44863"/>
                    <a:pt x="54568" y="32718"/>
                  </a:cubicBezTo>
                  <a:cubicBezTo>
                    <a:pt x="54568" y="20574"/>
                    <a:pt x="44737" y="10716"/>
                    <a:pt x="32627"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419">
              <a:extLst>
                <a:ext uri="{FF2B5EF4-FFF2-40B4-BE49-F238E27FC236}">
                  <a16:creationId xmlns:a16="http://schemas.microsoft.com/office/drawing/2014/main" id="{B9DEBDAA-CFB3-32C2-D2C7-6F88429C7343}"/>
                </a:ext>
              </a:extLst>
            </p:cNvPr>
            <p:cNvSpPr/>
            <p:nvPr/>
          </p:nvSpPr>
          <p:spPr>
            <a:xfrm>
              <a:off x="3853823" y="5349692"/>
              <a:ext cx="384824" cy="10715"/>
            </a:xfrm>
            <a:custGeom>
              <a:avLst/>
              <a:gdLst>
                <a:gd name="connsiteX0" fmla="*/ 379482 w 384824"/>
                <a:gd name="connsiteY0" fmla="*/ 10716 h 10715"/>
                <a:gd name="connsiteX1" fmla="*/ 5343 w 384824"/>
                <a:gd name="connsiteY1" fmla="*/ 10716 h 10715"/>
                <a:gd name="connsiteX2" fmla="*/ 0 w 384824"/>
                <a:gd name="connsiteY2" fmla="*/ 5358 h 10715"/>
                <a:gd name="connsiteX3" fmla="*/ 5343 w 384824"/>
                <a:gd name="connsiteY3" fmla="*/ 0 h 10715"/>
                <a:gd name="connsiteX4" fmla="*/ 379482 w 384824"/>
                <a:gd name="connsiteY4" fmla="*/ 0 h 10715"/>
                <a:gd name="connsiteX5" fmla="*/ 384824 w 384824"/>
                <a:gd name="connsiteY5" fmla="*/ 5358 h 10715"/>
                <a:gd name="connsiteX6" fmla="*/ 379482 w 384824"/>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824" h="10715">
                  <a:moveTo>
                    <a:pt x="379482" y="10716"/>
                  </a:moveTo>
                  <a:lnTo>
                    <a:pt x="5343" y="10716"/>
                  </a:lnTo>
                  <a:cubicBezTo>
                    <a:pt x="2422" y="10716"/>
                    <a:pt x="0" y="8287"/>
                    <a:pt x="0" y="5358"/>
                  </a:cubicBezTo>
                  <a:cubicBezTo>
                    <a:pt x="0" y="2429"/>
                    <a:pt x="2422" y="0"/>
                    <a:pt x="5343" y="0"/>
                  </a:cubicBezTo>
                  <a:lnTo>
                    <a:pt x="379482" y="0"/>
                  </a:lnTo>
                  <a:cubicBezTo>
                    <a:pt x="382402" y="0"/>
                    <a:pt x="384824" y="2429"/>
                    <a:pt x="384824" y="5358"/>
                  </a:cubicBezTo>
                  <a:cubicBezTo>
                    <a:pt x="384824" y="8287"/>
                    <a:pt x="382402" y="10716"/>
                    <a:pt x="379482"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420">
              <a:extLst>
                <a:ext uri="{FF2B5EF4-FFF2-40B4-BE49-F238E27FC236}">
                  <a16:creationId xmlns:a16="http://schemas.microsoft.com/office/drawing/2014/main" id="{C785B097-13DC-D3D3-DA72-5E7588960F22}"/>
                </a:ext>
              </a:extLst>
            </p:cNvPr>
            <p:cNvSpPr/>
            <p:nvPr/>
          </p:nvSpPr>
          <p:spPr>
            <a:xfrm>
              <a:off x="3625222" y="5009292"/>
              <a:ext cx="800494" cy="351115"/>
            </a:xfrm>
            <a:custGeom>
              <a:avLst/>
              <a:gdLst>
                <a:gd name="connsiteX0" fmla="*/ 794724 w 800494"/>
                <a:gd name="connsiteY0" fmla="*/ 351115 h 351115"/>
                <a:gd name="connsiteX1" fmla="*/ 742507 w 800494"/>
                <a:gd name="connsiteY1" fmla="*/ 351115 h 351115"/>
                <a:gd name="connsiteX2" fmla="*/ 737165 w 800494"/>
                <a:gd name="connsiteY2" fmla="*/ 345758 h 351115"/>
                <a:gd name="connsiteX3" fmla="*/ 742507 w 800494"/>
                <a:gd name="connsiteY3" fmla="*/ 340400 h 351115"/>
                <a:gd name="connsiteX4" fmla="*/ 789453 w 800494"/>
                <a:gd name="connsiteY4" fmla="*/ 340400 h 351115"/>
                <a:gd name="connsiteX5" fmla="*/ 789809 w 800494"/>
                <a:gd name="connsiteY5" fmla="*/ 305395 h 351115"/>
                <a:gd name="connsiteX6" fmla="*/ 780548 w 800494"/>
                <a:gd name="connsiteY6" fmla="*/ 305252 h 351115"/>
                <a:gd name="connsiteX7" fmla="*/ 775277 w 800494"/>
                <a:gd name="connsiteY7" fmla="*/ 299895 h 351115"/>
                <a:gd name="connsiteX8" fmla="*/ 775277 w 800494"/>
                <a:gd name="connsiteY8" fmla="*/ 191095 h 351115"/>
                <a:gd name="connsiteX9" fmla="*/ 708242 w 800494"/>
                <a:gd name="connsiteY9" fmla="*/ 10716 h 351115"/>
                <a:gd name="connsiteX10" fmla="*/ 23437 w 800494"/>
                <a:gd name="connsiteY10" fmla="*/ 10716 h 351115"/>
                <a:gd name="connsiteX11" fmla="*/ 10757 w 800494"/>
                <a:gd name="connsiteY11" fmla="*/ 23432 h 351115"/>
                <a:gd name="connsiteX12" fmla="*/ 10757 w 800494"/>
                <a:gd name="connsiteY12" fmla="*/ 340328 h 351115"/>
                <a:gd name="connsiteX13" fmla="*/ 100516 w 800494"/>
                <a:gd name="connsiteY13" fmla="*/ 340328 h 351115"/>
                <a:gd name="connsiteX14" fmla="*/ 105859 w 800494"/>
                <a:gd name="connsiteY14" fmla="*/ 345686 h 351115"/>
                <a:gd name="connsiteX15" fmla="*/ 100516 w 800494"/>
                <a:gd name="connsiteY15" fmla="*/ 351044 h 351115"/>
                <a:gd name="connsiteX16" fmla="*/ 5343 w 800494"/>
                <a:gd name="connsiteY16" fmla="*/ 351044 h 351115"/>
                <a:gd name="connsiteX17" fmla="*/ 0 w 800494"/>
                <a:gd name="connsiteY17" fmla="*/ 345686 h 351115"/>
                <a:gd name="connsiteX18" fmla="*/ 0 w 800494"/>
                <a:gd name="connsiteY18" fmla="*/ 23432 h 351115"/>
                <a:gd name="connsiteX19" fmla="*/ 23366 w 800494"/>
                <a:gd name="connsiteY19" fmla="*/ 0 h 351115"/>
                <a:gd name="connsiteX20" fmla="*/ 711875 w 800494"/>
                <a:gd name="connsiteY20" fmla="*/ 0 h 351115"/>
                <a:gd name="connsiteX21" fmla="*/ 716862 w 800494"/>
                <a:gd name="connsiteY21" fmla="*/ 3500 h 351115"/>
                <a:gd name="connsiteX22" fmla="*/ 785535 w 800494"/>
                <a:gd name="connsiteY22" fmla="*/ 188309 h 351115"/>
                <a:gd name="connsiteX23" fmla="*/ 785891 w 800494"/>
                <a:gd name="connsiteY23" fmla="*/ 190167 h 351115"/>
                <a:gd name="connsiteX24" fmla="*/ 785891 w 800494"/>
                <a:gd name="connsiteY24" fmla="*/ 294608 h 351115"/>
                <a:gd name="connsiteX25" fmla="*/ 795223 w 800494"/>
                <a:gd name="connsiteY25" fmla="*/ 294751 h 351115"/>
                <a:gd name="connsiteX26" fmla="*/ 800495 w 800494"/>
                <a:gd name="connsiteY26" fmla="*/ 300180 h 351115"/>
                <a:gd name="connsiteX27" fmla="*/ 799996 w 800494"/>
                <a:gd name="connsiteY27" fmla="*/ 345758 h 351115"/>
                <a:gd name="connsiteX28" fmla="*/ 794653 w 800494"/>
                <a:gd name="connsiteY28" fmla="*/ 351044 h 35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0494" h="351115">
                  <a:moveTo>
                    <a:pt x="794724" y="351115"/>
                  </a:moveTo>
                  <a:lnTo>
                    <a:pt x="742507" y="351115"/>
                  </a:lnTo>
                  <a:cubicBezTo>
                    <a:pt x="739587" y="351115"/>
                    <a:pt x="737165" y="348686"/>
                    <a:pt x="737165" y="345758"/>
                  </a:cubicBezTo>
                  <a:cubicBezTo>
                    <a:pt x="737165" y="342829"/>
                    <a:pt x="739587" y="340400"/>
                    <a:pt x="742507" y="340400"/>
                  </a:cubicBezTo>
                  <a:lnTo>
                    <a:pt x="789453" y="340400"/>
                  </a:lnTo>
                  <a:lnTo>
                    <a:pt x="789809" y="305395"/>
                  </a:lnTo>
                  <a:lnTo>
                    <a:pt x="780548" y="305252"/>
                  </a:lnTo>
                  <a:cubicBezTo>
                    <a:pt x="777627" y="305252"/>
                    <a:pt x="775277" y="302824"/>
                    <a:pt x="775277" y="299895"/>
                  </a:cubicBezTo>
                  <a:lnTo>
                    <a:pt x="775277" y="191095"/>
                  </a:lnTo>
                  <a:lnTo>
                    <a:pt x="708242" y="10716"/>
                  </a:lnTo>
                  <a:lnTo>
                    <a:pt x="23437" y="10716"/>
                  </a:lnTo>
                  <a:cubicBezTo>
                    <a:pt x="16456" y="10716"/>
                    <a:pt x="10757" y="16431"/>
                    <a:pt x="10757" y="23432"/>
                  </a:cubicBezTo>
                  <a:lnTo>
                    <a:pt x="10757" y="340328"/>
                  </a:lnTo>
                  <a:lnTo>
                    <a:pt x="100516" y="340328"/>
                  </a:lnTo>
                  <a:cubicBezTo>
                    <a:pt x="103437" y="340328"/>
                    <a:pt x="105859" y="342757"/>
                    <a:pt x="105859" y="345686"/>
                  </a:cubicBezTo>
                  <a:cubicBezTo>
                    <a:pt x="105859" y="348615"/>
                    <a:pt x="103437" y="351044"/>
                    <a:pt x="100516" y="351044"/>
                  </a:cubicBezTo>
                  <a:lnTo>
                    <a:pt x="5343" y="351044"/>
                  </a:lnTo>
                  <a:cubicBezTo>
                    <a:pt x="2422" y="351044"/>
                    <a:pt x="0" y="348615"/>
                    <a:pt x="0" y="345686"/>
                  </a:cubicBezTo>
                  <a:lnTo>
                    <a:pt x="0" y="23432"/>
                  </a:lnTo>
                  <a:cubicBezTo>
                    <a:pt x="0" y="10501"/>
                    <a:pt x="10472" y="0"/>
                    <a:pt x="23366" y="0"/>
                  </a:cubicBezTo>
                  <a:lnTo>
                    <a:pt x="711875" y="0"/>
                  </a:lnTo>
                  <a:cubicBezTo>
                    <a:pt x="714084" y="0"/>
                    <a:pt x="716078" y="1357"/>
                    <a:pt x="716862" y="3500"/>
                  </a:cubicBezTo>
                  <a:lnTo>
                    <a:pt x="785535" y="188309"/>
                  </a:lnTo>
                  <a:cubicBezTo>
                    <a:pt x="785749" y="188881"/>
                    <a:pt x="785891" y="189524"/>
                    <a:pt x="785891" y="190167"/>
                  </a:cubicBezTo>
                  <a:lnTo>
                    <a:pt x="785891" y="294608"/>
                  </a:lnTo>
                  <a:lnTo>
                    <a:pt x="795223" y="294751"/>
                  </a:lnTo>
                  <a:cubicBezTo>
                    <a:pt x="798144" y="294751"/>
                    <a:pt x="800495" y="297180"/>
                    <a:pt x="800495" y="300180"/>
                  </a:cubicBezTo>
                  <a:lnTo>
                    <a:pt x="799996" y="345758"/>
                  </a:lnTo>
                  <a:cubicBezTo>
                    <a:pt x="799996" y="348686"/>
                    <a:pt x="797574" y="351044"/>
                    <a:pt x="794653" y="35104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21">
              <a:extLst>
                <a:ext uri="{FF2B5EF4-FFF2-40B4-BE49-F238E27FC236}">
                  <a16:creationId xmlns:a16="http://schemas.microsoft.com/office/drawing/2014/main" id="{66EB3EB5-EA04-E9B3-F97F-0C505C39214F}"/>
                </a:ext>
              </a:extLst>
            </p:cNvPr>
            <p:cNvSpPr/>
            <p:nvPr/>
          </p:nvSpPr>
          <p:spPr>
            <a:xfrm>
              <a:off x="3720324" y="5282755"/>
              <a:ext cx="144184" cy="144589"/>
            </a:xfrm>
            <a:custGeom>
              <a:avLst/>
              <a:gdLst>
                <a:gd name="connsiteX0" fmla="*/ 72092 w 144184"/>
                <a:gd name="connsiteY0" fmla="*/ 144590 h 144589"/>
                <a:gd name="connsiteX1" fmla="*/ 0 w 144184"/>
                <a:gd name="connsiteY1" fmla="*/ 72295 h 144589"/>
                <a:gd name="connsiteX2" fmla="*/ 72092 w 144184"/>
                <a:gd name="connsiteY2" fmla="*/ 0 h 144589"/>
                <a:gd name="connsiteX3" fmla="*/ 144184 w 144184"/>
                <a:gd name="connsiteY3" fmla="*/ 72295 h 144589"/>
                <a:gd name="connsiteX4" fmla="*/ 72092 w 144184"/>
                <a:gd name="connsiteY4" fmla="*/ 144590 h 144589"/>
                <a:gd name="connsiteX5" fmla="*/ 72092 w 144184"/>
                <a:gd name="connsiteY5" fmla="*/ 10716 h 144589"/>
                <a:gd name="connsiteX6" fmla="*/ 10686 w 144184"/>
                <a:gd name="connsiteY6" fmla="*/ 72295 h 144589"/>
                <a:gd name="connsiteX7" fmla="*/ 72092 w 144184"/>
                <a:gd name="connsiteY7" fmla="*/ 133874 h 144589"/>
                <a:gd name="connsiteX8" fmla="*/ 133499 w 144184"/>
                <a:gd name="connsiteY8" fmla="*/ 72295 h 144589"/>
                <a:gd name="connsiteX9" fmla="*/ 72092 w 144184"/>
                <a:gd name="connsiteY9" fmla="*/ 10716 h 14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184" h="144589">
                  <a:moveTo>
                    <a:pt x="72092" y="144590"/>
                  </a:moveTo>
                  <a:cubicBezTo>
                    <a:pt x="32342" y="144590"/>
                    <a:pt x="0" y="112157"/>
                    <a:pt x="0" y="72295"/>
                  </a:cubicBezTo>
                  <a:cubicBezTo>
                    <a:pt x="0" y="32433"/>
                    <a:pt x="32342" y="0"/>
                    <a:pt x="72092" y="0"/>
                  </a:cubicBezTo>
                  <a:cubicBezTo>
                    <a:pt x="111843" y="0"/>
                    <a:pt x="144184" y="32433"/>
                    <a:pt x="144184" y="72295"/>
                  </a:cubicBezTo>
                  <a:cubicBezTo>
                    <a:pt x="144184" y="112157"/>
                    <a:pt x="111843" y="144590"/>
                    <a:pt x="72092" y="144590"/>
                  </a:cubicBezTo>
                  <a:close/>
                  <a:moveTo>
                    <a:pt x="72092" y="10716"/>
                  </a:moveTo>
                  <a:cubicBezTo>
                    <a:pt x="38254" y="10716"/>
                    <a:pt x="10686" y="38362"/>
                    <a:pt x="10686" y="72295"/>
                  </a:cubicBezTo>
                  <a:cubicBezTo>
                    <a:pt x="10686" y="106228"/>
                    <a:pt x="38254" y="133874"/>
                    <a:pt x="72092" y="133874"/>
                  </a:cubicBezTo>
                  <a:cubicBezTo>
                    <a:pt x="105930" y="133874"/>
                    <a:pt x="133499" y="106228"/>
                    <a:pt x="133499" y="72295"/>
                  </a:cubicBezTo>
                  <a:cubicBezTo>
                    <a:pt x="133499" y="38362"/>
                    <a:pt x="105930" y="10716"/>
                    <a:pt x="72092"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422">
              <a:extLst>
                <a:ext uri="{FF2B5EF4-FFF2-40B4-BE49-F238E27FC236}">
                  <a16:creationId xmlns:a16="http://schemas.microsoft.com/office/drawing/2014/main" id="{2E9BF5CE-876A-68C4-5C86-E8ADAE97AAD8}"/>
                </a:ext>
              </a:extLst>
            </p:cNvPr>
            <p:cNvSpPr/>
            <p:nvPr/>
          </p:nvSpPr>
          <p:spPr>
            <a:xfrm>
              <a:off x="3759789" y="5322331"/>
              <a:ext cx="65253" cy="65436"/>
            </a:xfrm>
            <a:custGeom>
              <a:avLst/>
              <a:gdLst>
                <a:gd name="connsiteX0" fmla="*/ 32627 w 65253"/>
                <a:gd name="connsiteY0" fmla="*/ 65437 h 65436"/>
                <a:gd name="connsiteX1" fmla="*/ 0 w 65253"/>
                <a:gd name="connsiteY1" fmla="*/ 32718 h 65436"/>
                <a:gd name="connsiteX2" fmla="*/ 32627 w 65253"/>
                <a:gd name="connsiteY2" fmla="*/ 0 h 65436"/>
                <a:gd name="connsiteX3" fmla="*/ 65253 w 65253"/>
                <a:gd name="connsiteY3" fmla="*/ 32718 h 65436"/>
                <a:gd name="connsiteX4" fmla="*/ 32627 w 65253"/>
                <a:gd name="connsiteY4" fmla="*/ 65437 h 65436"/>
                <a:gd name="connsiteX5" fmla="*/ 32627 w 65253"/>
                <a:gd name="connsiteY5" fmla="*/ 10716 h 65436"/>
                <a:gd name="connsiteX6" fmla="*/ 10686 w 65253"/>
                <a:gd name="connsiteY6" fmla="*/ 32718 h 65436"/>
                <a:gd name="connsiteX7" fmla="*/ 32627 w 65253"/>
                <a:gd name="connsiteY7" fmla="*/ 54721 h 65436"/>
                <a:gd name="connsiteX8" fmla="*/ 54568 w 65253"/>
                <a:gd name="connsiteY8" fmla="*/ 32718 h 65436"/>
                <a:gd name="connsiteX9" fmla="*/ 32627 w 65253"/>
                <a:gd name="connsiteY9" fmla="*/ 10716 h 6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53" h="65436">
                  <a:moveTo>
                    <a:pt x="32627" y="65437"/>
                  </a:moveTo>
                  <a:cubicBezTo>
                    <a:pt x="14604" y="65437"/>
                    <a:pt x="0" y="50792"/>
                    <a:pt x="0" y="32718"/>
                  </a:cubicBezTo>
                  <a:cubicBezTo>
                    <a:pt x="0" y="14645"/>
                    <a:pt x="14604" y="0"/>
                    <a:pt x="32627" y="0"/>
                  </a:cubicBezTo>
                  <a:cubicBezTo>
                    <a:pt x="50650" y="0"/>
                    <a:pt x="65253" y="14645"/>
                    <a:pt x="65253" y="32718"/>
                  </a:cubicBezTo>
                  <a:cubicBezTo>
                    <a:pt x="65253" y="50792"/>
                    <a:pt x="50650" y="65437"/>
                    <a:pt x="32627" y="65437"/>
                  </a:cubicBezTo>
                  <a:close/>
                  <a:moveTo>
                    <a:pt x="32627" y="10716"/>
                  </a:moveTo>
                  <a:cubicBezTo>
                    <a:pt x="20516" y="10716"/>
                    <a:pt x="10686" y="20574"/>
                    <a:pt x="10686" y="32718"/>
                  </a:cubicBezTo>
                  <a:cubicBezTo>
                    <a:pt x="10686" y="44863"/>
                    <a:pt x="20516" y="54721"/>
                    <a:pt x="32627" y="54721"/>
                  </a:cubicBezTo>
                  <a:cubicBezTo>
                    <a:pt x="44737" y="54721"/>
                    <a:pt x="54568" y="44863"/>
                    <a:pt x="54568" y="32718"/>
                  </a:cubicBezTo>
                  <a:cubicBezTo>
                    <a:pt x="54568" y="20574"/>
                    <a:pt x="44737" y="10716"/>
                    <a:pt x="32627"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423">
              <a:extLst>
                <a:ext uri="{FF2B5EF4-FFF2-40B4-BE49-F238E27FC236}">
                  <a16:creationId xmlns:a16="http://schemas.microsoft.com/office/drawing/2014/main" id="{ADC788D3-9B74-2BEA-D1C2-BACBC3DDAAF1}"/>
                </a:ext>
              </a:extLst>
            </p:cNvPr>
            <p:cNvSpPr/>
            <p:nvPr/>
          </p:nvSpPr>
          <p:spPr>
            <a:xfrm>
              <a:off x="4365948" y="5303972"/>
              <a:ext cx="45734" cy="10715"/>
            </a:xfrm>
            <a:custGeom>
              <a:avLst/>
              <a:gdLst>
                <a:gd name="connsiteX0" fmla="*/ 40392 w 45734"/>
                <a:gd name="connsiteY0" fmla="*/ 10716 h 10715"/>
                <a:gd name="connsiteX1" fmla="*/ 5343 w 45734"/>
                <a:gd name="connsiteY1" fmla="*/ 10716 h 10715"/>
                <a:gd name="connsiteX2" fmla="*/ 0 w 45734"/>
                <a:gd name="connsiteY2" fmla="*/ 5358 h 10715"/>
                <a:gd name="connsiteX3" fmla="*/ 5343 w 45734"/>
                <a:gd name="connsiteY3" fmla="*/ 0 h 10715"/>
                <a:gd name="connsiteX4" fmla="*/ 40392 w 45734"/>
                <a:gd name="connsiteY4" fmla="*/ 0 h 10715"/>
                <a:gd name="connsiteX5" fmla="*/ 45734 w 45734"/>
                <a:gd name="connsiteY5" fmla="*/ 5358 h 10715"/>
                <a:gd name="connsiteX6" fmla="*/ 40392 w 45734"/>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34" h="10715">
                  <a:moveTo>
                    <a:pt x="40392" y="10716"/>
                  </a:moveTo>
                  <a:lnTo>
                    <a:pt x="5343" y="10716"/>
                  </a:lnTo>
                  <a:cubicBezTo>
                    <a:pt x="2422" y="10716"/>
                    <a:pt x="0" y="8287"/>
                    <a:pt x="0" y="5358"/>
                  </a:cubicBezTo>
                  <a:cubicBezTo>
                    <a:pt x="0" y="2429"/>
                    <a:pt x="2422" y="0"/>
                    <a:pt x="5343" y="0"/>
                  </a:cubicBezTo>
                  <a:lnTo>
                    <a:pt x="40392" y="0"/>
                  </a:lnTo>
                  <a:cubicBezTo>
                    <a:pt x="43312" y="0"/>
                    <a:pt x="45734" y="2429"/>
                    <a:pt x="45734" y="5358"/>
                  </a:cubicBezTo>
                  <a:cubicBezTo>
                    <a:pt x="45734" y="8287"/>
                    <a:pt x="43312" y="10716"/>
                    <a:pt x="40392"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424">
              <a:extLst>
                <a:ext uri="{FF2B5EF4-FFF2-40B4-BE49-F238E27FC236}">
                  <a16:creationId xmlns:a16="http://schemas.microsoft.com/office/drawing/2014/main" id="{C4391E9D-AACA-F874-2364-E7C8B35A1051}"/>
                </a:ext>
              </a:extLst>
            </p:cNvPr>
            <p:cNvSpPr/>
            <p:nvPr/>
          </p:nvSpPr>
          <p:spPr>
            <a:xfrm>
              <a:off x="3625222" y="5233963"/>
              <a:ext cx="397077" cy="10715"/>
            </a:xfrm>
            <a:custGeom>
              <a:avLst/>
              <a:gdLst>
                <a:gd name="connsiteX0" fmla="*/ 391734 w 397077"/>
                <a:gd name="connsiteY0" fmla="*/ 10716 h 10715"/>
                <a:gd name="connsiteX1" fmla="*/ 5343 w 397077"/>
                <a:gd name="connsiteY1" fmla="*/ 10716 h 10715"/>
                <a:gd name="connsiteX2" fmla="*/ 0 w 397077"/>
                <a:gd name="connsiteY2" fmla="*/ 5358 h 10715"/>
                <a:gd name="connsiteX3" fmla="*/ 5343 w 397077"/>
                <a:gd name="connsiteY3" fmla="*/ 0 h 10715"/>
                <a:gd name="connsiteX4" fmla="*/ 391734 w 397077"/>
                <a:gd name="connsiteY4" fmla="*/ 0 h 10715"/>
                <a:gd name="connsiteX5" fmla="*/ 397077 w 397077"/>
                <a:gd name="connsiteY5" fmla="*/ 5358 h 10715"/>
                <a:gd name="connsiteX6" fmla="*/ 391734 w 397077"/>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077" h="10715">
                  <a:moveTo>
                    <a:pt x="391734" y="10716"/>
                  </a:moveTo>
                  <a:lnTo>
                    <a:pt x="5343" y="10716"/>
                  </a:lnTo>
                  <a:cubicBezTo>
                    <a:pt x="2422" y="10716"/>
                    <a:pt x="0" y="8287"/>
                    <a:pt x="0" y="5358"/>
                  </a:cubicBezTo>
                  <a:cubicBezTo>
                    <a:pt x="0" y="2429"/>
                    <a:pt x="2422" y="0"/>
                    <a:pt x="5343" y="0"/>
                  </a:cubicBezTo>
                  <a:lnTo>
                    <a:pt x="391734" y="0"/>
                  </a:lnTo>
                  <a:cubicBezTo>
                    <a:pt x="394655" y="0"/>
                    <a:pt x="397077" y="2429"/>
                    <a:pt x="397077" y="5358"/>
                  </a:cubicBezTo>
                  <a:cubicBezTo>
                    <a:pt x="397077" y="8287"/>
                    <a:pt x="394655" y="10716"/>
                    <a:pt x="391734"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425">
              <a:extLst>
                <a:ext uri="{FF2B5EF4-FFF2-40B4-BE49-F238E27FC236}">
                  <a16:creationId xmlns:a16="http://schemas.microsoft.com/office/drawing/2014/main" id="{876B7467-4D8D-CE08-CC51-D4208E0EBC88}"/>
                </a:ext>
              </a:extLst>
            </p:cNvPr>
            <p:cNvSpPr/>
            <p:nvPr/>
          </p:nvSpPr>
          <p:spPr>
            <a:xfrm>
              <a:off x="3769406" y="5086802"/>
              <a:ext cx="10685" cy="111942"/>
            </a:xfrm>
            <a:custGeom>
              <a:avLst/>
              <a:gdLst>
                <a:gd name="connsiteX0" fmla="*/ 5343 w 10685"/>
                <a:gd name="connsiteY0" fmla="*/ 111943 h 111942"/>
                <a:gd name="connsiteX1" fmla="*/ 0 w 10685"/>
                <a:gd name="connsiteY1" fmla="*/ 106585 h 111942"/>
                <a:gd name="connsiteX2" fmla="*/ 0 w 10685"/>
                <a:gd name="connsiteY2" fmla="*/ 5358 h 111942"/>
                <a:gd name="connsiteX3" fmla="*/ 5343 w 10685"/>
                <a:gd name="connsiteY3" fmla="*/ 0 h 111942"/>
                <a:gd name="connsiteX4" fmla="*/ 10686 w 10685"/>
                <a:gd name="connsiteY4" fmla="*/ 5358 h 111942"/>
                <a:gd name="connsiteX5" fmla="*/ 10686 w 10685"/>
                <a:gd name="connsiteY5" fmla="*/ 106585 h 111942"/>
                <a:gd name="connsiteX6" fmla="*/ 5343 w 10685"/>
                <a:gd name="connsiteY6" fmla="*/ 111943 h 11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85" h="111942">
                  <a:moveTo>
                    <a:pt x="5343" y="111943"/>
                  </a:moveTo>
                  <a:cubicBezTo>
                    <a:pt x="2422" y="111943"/>
                    <a:pt x="0" y="109514"/>
                    <a:pt x="0" y="106585"/>
                  </a:cubicBezTo>
                  <a:lnTo>
                    <a:pt x="0" y="5358"/>
                  </a:lnTo>
                  <a:cubicBezTo>
                    <a:pt x="0" y="2429"/>
                    <a:pt x="2422" y="0"/>
                    <a:pt x="5343" y="0"/>
                  </a:cubicBezTo>
                  <a:cubicBezTo>
                    <a:pt x="8264" y="0"/>
                    <a:pt x="10686" y="2429"/>
                    <a:pt x="10686" y="5358"/>
                  </a:cubicBezTo>
                  <a:lnTo>
                    <a:pt x="10686" y="106585"/>
                  </a:lnTo>
                  <a:cubicBezTo>
                    <a:pt x="10686" y="109514"/>
                    <a:pt x="8264" y="111943"/>
                    <a:pt x="5343" y="11194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426">
              <a:extLst>
                <a:ext uri="{FF2B5EF4-FFF2-40B4-BE49-F238E27FC236}">
                  <a16:creationId xmlns:a16="http://schemas.microsoft.com/office/drawing/2014/main" id="{736CF582-6C73-B637-7BA8-F8B3A52FF64F}"/>
                </a:ext>
              </a:extLst>
            </p:cNvPr>
            <p:cNvSpPr/>
            <p:nvPr/>
          </p:nvSpPr>
          <p:spPr>
            <a:xfrm>
              <a:off x="4088051" y="5233963"/>
              <a:ext cx="101726" cy="10715"/>
            </a:xfrm>
            <a:custGeom>
              <a:avLst/>
              <a:gdLst>
                <a:gd name="connsiteX0" fmla="*/ 96384 w 101726"/>
                <a:gd name="connsiteY0" fmla="*/ 10716 h 10715"/>
                <a:gd name="connsiteX1" fmla="*/ 5343 w 101726"/>
                <a:gd name="connsiteY1" fmla="*/ 10716 h 10715"/>
                <a:gd name="connsiteX2" fmla="*/ 0 w 101726"/>
                <a:gd name="connsiteY2" fmla="*/ 5358 h 10715"/>
                <a:gd name="connsiteX3" fmla="*/ 5343 w 101726"/>
                <a:gd name="connsiteY3" fmla="*/ 0 h 10715"/>
                <a:gd name="connsiteX4" fmla="*/ 96384 w 101726"/>
                <a:gd name="connsiteY4" fmla="*/ 0 h 10715"/>
                <a:gd name="connsiteX5" fmla="*/ 101727 w 101726"/>
                <a:gd name="connsiteY5" fmla="*/ 5358 h 10715"/>
                <a:gd name="connsiteX6" fmla="*/ 96384 w 101726"/>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6" h="10715">
                  <a:moveTo>
                    <a:pt x="96384" y="10716"/>
                  </a:moveTo>
                  <a:lnTo>
                    <a:pt x="5343" y="10716"/>
                  </a:lnTo>
                  <a:cubicBezTo>
                    <a:pt x="2422" y="10716"/>
                    <a:pt x="0" y="8287"/>
                    <a:pt x="0" y="5358"/>
                  </a:cubicBezTo>
                  <a:cubicBezTo>
                    <a:pt x="0" y="2429"/>
                    <a:pt x="2422" y="0"/>
                    <a:pt x="5343" y="0"/>
                  </a:cubicBezTo>
                  <a:lnTo>
                    <a:pt x="96384" y="0"/>
                  </a:lnTo>
                  <a:cubicBezTo>
                    <a:pt x="99305" y="0"/>
                    <a:pt x="101727" y="2429"/>
                    <a:pt x="101727" y="5358"/>
                  </a:cubicBezTo>
                  <a:cubicBezTo>
                    <a:pt x="101727" y="8287"/>
                    <a:pt x="99305" y="10716"/>
                    <a:pt x="96384"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427">
              <a:extLst>
                <a:ext uri="{FF2B5EF4-FFF2-40B4-BE49-F238E27FC236}">
                  <a16:creationId xmlns:a16="http://schemas.microsoft.com/office/drawing/2014/main" id="{C7FF995C-3D2C-661E-2FFA-3FEC194A985F}"/>
                </a:ext>
              </a:extLst>
            </p:cNvPr>
            <p:cNvSpPr/>
            <p:nvPr/>
          </p:nvSpPr>
          <p:spPr>
            <a:xfrm>
              <a:off x="4258309" y="5233963"/>
              <a:ext cx="153374" cy="10715"/>
            </a:xfrm>
            <a:custGeom>
              <a:avLst/>
              <a:gdLst>
                <a:gd name="connsiteX0" fmla="*/ 148031 w 153374"/>
                <a:gd name="connsiteY0" fmla="*/ 10716 h 10715"/>
                <a:gd name="connsiteX1" fmla="*/ 5343 w 153374"/>
                <a:gd name="connsiteY1" fmla="*/ 10716 h 10715"/>
                <a:gd name="connsiteX2" fmla="*/ 0 w 153374"/>
                <a:gd name="connsiteY2" fmla="*/ 5358 h 10715"/>
                <a:gd name="connsiteX3" fmla="*/ 5343 w 153374"/>
                <a:gd name="connsiteY3" fmla="*/ 0 h 10715"/>
                <a:gd name="connsiteX4" fmla="*/ 148031 w 153374"/>
                <a:gd name="connsiteY4" fmla="*/ 0 h 10715"/>
                <a:gd name="connsiteX5" fmla="*/ 153374 w 153374"/>
                <a:gd name="connsiteY5" fmla="*/ 5358 h 10715"/>
                <a:gd name="connsiteX6" fmla="*/ 148031 w 153374"/>
                <a:gd name="connsiteY6" fmla="*/ 10716 h 1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74" h="10715">
                  <a:moveTo>
                    <a:pt x="148031" y="10716"/>
                  </a:moveTo>
                  <a:lnTo>
                    <a:pt x="5343" y="10716"/>
                  </a:lnTo>
                  <a:cubicBezTo>
                    <a:pt x="2422" y="10716"/>
                    <a:pt x="0" y="8287"/>
                    <a:pt x="0" y="5358"/>
                  </a:cubicBezTo>
                  <a:cubicBezTo>
                    <a:pt x="0" y="2429"/>
                    <a:pt x="2422" y="0"/>
                    <a:pt x="5343" y="0"/>
                  </a:cubicBezTo>
                  <a:lnTo>
                    <a:pt x="148031" y="0"/>
                  </a:lnTo>
                  <a:cubicBezTo>
                    <a:pt x="150952" y="0"/>
                    <a:pt x="153374" y="2429"/>
                    <a:pt x="153374" y="5358"/>
                  </a:cubicBezTo>
                  <a:cubicBezTo>
                    <a:pt x="153374" y="8287"/>
                    <a:pt x="150952" y="10716"/>
                    <a:pt x="148031" y="1071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428">
              <a:extLst>
                <a:ext uri="{FF2B5EF4-FFF2-40B4-BE49-F238E27FC236}">
                  <a16:creationId xmlns:a16="http://schemas.microsoft.com/office/drawing/2014/main" id="{B7622C7A-E06D-B542-FE9C-2D9627361E7A}"/>
                </a:ext>
              </a:extLst>
            </p:cNvPr>
            <p:cNvSpPr/>
            <p:nvPr/>
          </p:nvSpPr>
          <p:spPr>
            <a:xfrm>
              <a:off x="3675872" y="5086730"/>
              <a:ext cx="199607" cy="112014"/>
            </a:xfrm>
            <a:custGeom>
              <a:avLst/>
              <a:gdLst>
                <a:gd name="connsiteX0" fmla="*/ 175458 w 199607"/>
                <a:gd name="connsiteY0" fmla="*/ 112014 h 112014"/>
                <a:gd name="connsiteX1" fmla="*/ 24149 w 199607"/>
                <a:gd name="connsiteY1" fmla="*/ 112014 h 112014"/>
                <a:gd name="connsiteX2" fmla="*/ 0 w 199607"/>
                <a:gd name="connsiteY2" fmla="*/ 87797 h 112014"/>
                <a:gd name="connsiteX3" fmla="*/ 0 w 199607"/>
                <a:gd name="connsiteY3" fmla="*/ 24217 h 112014"/>
                <a:gd name="connsiteX4" fmla="*/ 24149 w 199607"/>
                <a:gd name="connsiteY4" fmla="*/ 0 h 112014"/>
                <a:gd name="connsiteX5" fmla="*/ 175458 w 199607"/>
                <a:gd name="connsiteY5" fmla="*/ 0 h 112014"/>
                <a:gd name="connsiteX6" fmla="*/ 199607 w 199607"/>
                <a:gd name="connsiteY6" fmla="*/ 24217 h 112014"/>
                <a:gd name="connsiteX7" fmla="*/ 199607 w 199607"/>
                <a:gd name="connsiteY7" fmla="*/ 87797 h 112014"/>
                <a:gd name="connsiteX8" fmla="*/ 175458 w 199607"/>
                <a:gd name="connsiteY8" fmla="*/ 112014 h 112014"/>
                <a:gd name="connsiteX9" fmla="*/ 24149 w 199607"/>
                <a:gd name="connsiteY9" fmla="*/ 10716 h 112014"/>
                <a:gd name="connsiteX10" fmla="*/ 10686 w 199607"/>
                <a:gd name="connsiteY10" fmla="*/ 24217 h 112014"/>
                <a:gd name="connsiteX11" fmla="*/ 10686 w 199607"/>
                <a:gd name="connsiteY11" fmla="*/ 87797 h 112014"/>
                <a:gd name="connsiteX12" fmla="*/ 24149 w 199607"/>
                <a:gd name="connsiteY12" fmla="*/ 101298 h 112014"/>
                <a:gd name="connsiteX13" fmla="*/ 175458 w 199607"/>
                <a:gd name="connsiteY13" fmla="*/ 101298 h 112014"/>
                <a:gd name="connsiteX14" fmla="*/ 188922 w 199607"/>
                <a:gd name="connsiteY14" fmla="*/ 87797 h 112014"/>
                <a:gd name="connsiteX15" fmla="*/ 188922 w 199607"/>
                <a:gd name="connsiteY15" fmla="*/ 24217 h 112014"/>
                <a:gd name="connsiteX16" fmla="*/ 175458 w 199607"/>
                <a:gd name="connsiteY16" fmla="*/ 10716 h 112014"/>
                <a:gd name="connsiteX17" fmla="*/ 24149 w 199607"/>
                <a:gd name="connsiteY17" fmla="*/ 10716 h 11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607" h="112014">
                  <a:moveTo>
                    <a:pt x="175458" y="112014"/>
                  </a:moveTo>
                  <a:lnTo>
                    <a:pt x="24149" y="112014"/>
                  </a:lnTo>
                  <a:cubicBezTo>
                    <a:pt x="10828" y="112014"/>
                    <a:pt x="0" y="101156"/>
                    <a:pt x="0" y="87797"/>
                  </a:cubicBezTo>
                  <a:lnTo>
                    <a:pt x="0" y="24217"/>
                  </a:lnTo>
                  <a:cubicBezTo>
                    <a:pt x="0" y="10859"/>
                    <a:pt x="10828" y="0"/>
                    <a:pt x="24149" y="0"/>
                  </a:cubicBezTo>
                  <a:lnTo>
                    <a:pt x="175458" y="0"/>
                  </a:lnTo>
                  <a:cubicBezTo>
                    <a:pt x="188779" y="0"/>
                    <a:pt x="199607" y="10859"/>
                    <a:pt x="199607" y="24217"/>
                  </a:cubicBezTo>
                  <a:lnTo>
                    <a:pt x="199607" y="87797"/>
                  </a:lnTo>
                  <a:cubicBezTo>
                    <a:pt x="199607" y="101156"/>
                    <a:pt x="188779" y="112014"/>
                    <a:pt x="175458" y="112014"/>
                  </a:cubicBezTo>
                  <a:close/>
                  <a:moveTo>
                    <a:pt x="24149" y="10716"/>
                  </a:moveTo>
                  <a:cubicBezTo>
                    <a:pt x="16741" y="10716"/>
                    <a:pt x="10686" y="16788"/>
                    <a:pt x="10686" y="24217"/>
                  </a:cubicBezTo>
                  <a:lnTo>
                    <a:pt x="10686" y="87797"/>
                  </a:lnTo>
                  <a:cubicBezTo>
                    <a:pt x="10686" y="95226"/>
                    <a:pt x="16741" y="101298"/>
                    <a:pt x="24149" y="101298"/>
                  </a:cubicBezTo>
                  <a:lnTo>
                    <a:pt x="175458" y="101298"/>
                  </a:lnTo>
                  <a:cubicBezTo>
                    <a:pt x="182866" y="101298"/>
                    <a:pt x="188922" y="95226"/>
                    <a:pt x="188922" y="87797"/>
                  </a:cubicBezTo>
                  <a:lnTo>
                    <a:pt x="188922" y="24217"/>
                  </a:lnTo>
                  <a:cubicBezTo>
                    <a:pt x="188922" y="16788"/>
                    <a:pt x="182866" y="10716"/>
                    <a:pt x="175458" y="10716"/>
                  </a:cubicBezTo>
                  <a:lnTo>
                    <a:pt x="24149" y="1071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429">
              <a:extLst>
                <a:ext uri="{FF2B5EF4-FFF2-40B4-BE49-F238E27FC236}">
                  <a16:creationId xmlns:a16="http://schemas.microsoft.com/office/drawing/2014/main" id="{6B5F196F-AD2A-264A-29ED-C2ECB892444F}"/>
                </a:ext>
              </a:extLst>
            </p:cNvPr>
            <p:cNvSpPr/>
            <p:nvPr/>
          </p:nvSpPr>
          <p:spPr>
            <a:xfrm>
              <a:off x="4255744" y="5086730"/>
              <a:ext cx="148814" cy="112014"/>
            </a:xfrm>
            <a:custGeom>
              <a:avLst/>
              <a:gdLst>
                <a:gd name="connsiteX0" fmla="*/ 143472 w 148814"/>
                <a:gd name="connsiteY0" fmla="*/ 112014 h 112014"/>
                <a:gd name="connsiteX1" fmla="*/ 24149 w 148814"/>
                <a:gd name="connsiteY1" fmla="*/ 112014 h 112014"/>
                <a:gd name="connsiteX2" fmla="*/ 0 w 148814"/>
                <a:gd name="connsiteY2" fmla="*/ 87797 h 112014"/>
                <a:gd name="connsiteX3" fmla="*/ 0 w 148814"/>
                <a:gd name="connsiteY3" fmla="*/ 24217 h 112014"/>
                <a:gd name="connsiteX4" fmla="*/ 24149 w 148814"/>
                <a:gd name="connsiteY4" fmla="*/ 0 h 112014"/>
                <a:gd name="connsiteX5" fmla="*/ 111059 w 148814"/>
                <a:gd name="connsiteY5" fmla="*/ 0 h 112014"/>
                <a:gd name="connsiteX6" fmla="*/ 116402 w 148814"/>
                <a:gd name="connsiteY6" fmla="*/ 5358 h 112014"/>
                <a:gd name="connsiteX7" fmla="*/ 111059 w 148814"/>
                <a:gd name="connsiteY7" fmla="*/ 10716 h 112014"/>
                <a:gd name="connsiteX8" fmla="*/ 24149 w 148814"/>
                <a:gd name="connsiteY8" fmla="*/ 10716 h 112014"/>
                <a:gd name="connsiteX9" fmla="*/ 10686 w 148814"/>
                <a:gd name="connsiteY9" fmla="*/ 24217 h 112014"/>
                <a:gd name="connsiteX10" fmla="*/ 10686 w 148814"/>
                <a:gd name="connsiteY10" fmla="*/ 87797 h 112014"/>
                <a:gd name="connsiteX11" fmla="*/ 24149 w 148814"/>
                <a:gd name="connsiteY11" fmla="*/ 101298 h 112014"/>
                <a:gd name="connsiteX12" fmla="*/ 143472 w 148814"/>
                <a:gd name="connsiteY12" fmla="*/ 101298 h 112014"/>
                <a:gd name="connsiteX13" fmla="*/ 148815 w 148814"/>
                <a:gd name="connsiteY13" fmla="*/ 106656 h 112014"/>
                <a:gd name="connsiteX14" fmla="*/ 143472 w 148814"/>
                <a:gd name="connsiteY14" fmla="*/ 112014 h 11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8814" h="112014">
                  <a:moveTo>
                    <a:pt x="143472" y="112014"/>
                  </a:moveTo>
                  <a:lnTo>
                    <a:pt x="24149" y="112014"/>
                  </a:lnTo>
                  <a:cubicBezTo>
                    <a:pt x="10828" y="112014"/>
                    <a:pt x="0" y="101156"/>
                    <a:pt x="0" y="87797"/>
                  </a:cubicBezTo>
                  <a:lnTo>
                    <a:pt x="0" y="24217"/>
                  </a:lnTo>
                  <a:cubicBezTo>
                    <a:pt x="0" y="10859"/>
                    <a:pt x="10828" y="0"/>
                    <a:pt x="24149" y="0"/>
                  </a:cubicBezTo>
                  <a:lnTo>
                    <a:pt x="111059" y="0"/>
                  </a:lnTo>
                  <a:cubicBezTo>
                    <a:pt x="113980" y="0"/>
                    <a:pt x="116402" y="2429"/>
                    <a:pt x="116402" y="5358"/>
                  </a:cubicBezTo>
                  <a:cubicBezTo>
                    <a:pt x="116402" y="8287"/>
                    <a:pt x="113980" y="10716"/>
                    <a:pt x="111059" y="10716"/>
                  </a:cubicBezTo>
                  <a:lnTo>
                    <a:pt x="24149" y="10716"/>
                  </a:lnTo>
                  <a:cubicBezTo>
                    <a:pt x="16741" y="10716"/>
                    <a:pt x="10686" y="16788"/>
                    <a:pt x="10686" y="24217"/>
                  </a:cubicBezTo>
                  <a:lnTo>
                    <a:pt x="10686" y="87797"/>
                  </a:lnTo>
                  <a:cubicBezTo>
                    <a:pt x="10686" y="95226"/>
                    <a:pt x="16741" y="101298"/>
                    <a:pt x="24149" y="101298"/>
                  </a:cubicBezTo>
                  <a:lnTo>
                    <a:pt x="143472" y="101298"/>
                  </a:lnTo>
                  <a:cubicBezTo>
                    <a:pt x="146393" y="101298"/>
                    <a:pt x="148815" y="103727"/>
                    <a:pt x="148815" y="106656"/>
                  </a:cubicBezTo>
                  <a:cubicBezTo>
                    <a:pt x="148815" y="109585"/>
                    <a:pt x="146393" y="112014"/>
                    <a:pt x="143472" y="11201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430">
              <a:extLst>
                <a:ext uri="{FF2B5EF4-FFF2-40B4-BE49-F238E27FC236}">
                  <a16:creationId xmlns:a16="http://schemas.microsoft.com/office/drawing/2014/main" id="{ECB86411-3129-45D3-3363-CEFF26DB0ECD}"/>
                </a:ext>
              </a:extLst>
            </p:cNvPr>
            <p:cNvSpPr/>
            <p:nvPr/>
          </p:nvSpPr>
          <p:spPr>
            <a:xfrm>
              <a:off x="3917224" y="5086730"/>
              <a:ext cx="107639" cy="112014"/>
            </a:xfrm>
            <a:custGeom>
              <a:avLst/>
              <a:gdLst>
                <a:gd name="connsiteX0" fmla="*/ 83490 w 107639"/>
                <a:gd name="connsiteY0" fmla="*/ 112014 h 112014"/>
                <a:gd name="connsiteX1" fmla="*/ 24149 w 107639"/>
                <a:gd name="connsiteY1" fmla="*/ 112014 h 112014"/>
                <a:gd name="connsiteX2" fmla="*/ 0 w 107639"/>
                <a:gd name="connsiteY2" fmla="*/ 87797 h 112014"/>
                <a:gd name="connsiteX3" fmla="*/ 0 w 107639"/>
                <a:gd name="connsiteY3" fmla="*/ 24217 h 112014"/>
                <a:gd name="connsiteX4" fmla="*/ 24149 w 107639"/>
                <a:gd name="connsiteY4" fmla="*/ 0 h 112014"/>
                <a:gd name="connsiteX5" fmla="*/ 83490 w 107639"/>
                <a:gd name="connsiteY5" fmla="*/ 0 h 112014"/>
                <a:gd name="connsiteX6" fmla="*/ 107640 w 107639"/>
                <a:gd name="connsiteY6" fmla="*/ 24217 h 112014"/>
                <a:gd name="connsiteX7" fmla="*/ 107640 w 107639"/>
                <a:gd name="connsiteY7" fmla="*/ 87797 h 112014"/>
                <a:gd name="connsiteX8" fmla="*/ 83490 w 107639"/>
                <a:gd name="connsiteY8" fmla="*/ 112014 h 112014"/>
                <a:gd name="connsiteX9" fmla="*/ 24078 w 107639"/>
                <a:gd name="connsiteY9" fmla="*/ 10716 h 112014"/>
                <a:gd name="connsiteX10" fmla="*/ 10614 w 107639"/>
                <a:gd name="connsiteY10" fmla="*/ 24217 h 112014"/>
                <a:gd name="connsiteX11" fmla="*/ 10614 w 107639"/>
                <a:gd name="connsiteY11" fmla="*/ 87797 h 112014"/>
                <a:gd name="connsiteX12" fmla="*/ 24078 w 107639"/>
                <a:gd name="connsiteY12" fmla="*/ 101298 h 112014"/>
                <a:gd name="connsiteX13" fmla="*/ 83419 w 107639"/>
                <a:gd name="connsiteY13" fmla="*/ 101298 h 112014"/>
                <a:gd name="connsiteX14" fmla="*/ 96883 w 107639"/>
                <a:gd name="connsiteY14" fmla="*/ 87797 h 112014"/>
                <a:gd name="connsiteX15" fmla="*/ 96883 w 107639"/>
                <a:gd name="connsiteY15" fmla="*/ 24217 h 112014"/>
                <a:gd name="connsiteX16" fmla="*/ 83419 w 107639"/>
                <a:gd name="connsiteY16" fmla="*/ 10716 h 112014"/>
                <a:gd name="connsiteX17" fmla="*/ 24078 w 107639"/>
                <a:gd name="connsiteY17" fmla="*/ 10716 h 11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639" h="112014">
                  <a:moveTo>
                    <a:pt x="83490" y="112014"/>
                  </a:moveTo>
                  <a:lnTo>
                    <a:pt x="24149" y="112014"/>
                  </a:lnTo>
                  <a:cubicBezTo>
                    <a:pt x="10828" y="112014"/>
                    <a:pt x="0" y="101156"/>
                    <a:pt x="0" y="87797"/>
                  </a:cubicBezTo>
                  <a:lnTo>
                    <a:pt x="0" y="24217"/>
                  </a:lnTo>
                  <a:cubicBezTo>
                    <a:pt x="0" y="10859"/>
                    <a:pt x="10828" y="0"/>
                    <a:pt x="24149" y="0"/>
                  </a:cubicBezTo>
                  <a:lnTo>
                    <a:pt x="83490" y="0"/>
                  </a:lnTo>
                  <a:cubicBezTo>
                    <a:pt x="96812" y="0"/>
                    <a:pt x="107640" y="10859"/>
                    <a:pt x="107640" y="24217"/>
                  </a:cubicBezTo>
                  <a:lnTo>
                    <a:pt x="107640" y="87797"/>
                  </a:lnTo>
                  <a:cubicBezTo>
                    <a:pt x="107640" y="101156"/>
                    <a:pt x="96812" y="112014"/>
                    <a:pt x="83490" y="112014"/>
                  </a:cubicBezTo>
                  <a:close/>
                  <a:moveTo>
                    <a:pt x="24078" y="10716"/>
                  </a:moveTo>
                  <a:cubicBezTo>
                    <a:pt x="16670" y="10716"/>
                    <a:pt x="10614" y="16788"/>
                    <a:pt x="10614" y="24217"/>
                  </a:cubicBezTo>
                  <a:lnTo>
                    <a:pt x="10614" y="87797"/>
                  </a:lnTo>
                  <a:cubicBezTo>
                    <a:pt x="10614" y="95226"/>
                    <a:pt x="16670" y="101298"/>
                    <a:pt x="24078" y="101298"/>
                  </a:cubicBezTo>
                  <a:lnTo>
                    <a:pt x="83419" y="101298"/>
                  </a:lnTo>
                  <a:cubicBezTo>
                    <a:pt x="90828" y="101298"/>
                    <a:pt x="96883" y="95226"/>
                    <a:pt x="96883" y="87797"/>
                  </a:cubicBezTo>
                  <a:lnTo>
                    <a:pt x="96883" y="24217"/>
                  </a:lnTo>
                  <a:cubicBezTo>
                    <a:pt x="96883" y="16788"/>
                    <a:pt x="90828" y="10716"/>
                    <a:pt x="83419" y="10716"/>
                  </a:cubicBezTo>
                  <a:lnTo>
                    <a:pt x="24078" y="1071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431">
              <a:extLst>
                <a:ext uri="{FF2B5EF4-FFF2-40B4-BE49-F238E27FC236}">
                  <a16:creationId xmlns:a16="http://schemas.microsoft.com/office/drawing/2014/main" id="{3245C9FA-0563-8190-1FDF-30A6E7EE8A90}"/>
                </a:ext>
              </a:extLst>
            </p:cNvPr>
            <p:cNvSpPr/>
            <p:nvPr/>
          </p:nvSpPr>
          <p:spPr>
            <a:xfrm>
              <a:off x="4067179" y="5086802"/>
              <a:ext cx="145324" cy="232171"/>
            </a:xfrm>
            <a:custGeom>
              <a:avLst/>
              <a:gdLst>
                <a:gd name="connsiteX0" fmla="*/ 121175 w 145324"/>
                <a:gd name="connsiteY0" fmla="*/ 232172 h 232171"/>
                <a:gd name="connsiteX1" fmla="*/ 24149 w 145324"/>
                <a:gd name="connsiteY1" fmla="*/ 232172 h 232171"/>
                <a:gd name="connsiteX2" fmla="*/ 0 w 145324"/>
                <a:gd name="connsiteY2" fmla="*/ 207955 h 232171"/>
                <a:gd name="connsiteX3" fmla="*/ 0 w 145324"/>
                <a:gd name="connsiteY3" fmla="*/ 24217 h 232171"/>
                <a:gd name="connsiteX4" fmla="*/ 24149 w 145324"/>
                <a:gd name="connsiteY4" fmla="*/ 0 h 232171"/>
                <a:gd name="connsiteX5" fmla="*/ 121175 w 145324"/>
                <a:gd name="connsiteY5" fmla="*/ 0 h 232171"/>
                <a:gd name="connsiteX6" fmla="*/ 145324 w 145324"/>
                <a:gd name="connsiteY6" fmla="*/ 24217 h 232171"/>
                <a:gd name="connsiteX7" fmla="*/ 145324 w 145324"/>
                <a:gd name="connsiteY7" fmla="*/ 207955 h 232171"/>
                <a:gd name="connsiteX8" fmla="*/ 121175 w 145324"/>
                <a:gd name="connsiteY8" fmla="*/ 232172 h 232171"/>
                <a:gd name="connsiteX9" fmla="*/ 24149 w 145324"/>
                <a:gd name="connsiteY9" fmla="*/ 10644 h 232171"/>
                <a:gd name="connsiteX10" fmla="*/ 10686 w 145324"/>
                <a:gd name="connsiteY10" fmla="*/ 24146 h 232171"/>
                <a:gd name="connsiteX11" fmla="*/ 10686 w 145324"/>
                <a:gd name="connsiteY11" fmla="*/ 207883 h 232171"/>
                <a:gd name="connsiteX12" fmla="*/ 24149 w 145324"/>
                <a:gd name="connsiteY12" fmla="*/ 221385 h 232171"/>
                <a:gd name="connsiteX13" fmla="*/ 121175 w 145324"/>
                <a:gd name="connsiteY13" fmla="*/ 221385 h 232171"/>
                <a:gd name="connsiteX14" fmla="*/ 134639 w 145324"/>
                <a:gd name="connsiteY14" fmla="*/ 207883 h 232171"/>
                <a:gd name="connsiteX15" fmla="*/ 134639 w 145324"/>
                <a:gd name="connsiteY15" fmla="*/ 24146 h 232171"/>
                <a:gd name="connsiteX16" fmla="*/ 121175 w 145324"/>
                <a:gd name="connsiteY16" fmla="*/ 10644 h 232171"/>
                <a:gd name="connsiteX17" fmla="*/ 24149 w 145324"/>
                <a:gd name="connsiteY17" fmla="*/ 10644 h 232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24" h="232171">
                  <a:moveTo>
                    <a:pt x="121175" y="232172"/>
                  </a:moveTo>
                  <a:lnTo>
                    <a:pt x="24149" y="232172"/>
                  </a:lnTo>
                  <a:cubicBezTo>
                    <a:pt x="10828" y="232172"/>
                    <a:pt x="0" y="221313"/>
                    <a:pt x="0" y="207955"/>
                  </a:cubicBezTo>
                  <a:lnTo>
                    <a:pt x="0" y="24217"/>
                  </a:lnTo>
                  <a:cubicBezTo>
                    <a:pt x="0" y="10859"/>
                    <a:pt x="10828" y="0"/>
                    <a:pt x="24149" y="0"/>
                  </a:cubicBezTo>
                  <a:lnTo>
                    <a:pt x="121175" y="0"/>
                  </a:lnTo>
                  <a:cubicBezTo>
                    <a:pt x="134496" y="0"/>
                    <a:pt x="145324" y="10859"/>
                    <a:pt x="145324" y="24217"/>
                  </a:cubicBezTo>
                  <a:lnTo>
                    <a:pt x="145324" y="207955"/>
                  </a:lnTo>
                  <a:cubicBezTo>
                    <a:pt x="145324" y="221313"/>
                    <a:pt x="134496" y="232172"/>
                    <a:pt x="121175" y="232172"/>
                  </a:cubicBezTo>
                  <a:close/>
                  <a:moveTo>
                    <a:pt x="24149" y="10644"/>
                  </a:moveTo>
                  <a:cubicBezTo>
                    <a:pt x="16741" y="10644"/>
                    <a:pt x="10686" y="16716"/>
                    <a:pt x="10686" y="24146"/>
                  </a:cubicBezTo>
                  <a:lnTo>
                    <a:pt x="10686" y="207883"/>
                  </a:lnTo>
                  <a:cubicBezTo>
                    <a:pt x="10686" y="215313"/>
                    <a:pt x="16741" y="221385"/>
                    <a:pt x="24149" y="221385"/>
                  </a:cubicBezTo>
                  <a:lnTo>
                    <a:pt x="121175" y="221385"/>
                  </a:lnTo>
                  <a:cubicBezTo>
                    <a:pt x="128584" y="221385"/>
                    <a:pt x="134639" y="215313"/>
                    <a:pt x="134639" y="207883"/>
                  </a:cubicBezTo>
                  <a:lnTo>
                    <a:pt x="134639" y="24146"/>
                  </a:lnTo>
                  <a:cubicBezTo>
                    <a:pt x="134639" y="16716"/>
                    <a:pt x="128584" y="10644"/>
                    <a:pt x="121175" y="10644"/>
                  </a:cubicBezTo>
                  <a:lnTo>
                    <a:pt x="24149" y="1064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432">
              <a:extLst>
                <a:ext uri="{FF2B5EF4-FFF2-40B4-BE49-F238E27FC236}">
                  <a16:creationId xmlns:a16="http://schemas.microsoft.com/office/drawing/2014/main" id="{FB944550-F501-520F-F1B8-B2FBA5DB58F2}"/>
                </a:ext>
              </a:extLst>
            </p:cNvPr>
            <p:cNvSpPr/>
            <p:nvPr/>
          </p:nvSpPr>
          <p:spPr>
            <a:xfrm>
              <a:off x="3579203" y="4969002"/>
              <a:ext cx="129937" cy="339899"/>
            </a:xfrm>
            <a:custGeom>
              <a:avLst/>
              <a:gdLst>
                <a:gd name="connsiteX0" fmla="*/ 31060 w 129937"/>
                <a:gd name="connsiteY0" fmla="*/ 339900 h 339899"/>
                <a:gd name="connsiteX1" fmla="*/ 0 w 129937"/>
                <a:gd name="connsiteY1" fmla="*/ 308753 h 339899"/>
                <a:gd name="connsiteX2" fmla="*/ 0 w 129937"/>
                <a:gd name="connsiteY2" fmla="*/ 31147 h 339899"/>
                <a:gd name="connsiteX3" fmla="*/ 31060 w 129937"/>
                <a:gd name="connsiteY3" fmla="*/ 0 h 339899"/>
                <a:gd name="connsiteX4" fmla="*/ 98878 w 129937"/>
                <a:gd name="connsiteY4" fmla="*/ 0 h 339899"/>
                <a:gd name="connsiteX5" fmla="*/ 129937 w 129937"/>
                <a:gd name="connsiteY5" fmla="*/ 31147 h 339899"/>
                <a:gd name="connsiteX6" fmla="*/ 129937 w 129937"/>
                <a:gd name="connsiteY6" fmla="*/ 45649 h 339899"/>
                <a:gd name="connsiteX7" fmla="*/ 124594 w 129937"/>
                <a:gd name="connsiteY7" fmla="*/ 51006 h 339899"/>
                <a:gd name="connsiteX8" fmla="*/ 119251 w 129937"/>
                <a:gd name="connsiteY8" fmla="*/ 45649 h 339899"/>
                <a:gd name="connsiteX9" fmla="*/ 119251 w 129937"/>
                <a:gd name="connsiteY9" fmla="*/ 31147 h 339899"/>
                <a:gd name="connsiteX10" fmla="*/ 98878 w 129937"/>
                <a:gd name="connsiteY10" fmla="*/ 10716 h 339899"/>
                <a:gd name="connsiteX11" fmla="*/ 31060 w 129937"/>
                <a:gd name="connsiteY11" fmla="*/ 10716 h 339899"/>
                <a:gd name="connsiteX12" fmla="*/ 10686 w 129937"/>
                <a:gd name="connsiteY12" fmla="*/ 31147 h 339899"/>
                <a:gd name="connsiteX13" fmla="*/ 10686 w 129937"/>
                <a:gd name="connsiteY13" fmla="*/ 308681 h 339899"/>
                <a:gd name="connsiteX14" fmla="*/ 31060 w 129937"/>
                <a:gd name="connsiteY14" fmla="*/ 329113 h 339899"/>
                <a:gd name="connsiteX15" fmla="*/ 36402 w 129937"/>
                <a:gd name="connsiteY15" fmla="*/ 334470 h 339899"/>
                <a:gd name="connsiteX16" fmla="*/ 31060 w 129937"/>
                <a:gd name="connsiteY16" fmla="*/ 339828 h 33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9937" h="339899">
                  <a:moveTo>
                    <a:pt x="31060" y="339900"/>
                  </a:moveTo>
                  <a:cubicBezTo>
                    <a:pt x="13963" y="339900"/>
                    <a:pt x="0" y="325898"/>
                    <a:pt x="0" y="308753"/>
                  </a:cubicBezTo>
                  <a:lnTo>
                    <a:pt x="0" y="31147"/>
                  </a:lnTo>
                  <a:cubicBezTo>
                    <a:pt x="0" y="14002"/>
                    <a:pt x="13963" y="0"/>
                    <a:pt x="31060" y="0"/>
                  </a:cubicBezTo>
                  <a:lnTo>
                    <a:pt x="98878" y="0"/>
                  </a:lnTo>
                  <a:cubicBezTo>
                    <a:pt x="115974" y="0"/>
                    <a:pt x="129937" y="14002"/>
                    <a:pt x="129937" y="31147"/>
                  </a:cubicBezTo>
                  <a:lnTo>
                    <a:pt x="129937" y="45649"/>
                  </a:lnTo>
                  <a:cubicBezTo>
                    <a:pt x="129937" y="48578"/>
                    <a:pt x="127515" y="51006"/>
                    <a:pt x="124594" y="51006"/>
                  </a:cubicBezTo>
                  <a:cubicBezTo>
                    <a:pt x="121673" y="51006"/>
                    <a:pt x="119251" y="48578"/>
                    <a:pt x="119251" y="45649"/>
                  </a:cubicBezTo>
                  <a:lnTo>
                    <a:pt x="119251" y="31147"/>
                  </a:lnTo>
                  <a:cubicBezTo>
                    <a:pt x="119251" y="19860"/>
                    <a:pt x="110133" y="10716"/>
                    <a:pt x="98878" y="10716"/>
                  </a:cubicBezTo>
                  <a:lnTo>
                    <a:pt x="31060" y="10716"/>
                  </a:lnTo>
                  <a:cubicBezTo>
                    <a:pt x="19804" y="10716"/>
                    <a:pt x="10686" y="19860"/>
                    <a:pt x="10686" y="31147"/>
                  </a:cubicBezTo>
                  <a:lnTo>
                    <a:pt x="10686" y="308681"/>
                  </a:lnTo>
                  <a:cubicBezTo>
                    <a:pt x="10686" y="319969"/>
                    <a:pt x="19804" y="329113"/>
                    <a:pt x="31060" y="329113"/>
                  </a:cubicBezTo>
                  <a:cubicBezTo>
                    <a:pt x="33980" y="329113"/>
                    <a:pt x="36402" y="331541"/>
                    <a:pt x="36402" y="334470"/>
                  </a:cubicBezTo>
                  <a:cubicBezTo>
                    <a:pt x="36402" y="337399"/>
                    <a:pt x="33980" y="339828"/>
                    <a:pt x="31060" y="33982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433">
              <a:extLst>
                <a:ext uri="{FF2B5EF4-FFF2-40B4-BE49-F238E27FC236}">
                  <a16:creationId xmlns:a16="http://schemas.microsoft.com/office/drawing/2014/main" id="{29B802CB-3D4C-C156-9392-109A3A049746}"/>
                </a:ext>
              </a:extLst>
            </p:cNvPr>
            <p:cNvSpPr/>
            <p:nvPr/>
          </p:nvSpPr>
          <p:spPr>
            <a:xfrm>
              <a:off x="3780705" y="4972216"/>
              <a:ext cx="264774" cy="47863"/>
            </a:xfrm>
            <a:custGeom>
              <a:avLst/>
              <a:gdLst>
                <a:gd name="connsiteX0" fmla="*/ 259475 w 264774"/>
                <a:gd name="connsiteY0" fmla="*/ 47792 h 47863"/>
                <a:gd name="connsiteX1" fmla="*/ 255200 w 264774"/>
                <a:gd name="connsiteY1" fmla="*/ 45720 h 47863"/>
                <a:gd name="connsiteX2" fmla="*/ 228344 w 264774"/>
                <a:gd name="connsiteY2" fmla="*/ 10644 h 47863"/>
                <a:gd name="connsiteX3" fmla="*/ 36430 w 264774"/>
                <a:gd name="connsiteY3" fmla="*/ 10644 h 47863"/>
                <a:gd name="connsiteX4" fmla="*/ 9574 w 264774"/>
                <a:gd name="connsiteY4" fmla="*/ 45720 h 47863"/>
                <a:gd name="connsiteX5" fmla="*/ 2094 w 264774"/>
                <a:gd name="connsiteY5" fmla="*/ 46720 h 47863"/>
                <a:gd name="connsiteX6" fmla="*/ 1097 w 264774"/>
                <a:gd name="connsiteY6" fmla="*/ 39219 h 47863"/>
                <a:gd name="connsiteX7" fmla="*/ 29592 w 264774"/>
                <a:gd name="connsiteY7" fmla="*/ 2072 h 47863"/>
                <a:gd name="connsiteX8" fmla="*/ 33795 w 264774"/>
                <a:gd name="connsiteY8" fmla="*/ 0 h 47863"/>
                <a:gd name="connsiteX9" fmla="*/ 230980 w 264774"/>
                <a:gd name="connsiteY9" fmla="*/ 0 h 47863"/>
                <a:gd name="connsiteX10" fmla="*/ 235183 w 264774"/>
                <a:gd name="connsiteY10" fmla="*/ 2072 h 47863"/>
                <a:gd name="connsiteX11" fmla="*/ 263678 w 264774"/>
                <a:gd name="connsiteY11" fmla="*/ 39219 h 47863"/>
                <a:gd name="connsiteX12" fmla="*/ 262680 w 264774"/>
                <a:gd name="connsiteY12" fmla="*/ 46720 h 47863"/>
                <a:gd name="connsiteX13" fmla="*/ 259403 w 264774"/>
                <a:gd name="connsiteY13" fmla="*/ 47863 h 4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4774" h="47863">
                  <a:moveTo>
                    <a:pt x="259475" y="47792"/>
                  </a:moveTo>
                  <a:cubicBezTo>
                    <a:pt x="257836" y="47792"/>
                    <a:pt x="256269" y="47077"/>
                    <a:pt x="255200" y="45720"/>
                  </a:cubicBezTo>
                  <a:lnTo>
                    <a:pt x="228344" y="10644"/>
                  </a:lnTo>
                  <a:lnTo>
                    <a:pt x="36430" y="10644"/>
                  </a:lnTo>
                  <a:lnTo>
                    <a:pt x="9574" y="45720"/>
                  </a:lnTo>
                  <a:cubicBezTo>
                    <a:pt x="7793" y="48077"/>
                    <a:pt x="4445" y="48506"/>
                    <a:pt x="2094" y="46720"/>
                  </a:cubicBezTo>
                  <a:cubicBezTo>
                    <a:pt x="-257" y="44934"/>
                    <a:pt x="-684" y="41577"/>
                    <a:pt x="1097" y="39219"/>
                  </a:cubicBezTo>
                  <a:lnTo>
                    <a:pt x="29592" y="2072"/>
                  </a:lnTo>
                  <a:cubicBezTo>
                    <a:pt x="30589" y="786"/>
                    <a:pt x="32156" y="0"/>
                    <a:pt x="33795" y="0"/>
                  </a:cubicBezTo>
                  <a:lnTo>
                    <a:pt x="230980" y="0"/>
                  </a:lnTo>
                  <a:cubicBezTo>
                    <a:pt x="232618" y="0"/>
                    <a:pt x="234185" y="786"/>
                    <a:pt x="235183" y="2072"/>
                  </a:cubicBezTo>
                  <a:lnTo>
                    <a:pt x="263678" y="39219"/>
                  </a:lnTo>
                  <a:cubicBezTo>
                    <a:pt x="265459" y="41577"/>
                    <a:pt x="265031" y="44934"/>
                    <a:pt x="262680" y="46720"/>
                  </a:cubicBezTo>
                  <a:cubicBezTo>
                    <a:pt x="261683" y="47435"/>
                    <a:pt x="260543" y="47863"/>
                    <a:pt x="259403" y="4786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91" name="Table 492">
            <a:extLst>
              <a:ext uri="{FF2B5EF4-FFF2-40B4-BE49-F238E27FC236}">
                <a16:creationId xmlns:a16="http://schemas.microsoft.com/office/drawing/2014/main" id="{02B3DDA6-5A86-4671-5182-18B67FD18033}"/>
              </a:ext>
            </a:extLst>
          </p:cNvPr>
          <p:cNvGraphicFramePr>
            <a:graphicFrameLocks noGrp="1"/>
          </p:cNvGraphicFramePr>
          <p:nvPr/>
        </p:nvGraphicFramePr>
        <p:xfrm>
          <a:off x="5814326" y="4079133"/>
          <a:ext cx="4620960" cy="1413744"/>
        </p:xfrm>
        <a:graphic>
          <a:graphicData uri="http://schemas.openxmlformats.org/drawingml/2006/table">
            <a:tbl>
              <a:tblPr>
                <a:tableStyleId>{9D7B26C5-4107-4FEC-AEDC-1716B250A1EF}</a:tableStyleId>
              </a:tblPr>
              <a:tblGrid>
                <a:gridCol w="2310480">
                  <a:extLst>
                    <a:ext uri="{9D8B030D-6E8A-4147-A177-3AD203B41FA5}">
                      <a16:colId xmlns:a16="http://schemas.microsoft.com/office/drawing/2014/main" val="1584487396"/>
                    </a:ext>
                  </a:extLst>
                </a:gridCol>
                <a:gridCol w="2310480">
                  <a:extLst>
                    <a:ext uri="{9D8B030D-6E8A-4147-A177-3AD203B41FA5}">
                      <a16:colId xmlns:a16="http://schemas.microsoft.com/office/drawing/2014/main" val="1073477736"/>
                    </a:ext>
                  </a:extLst>
                </a:gridCol>
              </a:tblGrid>
              <a:tr h="215294">
                <a:tc>
                  <a:txBody>
                    <a:bodyPr/>
                    <a:lstStyle/>
                    <a:p>
                      <a:pPr algn="ctr" rtl="0" fontAlgn="ctr">
                        <a:spcBef>
                          <a:spcPts val="0"/>
                        </a:spcBef>
                        <a:spcAft>
                          <a:spcPts val="0"/>
                        </a:spcAft>
                      </a:pPr>
                      <a:r>
                        <a:rPr lang="en-US" sz="1200" b="1" u="none" strike="noStrike" noProof="0">
                          <a:solidFill>
                            <a:schemeClr val="bg1"/>
                          </a:solidFill>
                          <a:effectLst/>
                        </a:rPr>
                        <a:t>Maintenance Event</a:t>
                      </a:r>
                      <a:endParaRPr lang="en-US" sz="12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solidFill>
                      <a:schemeClr val="tx1"/>
                    </a:solidFill>
                  </a:tcPr>
                </a:tc>
                <a:tc>
                  <a:txBody>
                    <a:bodyPr/>
                    <a:lstStyle/>
                    <a:p>
                      <a:pPr algn="ctr" rtl="0" fontAlgn="ctr">
                        <a:spcBef>
                          <a:spcPts val="0"/>
                        </a:spcBef>
                        <a:spcAft>
                          <a:spcPts val="0"/>
                        </a:spcAft>
                      </a:pPr>
                      <a:r>
                        <a:rPr lang="en-US" sz="1200" b="1" noProof="0">
                          <a:solidFill>
                            <a:schemeClr val="bg1"/>
                          </a:solidFill>
                          <a:effectLst/>
                        </a:rPr>
                        <a:t>Target</a:t>
                      </a:r>
                      <a:endParaRPr lang="en-US" sz="12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solidFill>
                      <a:schemeClr val="tx1"/>
                    </a:solidFill>
                  </a:tcPr>
                </a:tc>
                <a:extLst>
                  <a:ext uri="{0D108BD9-81ED-4DB2-BD59-A6C34878D82A}">
                    <a16:rowId xmlns:a16="http://schemas.microsoft.com/office/drawing/2014/main" val="3460064979"/>
                  </a:ext>
                </a:extLst>
              </a:tr>
              <a:tr h="215294">
                <a:tc>
                  <a:txBody>
                    <a:bodyPr/>
                    <a:lstStyle/>
                    <a:p>
                      <a:pPr algn="ctr" rtl="0" fontAlgn="ctr">
                        <a:spcBef>
                          <a:spcPts val="0"/>
                        </a:spcBef>
                        <a:spcAft>
                          <a:spcPts val="0"/>
                        </a:spcAft>
                      </a:pPr>
                      <a:r>
                        <a:rPr lang="en-US" sz="1200" b="0" u="none" strike="noStrike" noProof="0">
                          <a:solidFill>
                            <a:srgbClr val="000000"/>
                          </a:solidFill>
                          <a:effectLst/>
                        </a:rPr>
                        <a:t>Oil and filter</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Up to 32k mi / 1500 </a:t>
                      </a:r>
                      <a:r>
                        <a:rPr lang="en-US" sz="1200" noProof="0" err="1">
                          <a:effectLst/>
                        </a:rPr>
                        <a:t>hr</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4101482269"/>
                  </a:ext>
                </a:extLst>
              </a:tr>
              <a:tr h="215294">
                <a:tc>
                  <a:txBody>
                    <a:bodyPr/>
                    <a:lstStyle/>
                    <a:p>
                      <a:pPr algn="ctr" rtl="0" fontAlgn="ctr">
                        <a:spcBef>
                          <a:spcPts val="0"/>
                        </a:spcBef>
                        <a:spcAft>
                          <a:spcPts val="0"/>
                        </a:spcAft>
                      </a:pPr>
                      <a:r>
                        <a:rPr lang="en-US" sz="1200" b="0" u="none" strike="noStrike" noProof="0">
                          <a:solidFill>
                            <a:srgbClr val="000000"/>
                          </a:solidFill>
                          <a:effectLst/>
                        </a:rPr>
                        <a:t>Valve lash adjustment</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300k mi</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496193975"/>
                  </a:ext>
                </a:extLst>
              </a:tr>
              <a:tr h="215294">
                <a:tc>
                  <a:txBody>
                    <a:bodyPr/>
                    <a:lstStyle/>
                    <a:p>
                      <a:pPr algn="ctr" rtl="0" fontAlgn="ctr">
                        <a:spcBef>
                          <a:spcPts val="0"/>
                        </a:spcBef>
                        <a:spcAft>
                          <a:spcPts val="0"/>
                        </a:spcAft>
                      </a:pPr>
                      <a:r>
                        <a:rPr lang="en-US" sz="1200" b="0" u="none" strike="noStrike" noProof="0">
                          <a:solidFill>
                            <a:srgbClr val="000000"/>
                          </a:solidFill>
                          <a:effectLst/>
                        </a:rPr>
                        <a:t>DPF clean</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MD 225k mi &amp; HD up to 800k mi</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70473948"/>
                  </a:ext>
                </a:extLst>
              </a:tr>
              <a:tr h="215294">
                <a:tc>
                  <a:txBody>
                    <a:bodyPr/>
                    <a:lstStyle/>
                    <a:p>
                      <a:pPr algn="ctr" rtl="0" fontAlgn="ctr">
                        <a:spcBef>
                          <a:spcPts val="0"/>
                        </a:spcBef>
                        <a:spcAft>
                          <a:spcPts val="0"/>
                        </a:spcAft>
                      </a:pPr>
                      <a:r>
                        <a:rPr lang="en-US" sz="1200" b="0" u="none" strike="noStrike" noProof="0">
                          <a:solidFill>
                            <a:srgbClr val="000000"/>
                          </a:solidFill>
                          <a:effectLst/>
                        </a:rPr>
                        <a:t>DEF change</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300k mi</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003982871"/>
                  </a:ext>
                </a:extLst>
              </a:tr>
              <a:tr h="215294">
                <a:tc>
                  <a:txBody>
                    <a:bodyPr/>
                    <a:lstStyle/>
                    <a:p>
                      <a:pPr algn="ctr" rtl="0" fontAlgn="ctr">
                        <a:spcBef>
                          <a:spcPts val="0"/>
                        </a:spcBef>
                        <a:spcAft>
                          <a:spcPts val="0"/>
                        </a:spcAft>
                      </a:pPr>
                      <a:r>
                        <a:rPr lang="en-US" sz="1200" b="0" noProof="0">
                          <a:effectLst/>
                        </a:rPr>
                        <a:t>Base warranty</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5 yr / 100k mi</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3065924489"/>
                  </a:ext>
                </a:extLst>
              </a:tr>
            </a:tbl>
          </a:graphicData>
        </a:graphic>
      </p:graphicFrame>
      <p:sp>
        <p:nvSpPr>
          <p:cNvPr id="52" name="Espaço Reservado para Conteúdo 51">
            <a:extLst>
              <a:ext uri="{FF2B5EF4-FFF2-40B4-BE49-F238E27FC236}">
                <a16:creationId xmlns:a16="http://schemas.microsoft.com/office/drawing/2014/main" id="{A1EB05B2-DF41-EB73-9A78-8B0D57F112EC}"/>
              </a:ext>
            </a:extLst>
          </p:cNvPr>
          <p:cNvSpPr>
            <a:spLocks noGrp="1"/>
          </p:cNvSpPr>
          <p:nvPr>
            <p:ph idx="1"/>
          </p:nvPr>
        </p:nvSpPr>
        <p:spPr>
          <a:xfrm>
            <a:off x="1307888" y="669494"/>
            <a:ext cx="8921200" cy="631768"/>
          </a:xfrm>
        </p:spPr>
        <p:txBody>
          <a:bodyPr>
            <a:normAutofit/>
          </a:bodyPr>
          <a:lstStyle/>
          <a:p>
            <a:r>
              <a:rPr kumimoji="0" lang="en-US" sz="2400" u="none" strike="noStrike" kern="1200" cap="none" normalizeH="0" baseline="0" noProof="0">
                <a:ln>
                  <a:noFill/>
                </a:ln>
                <a:solidFill>
                  <a:schemeClr val="accent1"/>
                </a:solidFill>
                <a:effectLst/>
                <a:uLnTx/>
                <a:uFillTx/>
                <a:latin typeface="Aptos" panose="020B0004020202020204" pitchFamily="34" charset="0"/>
                <a:ea typeface="+mn-ea"/>
                <a:cs typeface="Arial" panose="020B0604020202020204" pitchFamily="34" charset="0"/>
              </a:rPr>
              <a:t>Recreational vehicle &amp; Emergency vehicle Application(s)</a:t>
            </a:r>
          </a:p>
        </p:txBody>
      </p:sp>
      <p:sp>
        <p:nvSpPr>
          <p:cNvPr id="4" name="Rounded Rectangle 56">
            <a:extLst>
              <a:ext uri="{FF2B5EF4-FFF2-40B4-BE49-F238E27FC236}">
                <a16:creationId xmlns:a16="http://schemas.microsoft.com/office/drawing/2014/main" id="{4E71C4CD-891C-EAD5-4ECA-7E81EC9242E6}"/>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8" name="Conector Reto 31">
            <a:extLst>
              <a:ext uri="{FF2B5EF4-FFF2-40B4-BE49-F238E27FC236}">
                <a16:creationId xmlns:a16="http://schemas.microsoft.com/office/drawing/2014/main" id="{EB5198A6-77FC-EC90-AD29-04893314AF6B}"/>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75">
            <a:extLst>
              <a:ext uri="{FF2B5EF4-FFF2-40B4-BE49-F238E27FC236}">
                <a16:creationId xmlns:a16="http://schemas.microsoft.com/office/drawing/2014/main" id="{09224A8D-95D1-0B97-73BB-5A0146EDFAE6}"/>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31">
            <a:extLst>
              <a:ext uri="{FF2B5EF4-FFF2-40B4-BE49-F238E27FC236}">
                <a16:creationId xmlns:a16="http://schemas.microsoft.com/office/drawing/2014/main" id="{AD4BD181-39F5-7EBB-7E80-DC4DE767B26E}"/>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Conector Reto 31">
            <a:extLst>
              <a:ext uri="{FF2B5EF4-FFF2-40B4-BE49-F238E27FC236}">
                <a16:creationId xmlns:a16="http://schemas.microsoft.com/office/drawing/2014/main" id="{4C61C672-B142-1228-C150-CCBD66DC74DC}"/>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Conector Reto 78">
            <a:extLst>
              <a:ext uri="{FF2B5EF4-FFF2-40B4-BE49-F238E27FC236}">
                <a16:creationId xmlns:a16="http://schemas.microsoft.com/office/drawing/2014/main" id="{05F3EC3C-322D-93A7-CEE2-2091B987E7C7}"/>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Conector Reto 31">
            <a:extLst>
              <a:ext uri="{FF2B5EF4-FFF2-40B4-BE49-F238E27FC236}">
                <a16:creationId xmlns:a16="http://schemas.microsoft.com/office/drawing/2014/main" id="{D21D8139-C294-B131-FE98-29C3097FFD0A}"/>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7" name="CaixaDeTexto 80">
            <a:extLst>
              <a:ext uri="{FF2B5EF4-FFF2-40B4-BE49-F238E27FC236}">
                <a16:creationId xmlns:a16="http://schemas.microsoft.com/office/drawing/2014/main" id="{6497F3EA-613B-8992-9555-858199E96AE4}"/>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28" name="CaixaDeTexto 81">
            <a:extLst>
              <a:ext uri="{FF2B5EF4-FFF2-40B4-BE49-F238E27FC236}">
                <a16:creationId xmlns:a16="http://schemas.microsoft.com/office/drawing/2014/main" id="{E3A124EF-93D9-B113-6DE7-D902F490ED90}"/>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29" name="CaixaDeTexto 82">
            <a:extLst>
              <a:ext uri="{FF2B5EF4-FFF2-40B4-BE49-F238E27FC236}">
                <a16:creationId xmlns:a16="http://schemas.microsoft.com/office/drawing/2014/main" id="{AE46BC8F-A2B3-6652-815B-B1F12513C6C8}"/>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30" name="CaixaDeTexto 83">
            <a:extLst>
              <a:ext uri="{FF2B5EF4-FFF2-40B4-BE49-F238E27FC236}">
                <a16:creationId xmlns:a16="http://schemas.microsoft.com/office/drawing/2014/main" id="{B1F518FA-6447-3D81-C6A8-797BA8156A8C}"/>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31" name="CaixaDeTexto 84">
            <a:extLst>
              <a:ext uri="{FF2B5EF4-FFF2-40B4-BE49-F238E27FC236}">
                <a16:creationId xmlns:a16="http://schemas.microsoft.com/office/drawing/2014/main" id="{D3271CC2-B888-0E05-D733-8125564E089C}"/>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pplications</a:t>
            </a:r>
          </a:p>
        </p:txBody>
      </p:sp>
      <p:sp>
        <p:nvSpPr>
          <p:cNvPr id="32" name="CaixaDeTexto 85">
            <a:extLst>
              <a:ext uri="{FF2B5EF4-FFF2-40B4-BE49-F238E27FC236}">
                <a16:creationId xmlns:a16="http://schemas.microsoft.com/office/drawing/2014/main" id="{185C0301-A489-EFA7-89EF-DDDEF34691BB}"/>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33" name="CaixaDeTexto 86">
            <a:extLst>
              <a:ext uri="{FF2B5EF4-FFF2-40B4-BE49-F238E27FC236}">
                <a16:creationId xmlns:a16="http://schemas.microsoft.com/office/drawing/2014/main" id="{7DEE4E75-FF7A-2F32-865A-AD2F0602EB8E}"/>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34" name="CaixaDeTexto 87">
            <a:extLst>
              <a:ext uri="{FF2B5EF4-FFF2-40B4-BE49-F238E27FC236}">
                <a16:creationId xmlns:a16="http://schemas.microsoft.com/office/drawing/2014/main" id="{49A5FE3C-FBEB-151D-46C1-E4D527CEF223}"/>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35" name="Conector Reto 31">
            <a:extLst>
              <a:ext uri="{FF2B5EF4-FFF2-40B4-BE49-F238E27FC236}">
                <a16:creationId xmlns:a16="http://schemas.microsoft.com/office/drawing/2014/main" id="{94213886-2873-A50B-C94C-CE37F4F7C4B9}"/>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3" name="Conector Reto 31">
            <a:extLst>
              <a:ext uri="{FF2B5EF4-FFF2-40B4-BE49-F238E27FC236}">
                <a16:creationId xmlns:a16="http://schemas.microsoft.com/office/drawing/2014/main" id="{56001F71-23EC-C90D-7FAC-DE1261CEAE53}"/>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4" name="Conector Reto 17">
            <a:extLst>
              <a:ext uri="{FF2B5EF4-FFF2-40B4-BE49-F238E27FC236}">
                <a16:creationId xmlns:a16="http://schemas.microsoft.com/office/drawing/2014/main" id="{511255A8-740C-37DC-9625-4A7DBEDCE158}"/>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45" name="Rounded Rectangle 141">
            <a:extLst>
              <a:ext uri="{FF2B5EF4-FFF2-40B4-BE49-F238E27FC236}">
                <a16:creationId xmlns:a16="http://schemas.microsoft.com/office/drawing/2014/main" id="{46711C88-D6E7-5A31-60F1-6A7069E2A89D}"/>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46" name="CaixaDeTexto 89">
            <a:extLst>
              <a:ext uri="{FF2B5EF4-FFF2-40B4-BE49-F238E27FC236}">
                <a16:creationId xmlns:a16="http://schemas.microsoft.com/office/drawing/2014/main" id="{D864A8FE-5810-DF9E-BCA2-A7553416BA18}"/>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47" name="Retângulo Arredondado 128">
            <a:extLst>
              <a:ext uri="{FF2B5EF4-FFF2-40B4-BE49-F238E27FC236}">
                <a16:creationId xmlns:a16="http://schemas.microsoft.com/office/drawing/2014/main" id="{9BF124F3-BBA6-45A2-4DB5-BA57B79A494B}"/>
              </a:ext>
            </a:extLst>
          </p:cNvPr>
          <p:cNvSpPr/>
          <p:nvPr/>
        </p:nvSpPr>
        <p:spPr>
          <a:xfrm>
            <a:off x="8783064"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49" name="TextBox 60">
            <a:extLst>
              <a:ext uri="{FF2B5EF4-FFF2-40B4-BE49-F238E27FC236}">
                <a16:creationId xmlns:a16="http://schemas.microsoft.com/office/drawing/2014/main" id="{83926380-37AD-A56F-3453-53242F717110}"/>
              </a:ext>
            </a:extLst>
          </p:cNvPr>
          <p:cNvSpPr txBox="1"/>
          <p:nvPr/>
        </p:nvSpPr>
        <p:spPr>
          <a:xfrm>
            <a:off x="8723924"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4/6</a:t>
            </a:r>
          </a:p>
        </p:txBody>
      </p:sp>
      <p:pic>
        <p:nvPicPr>
          <p:cNvPr id="57" name="Gráfico 130" descr="Acento Circunflexo à Direita com preenchimento sólido">
            <a:extLst>
              <a:ext uri="{FF2B5EF4-FFF2-40B4-BE49-F238E27FC236}">
                <a16:creationId xmlns:a16="http://schemas.microsoft.com/office/drawing/2014/main" id="{666C66E9-C64B-46CF-4AAE-620C4AB91F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62415" y="6546689"/>
            <a:ext cx="156462" cy="156462"/>
          </a:xfrm>
          <a:prstGeom prst="rect">
            <a:avLst/>
          </a:prstGeom>
        </p:spPr>
      </p:pic>
      <p:pic>
        <p:nvPicPr>
          <p:cNvPr id="58" name="Gráfico 131" descr="Acento Circunflexo à Direita com preenchimento sólido">
            <a:extLst>
              <a:ext uri="{FF2B5EF4-FFF2-40B4-BE49-F238E27FC236}">
                <a16:creationId xmlns:a16="http://schemas.microsoft.com/office/drawing/2014/main" id="{C348534E-7388-D9DF-7B60-D4A95A700C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8647109" y="6546689"/>
            <a:ext cx="156462" cy="156462"/>
          </a:xfrm>
          <a:prstGeom prst="rect">
            <a:avLst/>
          </a:prstGeom>
        </p:spPr>
      </p:pic>
    </p:spTree>
    <p:extLst>
      <p:ext uri="{BB962C8B-B14F-4D97-AF65-F5344CB8AC3E}">
        <p14:creationId xmlns:p14="http://schemas.microsoft.com/office/powerpoint/2010/main" val="30233312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D76DE5E-0B12-74EB-5ECF-43B233B0C180}"/>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999D4AE0-9D83-F801-7C10-3C6F6995A046}"/>
              </a:ext>
            </a:extLst>
          </p:cNvPr>
          <p:cNvSpPr/>
          <p:nvPr/>
        </p:nvSpPr>
        <p:spPr>
          <a:xfrm>
            <a:off x="1341120" y="1247695"/>
            <a:ext cx="10063739"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2" name="Espaço Reservado para Imagem 10">
            <a:extLst>
              <a:ext uri="{FF2B5EF4-FFF2-40B4-BE49-F238E27FC236}">
                <a16:creationId xmlns:a16="http://schemas.microsoft.com/office/drawing/2014/main" id="{AB188687-C919-63B5-AB22-ADBD005FA9B3}"/>
              </a:ext>
            </a:extLst>
          </p:cNvPr>
          <p:cNvPicPr>
            <a:picLocks noChangeAspect="1"/>
          </p:cNvPicPr>
          <p:nvPr/>
        </p:nvPicPr>
        <p:blipFill>
          <a:blip r:embed="rId2" cstate="screen">
            <a:extLst>
              <a:ext uri="{28A0092B-C50C-407E-A947-70E740481C1C}">
                <a14:useLocalDpi xmlns:a14="http://schemas.microsoft.com/office/drawing/2010/main"/>
              </a:ext>
            </a:extLst>
          </a:blip>
          <a:srcRect l="29194" r="14365"/>
          <a:stretch/>
        </p:blipFill>
        <p:spPr>
          <a:xfrm>
            <a:off x="1711219" y="1541721"/>
            <a:ext cx="2846425" cy="4014738"/>
          </a:xfrm>
          <a:custGeom>
            <a:avLst/>
            <a:gdLst>
              <a:gd name="connsiteX0" fmla="*/ 2600409 w 6100200"/>
              <a:gd name="connsiteY0" fmla="*/ 0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0" fmla="*/ 1820968 w 6100200"/>
              <a:gd name="connsiteY0" fmla="*/ 562381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8" fmla="*/ 1820968 w 6100200"/>
              <a:gd name="connsiteY8" fmla="*/ 562381 h 6182557"/>
              <a:gd name="connsiteX0" fmla="*/ 1820968 w 6100200"/>
              <a:gd name="connsiteY0" fmla="*/ 0 h 5620176"/>
              <a:gd name="connsiteX1" fmla="*/ 5547685 w 6100200"/>
              <a:gd name="connsiteY1" fmla="*/ 0 h 5620176"/>
              <a:gd name="connsiteX2" fmla="*/ 6100200 w 6100200"/>
              <a:gd name="connsiteY2" fmla="*/ 4436520 h 5620176"/>
              <a:gd name="connsiteX3" fmla="*/ 4413173 w 6100200"/>
              <a:gd name="connsiteY3" fmla="*/ 5620176 h 5620176"/>
              <a:gd name="connsiteX4" fmla="*/ 232259 w 6100200"/>
              <a:gd name="connsiteY4" fmla="*/ 5620176 h 5620176"/>
              <a:gd name="connsiteX5" fmla="*/ 0 w 6100200"/>
              <a:gd name="connsiteY5" fmla="*/ 5388074 h 5620176"/>
              <a:gd name="connsiteX6" fmla="*/ 0 w 6100200"/>
              <a:gd name="connsiteY6" fmla="*/ 1383077 h 5620176"/>
              <a:gd name="connsiteX7" fmla="*/ 98758 w 6100200"/>
              <a:gd name="connsiteY7" fmla="*/ 1193072 h 5620176"/>
              <a:gd name="connsiteX8" fmla="*/ 1820968 w 610020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4413173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9867 h 5630043"/>
              <a:gd name="connsiteX1" fmla="*/ 5587150 w 5587150"/>
              <a:gd name="connsiteY1" fmla="*/ 0 h 5630043"/>
              <a:gd name="connsiteX2" fmla="*/ 5587150 w 5587150"/>
              <a:gd name="connsiteY2" fmla="*/ 3982669 h 5630043"/>
              <a:gd name="connsiteX3" fmla="*/ 3239079 w 5587150"/>
              <a:gd name="connsiteY3" fmla="*/ 5630043 h 5630043"/>
              <a:gd name="connsiteX4" fmla="*/ 232259 w 5587150"/>
              <a:gd name="connsiteY4" fmla="*/ 5630043 h 5630043"/>
              <a:gd name="connsiteX5" fmla="*/ 0 w 5587150"/>
              <a:gd name="connsiteY5" fmla="*/ 5397941 h 5630043"/>
              <a:gd name="connsiteX6" fmla="*/ 0 w 5587150"/>
              <a:gd name="connsiteY6" fmla="*/ 1392944 h 5630043"/>
              <a:gd name="connsiteX7" fmla="*/ 98758 w 5587150"/>
              <a:gd name="connsiteY7" fmla="*/ 1202939 h 5630043"/>
              <a:gd name="connsiteX8" fmla="*/ 1820968 w 5587150"/>
              <a:gd name="connsiteY8" fmla="*/ 9867 h 5630043"/>
              <a:gd name="connsiteX0" fmla="*/ 1820968 w 5587150"/>
              <a:gd name="connsiteY0" fmla="*/ 0 h 5620176"/>
              <a:gd name="connsiteX1" fmla="*/ 5191339 w 5587150"/>
              <a:gd name="connsiteY1" fmla="*/ 510004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87150 w 5587150"/>
              <a:gd name="connsiteY1" fmla="*/ 391851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98965"/>
              <a:gd name="connsiteY0" fmla="*/ 0 h 5620176"/>
              <a:gd name="connsiteX1" fmla="*/ 5598965 w 5598965"/>
              <a:gd name="connsiteY1" fmla="*/ 1948 h 5620176"/>
              <a:gd name="connsiteX2" fmla="*/ 5587150 w 5598965"/>
              <a:gd name="connsiteY2" fmla="*/ 3972802 h 5620176"/>
              <a:gd name="connsiteX3" fmla="*/ 3239079 w 5598965"/>
              <a:gd name="connsiteY3" fmla="*/ 5620176 h 5620176"/>
              <a:gd name="connsiteX4" fmla="*/ 232259 w 5598965"/>
              <a:gd name="connsiteY4" fmla="*/ 5620176 h 5620176"/>
              <a:gd name="connsiteX5" fmla="*/ 0 w 5598965"/>
              <a:gd name="connsiteY5" fmla="*/ 5388074 h 5620176"/>
              <a:gd name="connsiteX6" fmla="*/ 0 w 5598965"/>
              <a:gd name="connsiteY6" fmla="*/ 1383077 h 5620176"/>
              <a:gd name="connsiteX7" fmla="*/ 98758 w 5598965"/>
              <a:gd name="connsiteY7" fmla="*/ 1193072 h 5620176"/>
              <a:gd name="connsiteX8" fmla="*/ 1820968 w 5598965"/>
              <a:gd name="connsiteY8" fmla="*/ 0 h 5620176"/>
              <a:gd name="connsiteX0" fmla="*/ 1820968 w 5593058"/>
              <a:gd name="connsiteY0" fmla="*/ 0 h 5620176"/>
              <a:gd name="connsiteX1" fmla="*/ 5593058 w 5593058"/>
              <a:gd name="connsiteY1" fmla="*/ 1948 h 5620176"/>
              <a:gd name="connsiteX2" fmla="*/ 5587150 w 5593058"/>
              <a:gd name="connsiteY2" fmla="*/ 3972802 h 5620176"/>
              <a:gd name="connsiteX3" fmla="*/ 3239079 w 5593058"/>
              <a:gd name="connsiteY3" fmla="*/ 5620176 h 5620176"/>
              <a:gd name="connsiteX4" fmla="*/ 232259 w 5593058"/>
              <a:gd name="connsiteY4" fmla="*/ 5620176 h 5620176"/>
              <a:gd name="connsiteX5" fmla="*/ 0 w 5593058"/>
              <a:gd name="connsiteY5" fmla="*/ 5388074 h 5620176"/>
              <a:gd name="connsiteX6" fmla="*/ 0 w 5593058"/>
              <a:gd name="connsiteY6" fmla="*/ 1383077 h 5620176"/>
              <a:gd name="connsiteX7" fmla="*/ 98758 w 5593058"/>
              <a:gd name="connsiteY7" fmla="*/ 1193072 h 5620176"/>
              <a:gd name="connsiteX8" fmla="*/ 1820968 w 5593058"/>
              <a:gd name="connsiteY8" fmla="*/ 0 h 5620176"/>
              <a:gd name="connsiteX0" fmla="*/ 1820968 w 5871561"/>
              <a:gd name="connsiteY0" fmla="*/ 93271 h 5713447"/>
              <a:gd name="connsiteX1" fmla="*/ 5593058 w 5871561"/>
              <a:gd name="connsiteY1" fmla="*/ 95219 h 5713447"/>
              <a:gd name="connsiteX2" fmla="*/ 5589664 w 5871561"/>
              <a:gd name="connsiteY2" fmla="*/ 372747 h 5713447"/>
              <a:gd name="connsiteX3" fmla="*/ 5587150 w 5871561"/>
              <a:gd name="connsiteY3" fmla="*/ 4066073 h 5713447"/>
              <a:gd name="connsiteX4" fmla="*/ 3239079 w 5871561"/>
              <a:gd name="connsiteY4" fmla="*/ 5713447 h 5713447"/>
              <a:gd name="connsiteX5" fmla="*/ 232259 w 5871561"/>
              <a:gd name="connsiteY5" fmla="*/ 5713447 h 5713447"/>
              <a:gd name="connsiteX6" fmla="*/ 0 w 5871561"/>
              <a:gd name="connsiteY6" fmla="*/ 5481345 h 5713447"/>
              <a:gd name="connsiteX7" fmla="*/ 0 w 5871561"/>
              <a:gd name="connsiteY7" fmla="*/ 1476348 h 5713447"/>
              <a:gd name="connsiteX8" fmla="*/ 98758 w 5871561"/>
              <a:gd name="connsiteY8" fmla="*/ 1286343 h 5713447"/>
              <a:gd name="connsiteX9" fmla="*/ 1820968 w 5871561"/>
              <a:gd name="connsiteY9"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68964"/>
              <a:gd name="connsiteY0" fmla="*/ 0 h 5620176"/>
              <a:gd name="connsiteX1" fmla="*/ 5282468 w 5868964"/>
              <a:gd name="connsiteY1" fmla="*/ 1818 h 5620176"/>
              <a:gd name="connsiteX2" fmla="*/ 5593058 w 5868964"/>
              <a:gd name="connsiteY2" fmla="*/ 1948 h 5620176"/>
              <a:gd name="connsiteX3" fmla="*/ 5589664 w 5868964"/>
              <a:gd name="connsiteY3" fmla="*/ 279476 h 5620176"/>
              <a:gd name="connsiteX4" fmla="*/ 5587150 w 5868964"/>
              <a:gd name="connsiteY4" fmla="*/ 3972802 h 5620176"/>
              <a:gd name="connsiteX5" fmla="*/ 3239079 w 5868964"/>
              <a:gd name="connsiteY5" fmla="*/ 5620176 h 5620176"/>
              <a:gd name="connsiteX6" fmla="*/ 232259 w 5868964"/>
              <a:gd name="connsiteY6" fmla="*/ 5620176 h 5620176"/>
              <a:gd name="connsiteX7" fmla="*/ 0 w 5868964"/>
              <a:gd name="connsiteY7" fmla="*/ 5388074 h 5620176"/>
              <a:gd name="connsiteX8" fmla="*/ 0 w 5868964"/>
              <a:gd name="connsiteY8" fmla="*/ 1383077 h 5620176"/>
              <a:gd name="connsiteX9" fmla="*/ 98758 w 5868964"/>
              <a:gd name="connsiteY9" fmla="*/ 1193072 h 5620176"/>
              <a:gd name="connsiteX10" fmla="*/ 1820968 w 5868964"/>
              <a:gd name="connsiteY10" fmla="*/ 0 h 5620176"/>
              <a:gd name="connsiteX0" fmla="*/ 1820968 w 5593273"/>
              <a:gd name="connsiteY0" fmla="*/ 0 h 5620176"/>
              <a:gd name="connsiteX1" fmla="*/ 5282468 w 5593273"/>
              <a:gd name="connsiteY1" fmla="*/ 1818 h 5620176"/>
              <a:gd name="connsiteX2" fmla="*/ 5589664 w 5593273"/>
              <a:gd name="connsiteY2" fmla="*/ 279476 h 5620176"/>
              <a:gd name="connsiteX3" fmla="*/ 5587150 w 5593273"/>
              <a:gd name="connsiteY3" fmla="*/ 3972802 h 5620176"/>
              <a:gd name="connsiteX4" fmla="*/ 3239079 w 5593273"/>
              <a:gd name="connsiteY4" fmla="*/ 5620176 h 5620176"/>
              <a:gd name="connsiteX5" fmla="*/ 232259 w 5593273"/>
              <a:gd name="connsiteY5" fmla="*/ 5620176 h 5620176"/>
              <a:gd name="connsiteX6" fmla="*/ 0 w 5593273"/>
              <a:gd name="connsiteY6" fmla="*/ 5388074 h 5620176"/>
              <a:gd name="connsiteX7" fmla="*/ 0 w 5593273"/>
              <a:gd name="connsiteY7" fmla="*/ 1383077 h 5620176"/>
              <a:gd name="connsiteX8" fmla="*/ 98758 w 5593273"/>
              <a:gd name="connsiteY8" fmla="*/ 1193072 h 5620176"/>
              <a:gd name="connsiteX9" fmla="*/ 1820968 w 5593273"/>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2056"/>
              <a:gd name="connsiteY0" fmla="*/ 0 h 5620176"/>
              <a:gd name="connsiteX1" fmla="*/ 5282468 w 5592056"/>
              <a:gd name="connsiteY1" fmla="*/ 1818 h 5620176"/>
              <a:gd name="connsiteX2" fmla="*/ 5589664 w 5592056"/>
              <a:gd name="connsiteY2" fmla="*/ 279476 h 5620176"/>
              <a:gd name="connsiteX3" fmla="*/ 5587150 w 5592056"/>
              <a:gd name="connsiteY3" fmla="*/ 3972802 h 5620176"/>
              <a:gd name="connsiteX4" fmla="*/ 3239079 w 5592056"/>
              <a:gd name="connsiteY4" fmla="*/ 5620176 h 5620176"/>
              <a:gd name="connsiteX5" fmla="*/ 232259 w 5592056"/>
              <a:gd name="connsiteY5" fmla="*/ 5620176 h 5620176"/>
              <a:gd name="connsiteX6" fmla="*/ 0 w 5592056"/>
              <a:gd name="connsiteY6" fmla="*/ 5388074 h 5620176"/>
              <a:gd name="connsiteX7" fmla="*/ 0 w 5592056"/>
              <a:gd name="connsiteY7" fmla="*/ 1383077 h 5620176"/>
              <a:gd name="connsiteX8" fmla="*/ 98758 w 5592056"/>
              <a:gd name="connsiteY8" fmla="*/ 1193072 h 5620176"/>
              <a:gd name="connsiteX9" fmla="*/ 1820968 w 5592056"/>
              <a:gd name="connsiteY9" fmla="*/ 0 h 5620176"/>
              <a:gd name="connsiteX0" fmla="*/ 1820968 w 5741423"/>
              <a:gd name="connsiteY0" fmla="*/ 107707 h 5727883"/>
              <a:gd name="connsiteX1" fmla="*/ 3517637 w 5741423"/>
              <a:gd name="connsiteY1" fmla="*/ 109525 h 5727883"/>
              <a:gd name="connsiteX2" fmla="*/ 5589664 w 5741423"/>
              <a:gd name="connsiteY2" fmla="*/ 387183 h 5727883"/>
              <a:gd name="connsiteX3" fmla="*/ 5587150 w 5741423"/>
              <a:gd name="connsiteY3" fmla="*/ 4080509 h 5727883"/>
              <a:gd name="connsiteX4" fmla="*/ 3239079 w 5741423"/>
              <a:gd name="connsiteY4" fmla="*/ 5727883 h 5727883"/>
              <a:gd name="connsiteX5" fmla="*/ 232259 w 5741423"/>
              <a:gd name="connsiteY5" fmla="*/ 5727883 h 5727883"/>
              <a:gd name="connsiteX6" fmla="*/ 0 w 5741423"/>
              <a:gd name="connsiteY6" fmla="*/ 5495781 h 5727883"/>
              <a:gd name="connsiteX7" fmla="*/ 0 w 5741423"/>
              <a:gd name="connsiteY7" fmla="*/ 1490784 h 5727883"/>
              <a:gd name="connsiteX8" fmla="*/ 98758 w 5741423"/>
              <a:gd name="connsiteY8" fmla="*/ 1300779 h 5727883"/>
              <a:gd name="connsiteX9" fmla="*/ 1820968 w 5741423"/>
              <a:gd name="connsiteY9" fmla="*/ 107707 h 5727883"/>
              <a:gd name="connsiteX0" fmla="*/ 1820968 w 5587150"/>
              <a:gd name="connsiteY0" fmla="*/ 42791 h 5662967"/>
              <a:gd name="connsiteX1" fmla="*/ 3517637 w 5587150"/>
              <a:gd name="connsiteY1" fmla="*/ 44609 h 5662967"/>
              <a:gd name="connsiteX2" fmla="*/ 3930340 w 5587150"/>
              <a:gd name="connsiteY2" fmla="*/ 456548 h 5662967"/>
              <a:gd name="connsiteX3" fmla="*/ 5587150 w 5587150"/>
              <a:gd name="connsiteY3" fmla="*/ 4015593 h 5662967"/>
              <a:gd name="connsiteX4" fmla="*/ 3239079 w 5587150"/>
              <a:gd name="connsiteY4" fmla="*/ 5662967 h 5662967"/>
              <a:gd name="connsiteX5" fmla="*/ 232259 w 5587150"/>
              <a:gd name="connsiteY5" fmla="*/ 5662967 h 5662967"/>
              <a:gd name="connsiteX6" fmla="*/ 0 w 5587150"/>
              <a:gd name="connsiteY6" fmla="*/ 5430865 h 5662967"/>
              <a:gd name="connsiteX7" fmla="*/ 0 w 5587150"/>
              <a:gd name="connsiteY7" fmla="*/ 1425868 h 5662967"/>
              <a:gd name="connsiteX8" fmla="*/ 98758 w 5587150"/>
              <a:gd name="connsiteY8" fmla="*/ 1235863 h 5662967"/>
              <a:gd name="connsiteX9" fmla="*/ 1820968 w 5587150"/>
              <a:gd name="connsiteY9" fmla="*/ 42791 h 5662967"/>
              <a:gd name="connsiteX0" fmla="*/ 1820968 w 5587150"/>
              <a:gd name="connsiteY0" fmla="*/ 36807 h 5656983"/>
              <a:gd name="connsiteX1" fmla="*/ 3517637 w 5587150"/>
              <a:gd name="connsiteY1" fmla="*/ 38625 h 5656983"/>
              <a:gd name="connsiteX2" fmla="*/ 3930340 w 5587150"/>
              <a:gd name="connsiteY2" fmla="*/ 450564 h 5656983"/>
              <a:gd name="connsiteX3" fmla="*/ 5587150 w 5587150"/>
              <a:gd name="connsiteY3" fmla="*/ 4009609 h 5656983"/>
              <a:gd name="connsiteX4" fmla="*/ 3239079 w 5587150"/>
              <a:gd name="connsiteY4" fmla="*/ 5656983 h 5656983"/>
              <a:gd name="connsiteX5" fmla="*/ 232259 w 5587150"/>
              <a:gd name="connsiteY5" fmla="*/ 5656983 h 5656983"/>
              <a:gd name="connsiteX6" fmla="*/ 0 w 5587150"/>
              <a:gd name="connsiteY6" fmla="*/ 5424881 h 5656983"/>
              <a:gd name="connsiteX7" fmla="*/ 0 w 5587150"/>
              <a:gd name="connsiteY7" fmla="*/ 1419884 h 5656983"/>
              <a:gd name="connsiteX8" fmla="*/ 98758 w 5587150"/>
              <a:gd name="connsiteY8" fmla="*/ 1229879 h 5656983"/>
              <a:gd name="connsiteX9" fmla="*/ 1820968 w 5587150"/>
              <a:gd name="connsiteY9" fmla="*/ 36807 h 5656983"/>
              <a:gd name="connsiteX0" fmla="*/ 1820968 w 3962406"/>
              <a:gd name="connsiteY0" fmla="*/ 40271 h 5660447"/>
              <a:gd name="connsiteX1" fmla="*/ 3517637 w 3962406"/>
              <a:gd name="connsiteY1" fmla="*/ 42089 h 5660447"/>
              <a:gd name="connsiteX2" fmla="*/ 3930340 w 3962406"/>
              <a:gd name="connsiteY2" fmla="*/ 454028 h 5660447"/>
              <a:gd name="connsiteX3" fmla="*/ 3937417 w 3962406"/>
              <a:gd name="connsiteY3" fmla="*/ 3965115 h 5660447"/>
              <a:gd name="connsiteX4" fmla="*/ 3239079 w 3962406"/>
              <a:gd name="connsiteY4" fmla="*/ 5660447 h 5660447"/>
              <a:gd name="connsiteX5" fmla="*/ 232259 w 3962406"/>
              <a:gd name="connsiteY5" fmla="*/ 5660447 h 5660447"/>
              <a:gd name="connsiteX6" fmla="*/ 0 w 3962406"/>
              <a:gd name="connsiteY6" fmla="*/ 5428345 h 5660447"/>
              <a:gd name="connsiteX7" fmla="*/ 0 w 3962406"/>
              <a:gd name="connsiteY7" fmla="*/ 1423348 h 5660447"/>
              <a:gd name="connsiteX8" fmla="*/ 98758 w 3962406"/>
              <a:gd name="connsiteY8" fmla="*/ 1233343 h 5660447"/>
              <a:gd name="connsiteX9" fmla="*/ 1820968 w 3962406"/>
              <a:gd name="connsiteY9" fmla="*/ 40271 h 5660447"/>
              <a:gd name="connsiteX0" fmla="*/ 1820968 w 3962406"/>
              <a:gd name="connsiteY0" fmla="*/ 40271 h 5660447"/>
              <a:gd name="connsiteX1" fmla="*/ 3517637 w 3962406"/>
              <a:gd name="connsiteY1" fmla="*/ 42089 h 5660447"/>
              <a:gd name="connsiteX2" fmla="*/ 3930340 w 3962406"/>
              <a:gd name="connsiteY2" fmla="*/ 454028 h 5660447"/>
              <a:gd name="connsiteX3" fmla="*/ 3937417 w 3962406"/>
              <a:gd name="connsiteY3" fmla="*/ 3965115 h 5660447"/>
              <a:gd name="connsiteX4" fmla="*/ 2001779 w 3962406"/>
              <a:gd name="connsiteY4" fmla="*/ 5660447 h 5660447"/>
              <a:gd name="connsiteX5" fmla="*/ 232259 w 3962406"/>
              <a:gd name="connsiteY5" fmla="*/ 5660447 h 5660447"/>
              <a:gd name="connsiteX6" fmla="*/ 0 w 3962406"/>
              <a:gd name="connsiteY6" fmla="*/ 5428345 h 5660447"/>
              <a:gd name="connsiteX7" fmla="*/ 0 w 3962406"/>
              <a:gd name="connsiteY7" fmla="*/ 1423348 h 5660447"/>
              <a:gd name="connsiteX8" fmla="*/ 98758 w 3962406"/>
              <a:gd name="connsiteY8" fmla="*/ 1233343 h 5660447"/>
              <a:gd name="connsiteX9" fmla="*/ 1820968 w 3962406"/>
              <a:gd name="connsiteY9" fmla="*/ 40271 h 5660447"/>
              <a:gd name="connsiteX0" fmla="*/ 1820968 w 3984776"/>
              <a:gd name="connsiteY0" fmla="*/ 17641 h 5637817"/>
              <a:gd name="connsiteX1" fmla="*/ 3517637 w 3984776"/>
              <a:gd name="connsiteY1" fmla="*/ 19459 h 5637817"/>
              <a:gd name="connsiteX2" fmla="*/ 3959114 w 3984776"/>
              <a:gd name="connsiteY2" fmla="*/ 498538 h 5637817"/>
              <a:gd name="connsiteX3" fmla="*/ 3937417 w 3984776"/>
              <a:gd name="connsiteY3" fmla="*/ 3942485 h 5637817"/>
              <a:gd name="connsiteX4" fmla="*/ 2001779 w 3984776"/>
              <a:gd name="connsiteY4" fmla="*/ 5637817 h 5637817"/>
              <a:gd name="connsiteX5" fmla="*/ 232259 w 3984776"/>
              <a:gd name="connsiteY5" fmla="*/ 5637817 h 5637817"/>
              <a:gd name="connsiteX6" fmla="*/ 0 w 3984776"/>
              <a:gd name="connsiteY6" fmla="*/ 5405715 h 5637817"/>
              <a:gd name="connsiteX7" fmla="*/ 0 w 3984776"/>
              <a:gd name="connsiteY7" fmla="*/ 1400718 h 5637817"/>
              <a:gd name="connsiteX8" fmla="*/ 98758 w 3984776"/>
              <a:gd name="connsiteY8" fmla="*/ 1210713 h 5637817"/>
              <a:gd name="connsiteX9" fmla="*/ 1820968 w 3984776"/>
              <a:gd name="connsiteY9" fmla="*/ 17641 h 5637817"/>
              <a:gd name="connsiteX0" fmla="*/ 1820968 w 3961608"/>
              <a:gd name="connsiteY0" fmla="*/ 0 h 5620176"/>
              <a:gd name="connsiteX1" fmla="*/ 3517637 w 3961608"/>
              <a:gd name="connsiteY1" fmla="*/ 1818 h 5620176"/>
              <a:gd name="connsiteX2" fmla="*/ 3959114 w 3961608"/>
              <a:gd name="connsiteY2" fmla="*/ 480897 h 5620176"/>
              <a:gd name="connsiteX3" fmla="*/ 3937417 w 3961608"/>
              <a:gd name="connsiteY3" fmla="*/ 3924844 h 5620176"/>
              <a:gd name="connsiteX4" fmla="*/ 2001779 w 3961608"/>
              <a:gd name="connsiteY4" fmla="*/ 5620176 h 5620176"/>
              <a:gd name="connsiteX5" fmla="*/ 232259 w 3961608"/>
              <a:gd name="connsiteY5" fmla="*/ 5620176 h 5620176"/>
              <a:gd name="connsiteX6" fmla="*/ 0 w 3961608"/>
              <a:gd name="connsiteY6" fmla="*/ 5388074 h 5620176"/>
              <a:gd name="connsiteX7" fmla="*/ 0 w 3961608"/>
              <a:gd name="connsiteY7" fmla="*/ 1383077 h 5620176"/>
              <a:gd name="connsiteX8" fmla="*/ 98758 w 3961608"/>
              <a:gd name="connsiteY8" fmla="*/ 1193072 h 5620176"/>
              <a:gd name="connsiteX9" fmla="*/ 1820968 w 3961608"/>
              <a:gd name="connsiteY9" fmla="*/ 0 h 5620176"/>
              <a:gd name="connsiteX0" fmla="*/ 1820968 w 3993310"/>
              <a:gd name="connsiteY0" fmla="*/ 18021 h 5638197"/>
              <a:gd name="connsiteX1" fmla="*/ 3517637 w 3993310"/>
              <a:gd name="connsiteY1" fmla="*/ 19839 h 5638197"/>
              <a:gd name="connsiteX2" fmla="*/ 3959114 w 3993310"/>
              <a:gd name="connsiteY2" fmla="*/ 498918 h 5638197"/>
              <a:gd name="connsiteX3" fmla="*/ 3966192 w 3993310"/>
              <a:gd name="connsiteY3" fmla="*/ 3952457 h 5638197"/>
              <a:gd name="connsiteX4" fmla="*/ 2001779 w 3993310"/>
              <a:gd name="connsiteY4" fmla="*/ 5638197 h 5638197"/>
              <a:gd name="connsiteX5" fmla="*/ 232259 w 3993310"/>
              <a:gd name="connsiteY5" fmla="*/ 5638197 h 5638197"/>
              <a:gd name="connsiteX6" fmla="*/ 0 w 3993310"/>
              <a:gd name="connsiteY6" fmla="*/ 5406095 h 5638197"/>
              <a:gd name="connsiteX7" fmla="*/ 0 w 3993310"/>
              <a:gd name="connsiteY7" fmla="*/ 1401098 h 5638197"/>
              <a:gd name="connsiteX8" fmla="*/ 98758 w 3993310"/>
              <a:gd name="connsiteY8" fmla="*/ 1211093 h 5638197"/>
              <a:gd name="connsiteX9" fmla="*/ 1820968 w 3993310"/>
              <a:gd name="connsiteY9" fmla="*/ 18021 h 5638197"/>
              <a:gd name="connsiteX0" fmla="*/ 1820968 w 3967875"/>
              <a:gd name="connsiteY0" fmla="*/ 0 h 5620176"/>
              <a:gd name="connsiteX1" fmla="*/ 3517637 w 3967875"/>
              <a:gd name="connsiteY1" fmla="*/ 1818 h 5620176"/>
              <a:gd name="connsiteX2" fmla="*/ 3959114 w 3967875"/>
              <a:gd name="connsiteY2" fmla="*/ 480897 h 5620176"/>
              <a:gd name="connsiteX3" fmla="*/ 3966192 w 3967875"/>
              <a:gd name="connsiteY3" fmla="*/ 3934436 h 5620176"/>
              <a:gd name="connsiteX4" fmla="*/ 2001779 w 3967875"/>
              <a:gd name="connsiteY4" fmla="*/ 5620176 h 5620176"/>
              <a:gd name="connsiteX5" fmla="*/ 232259 w 3967875"/>
              <a:gd name="connsiteY5" fmla="*/ 5620176 h 5620176"/>
              <a:gd name="connsiteX6" fmla="*/ 0 w 3967875"/>
              <a:gd name="connsiteY6" fmla="*/ 5388074 h 5620176"/>
              <a:gd name="connsiteX7" fmla="*/ 0 w 3967875"/>
              <a:gd name="connsiteY7" fmla="*/ 1383077 h 5620176"/>
              <a:gd name="connsiteX8" fmla="*/ 98758 w 3967875"/>
              <a:gd name="connsiteY8" fmla="*/ 1193072 h 5620176"/>
              <a:gd name="connsiteX9" fmla="*/ 1820968 w 3967875"/>
              <a:gd name="connsiteY9" fmla="*/ 0 h 5620176"/>
              <a:gd name="connsiteX0" fmla="*/ 1820968 w 3967875"/>
              <a:gd name="connsiteY0" fmla="*/ 14242 h 5634418"/>
              <a:gd name="connsiteX1" fmla="*/ 3517637 w 3967875"/>
              <a:gd name="connsiteY1" fmla="*/ 16060 h 5634418"/>
              <a:gd name="connsiteX2" fmla="*/ 3959114 w 3967875"/>
              <a:gd name="connsiteY2" fmla="*/ 370450 h 5634418"/>
              <a:gd name="connsiteX3" fmla="*/ 3966192 w 3967875"/>
              <a:gd name="connsiteY3" fmla="*/ 3948678 h 5634418"/>
              <a:gd name="connsiteX4" fmla="*/ 2001779 w 3967875"/>
              <a:gd name="connsiteY4" fmla="*/ 5634418 h 5634418"/>
              <a:gd name="connsiteX5" fmla="*/ 232259 w 3967875"/>
              <a:gd name="connsiteY5" fmla="*/ 5634418 h 5634418"/>
              <a:gd name="connsiteX6" fmla="*/ 0 w 3967875"/>
              <a:gd name="connsiteY6" fmla="*/ 5402316 h 5634418"/>
              <a:gd name="connsiteX7" fmla="*/ 0 w 3967875"/>
              <a:gd name="connsiteY7" fmla="*/ 1397319 h 5634418"/>
              <a:gd name="connsiteX8" fmla="*/ 98758 w 3967875"/>
              <a:gd name="connsiteY8" fmla="*/ 1207314 h 5634418"/>
              <a:gd name="connsiteX9" fmla="*/ 1820968 w 3967875"/>
              <a:gd name="connsiteY9" fmla="*/ 14242 h 5634418"/>
              <a:gd name="connsiteX0" fmla="*/ 1820968 w 3966193"/>
              <a:gd name="connsiteY0" fmla="*/ 0 h 5620176"/>
              <a:gd name="connsiteX1" fmla="*/ 3517637 w 3966193"/>
              <a:gd name="connsiteY1" fmla="*/ 1818 h 5620176"/>
              <a:gd name="connsiteX2" fmla="*/ 3959114 w 3966193"/>
              <a:gd name="connsiteY2" fmla="*/ 356208 h 5620176"/>
              <a:gd name="connsiteX3" fmla="*/ 3966192 w 3966193"/>
              <a:gd name="connsiteY3" fmla="*/ 3934436 h 5620176"/>
              <a:gd name="connsiteX4" fmla="*/ 2001779 w 3966193"/>
              <a:gd name="connsiteY4" fmla="*/ 5620176 h 5620176"/>
              <a:gd name="connsiteX5" fmla="*/ 232259 w 3966193"/>
              <a:gd name="connsiteY5" fmla="*/ 5620176 h 5620176"/>
              <a:gd name="connsiteX6" fmla="*/ 0 w 3966193"/>
              <a:gd name="connsiteY6" fmla="*/ 5388074 h 5620176"/>
              <a:gd name="connsiteX7" fmla="*/ 0 w 3966193"/>
              <a:gd name="connsiteY7" fmla="*/ 1383077 h 5620176"/>
              <a:gd name="connsiteX8" fmla="*/ 98758 w 3966193"/>
              <a:gd name="connsiteY8" fmla="*/ 1193072 h 5620176"/>
              <a:gd name="connsiteX9" fmla="*/ 1820968 w 3966193"/>
              <a:gd name="connsiteY9" fmla="*/ 0 h 5620176"/>
              <a:gd name="connsiteX0" fmla="*/ 1820968 w 3970994"/>
              <a:gd name="connsiteY0" fmla="*/ 0 h 5620176"/>
              <a:gd name="connsiteX1" fmla="*/ 3517637 w 3970994"/>
              <a:gd name="connsiteY1" fmla="*/ 1818 h 5620176"/>
              <a:gd name="connsiteX2" fmla="*/ 3968705 w 3970994"/>
              <a:gd name="connsiteY2" fmla="*/ 442531 h 5620176"/>
              <a:gd name="connsiteX3" fmla="*/ 3966192 w 3970994"/>
              <a:gd name="connsiteY3" fmla="*/ 3934436 h 5620176"/>
              <a:gd name="connsiteX4" fmla="*/ 2001779 w 3970994"/>
              <a:gd name="connsiteY4" fmla="*/ 5620176 h 5620176"/>
              <a:gd name="connsiteX5" fmla="*/ 232259 w 3970994"/>
              <a:gd name="connsiteY5" fmla="*/ 5620176 h 5620176"/>
              <a:gd name="connsiteX6" fmla="*/ 0 w 3970994"/>
              <a:gd name="connsiteY6" fmla="*/ 5388074 h 5620176"/>
              <a:gd name="connsiteX7" fmla="*/ 0 w 3970994"/>
              <a:gd name="connsiteY7" fmla="*/ 1383077 h 5620176"/>
              <a:gd name="connsiteX8" fmla="*/ 98758 w 3970994"/>
              <a:gd name="connsiteY8" fmla="*/ 1193072 h 5620176"/>
              <a:gd name="connsiteX9" fmla="*/ 1820968 w 3970994"/>
              <a:gd name="connsiteY9" fmla="*/ 0 h 5620176"/>
              <a:gd name="connsiteX0" fmla="*/ 1820968 w 3975037"/>
              <a:gd name="connsiteY0" fmla="*/ 0 h 5620176"/>
              <a:gd name="connsiteX1" fmla="*/ 3517637 w 3975037"/>
              <a:gd name="connsiteY1" fmla="*/ 1818 h 5620176"/>
              <a:gd name="connsiteX2" fmla="*/ 3968705 w 3975037"/>
              <a:gd name="connsiteY2" fmla="*/ 442531 h 5620176"/>
              <a:gd name="connsiteX3" fmla="*/ 3966192 w 3975037"/>
              <a:gd name="connsiteY3" fmla="*/ 3934436 h 5620176"/>
              <a:gd name="connsiteX4" fmla="*/ 2001779 w 3975037"/>
              <a:gd name="connsiteY4" fmla="*/ 5620176 h 5620176"/>
              <a:gd name="connsiteX5" fmla="*/ 232259 w 3975037"/>
              <a:gd name="connsiteY5" fmla="*/ 5620176 h 5620176"/>
              <a:gd name="connsiteX6" fmla="*/ 0 w 3975037"/>
              <a:gd name="connsiteY6" fmla="*/ 5388074 h 5620176"/>
              <a:gd name="connsiteX7" fmla="*/ 0 w 3975037"/>
              <a:gd name="connsiteY7" fmla="*/ 1383077 h 5620176"/>
              <a:gd name="connsiteX8" fmla="*/ 98758 w 3975037"/>
              <a:gd name="connsiteY8" fmla="*/ 1193072 h 5620176"/>
              <a:gd name="connsiteX9" fmla="*/ 1820968 w 3975037"/>
              <a:gd name="connsiteY9" fmla="*/ 0 h 5620176"/>
              <a:gd name="connsiteX0" fmla="*/ 1820968 w 3977243"/>
              <a:gd name="connsiteY0" fmla="*/ 0 h 5620176"/>
              <a:gd name="connsiteX1" fmla="*/ 3517637 w 3977243"/>
              <a:gd name="connsiteY1" fmla="*/ 1818 h 5620176"/>
              <a:gd name="connsiteX2" fmla="*/ 3968705 w 3977243"/>
              <a:gd name="connsiteY2" fmla="*/ 442531 h 5620176"/>
              <a:gd name="connsiteX3" fmla="*/ 3966192 w 3977243"/>
              <a:gd name="connsiteY3" fmla="*/ 3934436 h 5620176"/>
              <a:gd name="connsiteX4" fmla="*/ 2001779 w 3977243"/>
              <a:gd name="connsiteY4" fmla="*/ 5620176 h 5620176"/>
              <a:gd name="connsiteX5" fmla="*/ 232259 w 3977243"/>
              <a:gd name="connsiteY5" fmla="*/ 5620176 h 5620176"/>
              <a:gd name="connsiteX6" fmla="*/ 0 w 3977243"/>
              <a:gd name="connsiteY6" fmla="*/ 5388074 h 5620176"/>
              <a:gd name="connsiteX7" fmla="*/ 0 w 3977243"/>
              <a:gd name="connsiteY7" fmla="*/ 1383077 h 5620176"/>
              <a:gd name="connsiteX8" fmla="*/ 98758 w 3977243"/>
              <a:gd name="connsiteY8" fmla="*/ 1193072 h 5620176"/>
              <a:gd name="connsiteX9" fmla="*/ 1820968 w 3977243"/>
              <a:gd name="connsiteY9" fmla="*/ 0 h 5620176"/>
              <a:gd name="connsiteX0" fmla="*/ 1820968 w 4002780"/>
              <a:gd name="connsiteY0" fmla="*/ 62256 h 5682432"/>
              <a:gd name="connsiteX1" fmla="*/ 3517637 w 4002780"/>
              <a:gd name="connsiteY1" fmla="*/ 64074 h 5682432"/>
              <a:gd name="connsiteX2" fmla="*/ 3968705 w 4002780"/>
              <a:gd name="connsiteY2" fmla="*/ 504787 h 5682432"/>
              <a:gd name="connsiteX3" fmla="*/ 3966192 w 4002780"/>
              <a:gd name="connsiteY3" fmla="*/ 4608267 h 5682432"/>
              <a:gd name="connsiteX4" fmla="*/ 2001779 w 4002780"/>
              <a:gd name="connsiteY4" fmla="*/ 5682432 h 5682432"/>
              <a:gd name="connsiteX5" fmla="*/ 232259 w 4002780"/>
              <a:gd name="connsiteY5" fmla="*/ 5682432 h 5682432"/>
              <a:gd name="connsiteX6" fmla="*/ 0 w 4002780"/>
              <a:gd name="connsiteY6" fmla="*/ 5450330 h 5682432"/>
              <a:gd name="connsiteX7" fmla="*/ 0 w 4002780"/>
              <a:gd name="connsiteY7" fmla="*/ 1445333 h 5682432"/>
              <a:gd name="connsiteX8" fmla="*/ 98758 w 4002780"/>
              <a:gd name="connsiteY8" fmla="*/ 1255328 h 5682432"/>
              <a:gd name="connsiteX9" fmla="*/ 1820968 w 4002780"/>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01333"/>
              <a:gd name="connsiteY0" fmla="*/ 62256 h 5682432"/>
              <a:gd name="connsiteX1" fmla="*/ 3517637 w 4001333"/>
              <a:gd name="connsiteY1" fmla="*/ 64074 h 5682432"/>
              <a:gd name="connsiteX2" fmla="*/ 3968705 w 4001333"/>
              <a:gd name="connsiteY2" fmla="*/ 504787 h 5682432"/>
              <a:gd name="connsiteX3" fmla="*/ 3966192 w 4001333"/>
              <a:gd name="connsiteY3" fmla="*/ 4608267 h 5682432"/>
              <a:gd name="connsiteX4" fmla="*/ 2919142 w 4001333"/>
              <a:gd name="connsiteY4" fmla="*/ 5671511 h 5682432"/>
              <a:gd name="connsiteX5" fmla="*/ 232259 w 4001333"/>
              <a:gd name="connsiteY5" fmla="*/ 5682432 h 5682432"/>
              <a:gd name="connsiteX6" fmla="*/ 0 w 4001333"/>
              <a:gd name="connsiteY6" fmla="*/ 5450330 h 5682432"/>
              <a:gd name="connsiteX7" fmla="*/ 0 w 4001333"/>
              <a:gd name="connsiteY7" fmla="*/ 1445333 h 5682432"/>
              <a:gd name="connsiteX8" fmla="*/ 98758 w 4001333"/>
              <a:gd name="connsiteY8" fmla="*/ 1255328 h 5682432"/>
              <a:gd name="connsiteX9" fmla="*/ 1820968 w 4001333"/>
              <a:gd name="connsiteY9" fmla="*/ 62256 h 5682432"/>
              <a:gd name="connsiteX0" fmla="*/ 1820968 w 4074451"/>
              <a:gd name="connsiteY0" fmla="*/ 0 h 5620176"/>
              <a:gd name="connsiteX1" fmla="*/ 3517637 w 4074451"/>
              <a:gd name="connsiteY1" fmla="*/ 1818 h 5620176"/>
              <a:gd name="connsiteX2" fmla="*/ 3990547 w 4074451"/>
              <a:gd name="connsiteY2" fmla="*/ 671872 h 5620176"/>
              <a:gd name="connsiteX3" fmla="*/ 3966192 w 4074451"/>
              <a:gd name="connsiteY3" fmla="*/ 4546011 h 5620176"/>
              <a:gd name="connsiteX4" fmla="*/ 2919142 w 4074451"/>
              <a:gd name="connsiteY4" fmla="*/ 5609255 h 5620176"/>
              <a:gd name="connsiteX5" fmla="*/ 232259 w 4074451"/>
              <a:gd name="connsiteY5" fmla="*/ 5620176 h 5620176"/>
              <a:gd name="connsiteX6" fmla="*/ 0 w 4074451"/>
              <a:gd name="connsiteY6" fmla="*/ 5388074 h 5620176"/>
              <a:gd name="connsiteX7" fmla="*/ 0 w 4074451"/>
              <a:gd name="connsiteY7" fmla="*/ 1383077 h 5620176"/>
              <a:gd name="connsiteX8" fmla="*/ 98758 w 4074451"/>
              <a:gd name="connsiteY8" fmla="*/ 1193072 h 5620176"/>
              <a:gd name="connsiteX9" fmla="*/ 1820968 w 4074451"/>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114989"/>
              <a:gd name="connsiteY0" fmla="*/ 0 h 5620176"/>
              <a:gd name="connsiteX1" fmla="*/ 3517637 w 4114989"/>
              <a:gd name="connsiteY1" fmla="*/ 1818 h 5620176"/>
              <a:gd name="connsiteX2" fmla="*/ 3990547 w 4114989"/>
              <a:gd name="connsiteY2" fmla="*/ 671872 h 5620176"/>
              <a:gd name="connsiteX3" fmla="*/ 3966192 w 4114989"/>
              <a:gd name="connsiteY3" fmla="*/ 4546011 h 5620176"/>
              <a:gd name="connsiteX4" fmla="*/ 2919142 w 4114989"/>
              <a:gd name="connsiteY4" fmla="*/ 5609255 h 5620176"/>
              <a:gd name="connsiteX5" fmla="*/ 232259 w 4114989"/>
              <a:gd name="connsiteY5" fmla="*/ 5620176 h 5620176"/>
              <a:gd name="connsiteX6" fmla="*/ 0 w 4114989"/>
              <a:gd name="connsiteY6" fmla="*/ 5388074 h 5620176"/>
              <a:gd name="connsiteX7" fmla="*/ 0 w 4114989"/>
              <a:gd name="connsiteY7" fmla="*/ 1383077 h 5620176"/>
              <a:gd name="connsiteX8" fmla="*/ 98758 w 4114989"/>
              <a:gd name="connsiteY8" fmla="*/ 1193072 h 5620176"/>
              <a:gd name="connsiteX9" fmla="*/ 1820968 w 4114989"/>
              <a:gd name="connsiteY9" fmla="*/ 0 h 5620176"/>
              <a:gd name="connsiteX0" fmla="*/ 1820968 w 3992085"/>
              <a:gd name="connsiteY0" fmla="*/ 0 h 5620176"/>
              <a:gd name="connsiteX1" fmla="*/ 3517637 w 3992085"/>
              <a:gd name="connsiteY1" fmla="*/ 1818 h 5620176"/>
              <a:gd name="connsiteX2" fmla="*/ 3990547 w 3992085"/>
              <a:gd name="connsiteY2" fmla="*/ 671872 h 5620176"/>
              <a:gd name="connsiteX3" fmla="*/ 3966192 w 3992085"/>
              <a:gd name="connsiteY3" fmla="*/ 4546011 h 5620176"/>
              <a:gd name="connsiteX4" fmla="*/ 2919142 w 3992085"/>
              <a:gd name="connsiteY4" fmla="*/ 5609255 h 5620176"/>
              <a:gd name="connsiteX5" fmla="*/ 232259 w 3992085"/>
              <a:gd name="connsiteY5" fmla="*/ 5620176 h 5620176"/>
              <a:gd name="connsiteX6" fmla="*/ 0 w 3992085"/>
              <a:gd name="connsiteY6" fmla="*/ 5388074 h 5620176"/>
              <a:gd name="connsiteX7" fmla="*/ 0 w 3992085"/>
              <a:gd name="connsiteY7" fmla="*/ 1383077 h 5620176"/>
              <a:gd name="connsiteX8" fmla="*/ 98758 w 3992085"/>
              <a:gd name="connsiteY8" fmla="*/ 1193072 h 5620176"/>
              <a:gd name="connsiteX9" fmla="*/ 1820968 w 3992085"/>
              <a:gd name="connsiteY9" fmla="*/ 0 h 5620176"/>
              <a:gd name="connsiteX0" fmla="*/ 1820968 w 4063883"/>
              <a:gd name="connsiteY0" fmla="*/ 0 h 5620176"/>
              <a:gd name="connsiteX1" fmla="*/ 3517637 w 4063883"/>
              <a:gd name="connsiteY1" fmla="*/ 1818 h 5620176"/>
              <a:gd name="connsiteX2" fmla="*/ 4012389 w 4063883"/>
              <a:gd name="connsiteY2" fmla="*/ 518978 h 5620176"/>
              <a:gd name="connsiteX3" fmla="*/ 3966192 w 4063883"/>
              <a:gd name="connsiteY3" fmla="*/ 4546011 h 5620176"/>
              <a:gd name="connsiteX4" fmla="*/ 2919142 w 4063883"/>
              <a:gd name="connsiteY4" fmla="*/ 5609255 h 5620176"/>
              <a:gd name="connsiteX5" fmla="*/ 232259 w 4063883"/>
              <a:gd name="connsiteY5" fmla="*/ 5620176 h 5620176"/>
              <a:gd name="connsiteX6" fmla="*/ 0 w 4063883"/>
              <a:gd name="connsiteY6" fmla="*/ 5388074 h 5620176"/>
              <a:gd name="connsiteX7" fmla="*/ 0 w 4063883"/>
              <a:gd name="connsiteY7" fmla="*/ 1383077 h 5620176"/>
              <a:gd name="connsiteX8" fmla="*/ 98758 w 4063883"/>
              <a:gd name="connsiteY8" fmla="*/ 1193072 h 5620176"/>
              <a:gd name="connsiteX9" fmla="*/ 1820968 w 4063883"/>
              <a:gd name="connsiteY9" fmla="*/ 0 h 5620176"/>
              <a:gd name="connsiteX0" fmla="*/ 1820968 w 4060681"/>
              <a:gd name="connsiteY0" fmla="*/ 0 h 5620176"/>
              <a:gd name="connsiteX1" fmla="*/ 3517637 w 4060681"/>
              <a:gd name="connsiteY1" fmla="*/ 1818 h 5620176"/>
              <a:gd name="connsiteX2" fmla="*/ 4012389 w 4060681"/>
              <a:gd name="connsiteY2" fmla="*/ 518978 h 5620176"/>
              <a:gd name="connsiteX3" fmla="*/ 3966192 w 4060681"/>
              <a:gd name="connsiteY3" fmla="*/ 4546011 h 5620176"/>
              <a:gd name="connsiteX4" fmla="*/ 2919142 w 4060681"/>
              <a:gd name="connsiteY4" fmla="*/ 5609255 h 5620176"/>
              <a:gd name="connsiteX5" fmla="*/ 232259 w 4060681"/>
              <a:gd name="connsiteY5" fmla="*/ 5620176 h 5620176"/>
              <a:gd name="connsiteX6" fmla="*/ 0 w 4060681"/>
              <a:gd name="connsiteY6" fmla="*/ 5388074 h 5620176"/>
              <a:gd name="connsiteX7" fmla="*/ 0 w 4060681"/>
              <a:gd name="connsiteY7" fmla="*/ 1383077 h 5620176"/>
              <a:gd name="connsiteX8" fmla="*/ 98758 w 4060681"/>
              <a:gd name="connsiteY8" fmla="*/ 1193072 h 5620176"/>
              <a:gd name="connsiteX9" fmla="*/ 1820968 w 4060681"/>
              <a:gd name="connsiteY9" fmla="*/ 0 h 5620176"/>
              <a:gd name="connsiteX0" fmla="*/ 1820968 w 4012393"/>
              <a:gd name="connsiteY0" fmla="*/ 0 h 5620176"/>
              <a:gd name="connsiteX1" fmla="*/ 3517637 w 4012393"/>
              <a:gd name="connsiteY1" fmla="*/ 1818 h 5620176"/>
              <a:gd name="connsiteX2" fmla="*/ 4012389 w 4012393"/>
              <a:gd name="connsiteY2" fmla="*/ 518978 h 5620176"/>
              <a:gd name="connsiteX3" fmla="*/ 3966192 w 4012393"/>
              <a:gd name="connsiteY3" fmla="*/ 4546011 h 5620176"/>
              <a:gd name="connsiteX4" fmla="*/ 2919142 w 4012393"/>
              <a:gd name="connsiteY4" fmla="*/ 5609255 h 5620176"/>
              <a:gd name="connsiteX5" fmla="*/ 232259 w 4012393"/>
              <a:gd name="connsiteY5" fmla="*/ 5620176 h 5620176"/>
              <a:gd name="connsiteX6" fmla="*/ 0 w 4012393"/>
              <a:gd name="connsiteY6" fmla="*/ 5388074 h 5620176"/>
              <a:gd name="connsiteX7" fmla="*/ 0 w 4012393"/>
              <a:gd name="connsiteY7" fmla="*/ 1383077 h 5620176"/>
              <a:gd name="connsiteX8" fmla="*/ 98758 w 4012393"/>
              <a:gd name="connsiteY8" fmla="*/ 1193072 h 5620176"/>
              <a:gd name="connsiteX9" fmla="*/ 1820968 w 4012393"/>
              <a:gd name="connsiteY9" fmla="*/ 0 h 5620176"/>
              <a:gd name="connsiteX0" fmla="*/ 1820968 w 4012393"/>
              <a:gd name="connsiteY0" fmla="*/ 0 h 5620176"/>
              <a:gd name="connsiteX1" fmla="*/ 3517637 w 4012393"/>
              <a:gd name="connsiteY1" fmla="*/ 1818 h 5620176"/>
              <a:gd name="connsiteX2" fmla="*/ 4012389 w 4012393"/>
              <a:gd name="connsiteY2" fmla="*/ 518978 h 5620176"/>
              <a:gd name="connsiteX3" fmla="*/ 3966192 w 4012393"/>
              <a:gd name="connsiteY3" fmla="*/ 4546011 h 5620176"/>
              <a:gd name="connsiteX4" fmla="*/ 2919142 w 4012393"/>
              <a:gd name="connsiteY4" fmla="*/ 5609255 h 5620176"/>
              <a:gd name="connsiteX5" fmla="*/ 232259 w 4012393"/>
              <a:gd name="connsiteY5" fmla="*/ 5620176 h 5620176"/>
              <a:gd name="connsiteX6" fmla="*/ 0 w 4012393"/>
              <a:gd name="connsiteY6" fmla="*/ 5388074 h 5620176"/>
              <a:gd name="connsiteX7" fmla="*/ 0 w 4012393"/>
              <a:gd name="connsiteY7" fmla="*/ 1383077 h 5620176"/>
              <a:gd name="connsiteX8" fmla="*/ 98758 w 4012393"/>
              <a:gd name="connsiteY8" fmla="*/ 1193072 h 5620176"/>
              <a:gd name="connsiteX9" fmla="*/ 1820968 w 4012393"/>
              <a:gd name="connsiteY9" fmla="*/ 0 h 5620176"/>
              <a:gd name="connsiteX0" fmla="*/ 1820968 w 4069229"/>
              <a:gd name="connsiteY0" fmla="*/ 12844 h 5633020"/>
              <a:gd name="connsiteX1" fmla="*/ 3517637 w 4069229"/>
              <a:gd name="connsiteY1" fmla="*/ 14662 h 5633020"/>
              <a:gd name="connsiteX2" fmla="*/ 4031549 w 4069229"/>
              <a:gd name="connsiteY2" fmla="*/ 321067 h 5633020"/>
              <a:gd name="connsiteX3" fmla="*/ 3966192 w 4069229"/>
              <a:gd name="connsiteY3" fmla="*/ 4558855 h 5633020"/>
              <a:gd name="connsiteX4" fmla="*/ 2919142 w 4069229"/>
              <a:gd name="connsiteY4" fmla="*/ 5622099 h 5633020"/>
              <a:gd name="connsiteX5" fmla="*/ 232259 w 4069229"/>
              <a:gd name="connsiteY5" fmla="*/ 5633020 h 5633020"/>
              <a:gd name="connsiteX6" fmla="*/ 0 w 4069229"/>
              <a:gd name="connsiteY6" fmla="*/ 5400918 h 5633020"/>
              <a:gd name="connsiteX7" fmla="*/ 0 w 4069229"/>
              <a:gd name="connsiteY7" fmla="*/ 1395921 h 5633020"/>
              <a:gd name="connsiteX8" fmla="*/ 98758 w 4069229"/>
              <a:gd name="connsiteY8" fmla="*/ 1205916 h 5633020"/>
              <a:gd name="connsiteX9" fmla="*/ 1820968 w 4069229"/>
              <a:gd name="connsiteY9" fmla="*/ 12844 h 5633020"/>
              <a:gd name="connsiteX0" fmla="*/ 1820968 w 4082268"/>
              <a:gd name="connsiteY0" fmla="*/ 0 h 5620176"/>
              <a:gd name="connsiteX1" fmla="*/ 3517637 w 4082268"/>
              <a:gd name="connsiteY1" fmla="*/ 1818 h 5620176"/>
              <a:gd name="connsiteX2" fmla="*/ 4031549 w 4082268"/>
              <a:gd name="connsiteY2" fmla="*/ 308223 h 5620176"/>
              <a:gd name="connsiteX3" fmla="*/ 3966192 w 4082268"/>
              <a:gd name="connsiteY3" fmla="*/ 4546011 h 5620176"/>
              <a:gd name="connsiteX4" fmla="*/ 2919142 w 4082268"/>
              <a:gd name="connsiteY4" fmla="*/ 5609255 h 5620176"/>
              <a:gd name="connsiteX5" fmla="*/ 232259 w 4082268"/>
              <a:gd name="connsiteY5" fmla="*/ 5620176 h 5620176"/>
              <a:gd name="connsiteX6" fmla="*/ 0 w 4082268"/>
              <a:gd name="connsiteY6" fmla="*/ 5388074 h 5620176"/>
              <a:gd name="connsiteX7" fmla="*/ 0 w 4082268"/>
              <a:gd name="connsiteY7" fmla="*/ 1383077 h 5620176"/>
              <a:gd name="connsiteX8" fmla="*/ 98758 w 4082268"/>
              <a:gd name="connsiteY8" fmla="*/ 1193072 h 5620176"/>
              <a:gd name="connsiteX9" fmla="*/ 1820968 w 4082268"/>
              <a:gd name="connsiteY9" fmla="*/ 0 h 5620176"/>
              <a:gd name="connsiteX0" fmla="*/ 1820968 w 4040328"/>
              <a:gd name="connsiteY0" fmla="*/ 0 h 5620176"/>
              <a:gd name="connsiteX1" fmla="*/ 3517637 w 4040328"/>
              <a:gd name="connsiteY1" fmla="*/ 1818 h 5620176"/>
              <a:gd name="connsiteX2" fmla="*/ 4031549 w 4040328"/>
              <a:gd name="connsiteY2" fmla="*/ 308223 h 5620176"/>
              <a:gd name="connsiteX3" fmla="*/ 3966192 w 4040328"/>
              <a:gd name="connsiteY3" fmla="*/ 4546011 h 5620176"/>
              <a:gd name="connsiteX4" fmla="*/ 2919142 w 4040328"/>
              <a:gd name="connsiteY4" fmla="*/ 5609255 h 5620176"/>
              <a:gd name="connsiteX5" fmla="*/ 232259 w 4040328"/>
              <a:gd name="connsiteY5" fmla="*/ 5620176 h 5620176"/>
              <a:gd name="connsiteX6" fmla="*/ 0 w 4040328"/>
              <a:gd name="connsiteY6" fmla="*/ 5388074 h 5620176"/>
              <a:gd name="connsiteX7" fmla="*/ 0 w 4040328"/>
              <a:gd name="connsiteY7" fmla="*/ 1383077 h 5620176"/>
              <a:gd name="connsiteX8" fmla="*/ 98758 w 4040328"/>
              <a:gd name="connsiteY8" fmla="*/ 1193072 h 5620176"/>
              <a:gd name="connsiteX9" fmla="*/ 1820968 w 4040328"/>
              <a:gd name="connsiteY9" fmla="*/ 0 h 5620176"/>
              <a:gd name="connsiteX0" fmla="*/ 1820968 w 4038720"/>
              <a:gd name="connsiteY0" fmla="*/ 0 h 5620176"/>
              <a:gd name="connsiteX1" fmla="*/ 3517637 w 4038720"/>
              <a:gd name="connsiteY1" fmla="*/ 1818 h 5620176"/>
              <a:gd name="connsiteX2" fmla="*/ 4031549 w 4038720"/>
              <a:gd name="connsiteY2" fmla="*/ 308223 h 5620176"/>
              <a:gd name="connsiteX3" fmla="*/ 3966192 w 4038720"/>
              <a:gd name="connsiteY3" fmla="*/ 4546011 h 5620176"/>
              <a:gd name="connsiteX4" fmla="*/ 2919142 w 4038720"/>
              <a:gd name="connsiteY4" fmla="*/ 5609255 h 5620176"/>
              <a:gd name="connsiteX5" fmla="*/ 232259 w 4038720"/>
              <a:gd name="connsiteY5" fmla="*/ 5620176 h 5620176"/>
              <a:gd name="connsiteX6" fmla="*/ 0 w 4038720"/>
              <a:gd name="connsiteY6" fmla="*/ 5388074 h 5620176"/>
              <a:gd name="connsiteX7" fmla="*/ 0 w 4038720"/>
              <a:gd name="connsiteY7" fmla="*/ 1383077 h 5620176"/>
              <a:gd name="connsiteX8" fmla="*/ 98758 w 4038720"/>
              <a:gd name="connsiteY8" fmla="*/ 1193072 h 5620176"/>
              <a:gd name="connsiteX9" fmla="*/ 1820968 w 4038720"/>
              <a:gd name="connsiteY9" fmla="*/ 0 h 5620176"/>
              <a:gd name="connsiteX0" fmla="*/ 1820968 w 4057143"/>
              <a:gd name="connsiteY0" fmla="*/ 0 h 5620176"/>
              <a:gd name="connsiteX1" fmla="*/ 3517637 w 4057143"/>
              <a:gd name="connsiteY1" fmla="*/ 1818 h 5620176"/>
              <a:gd name="connsiteX2" fmla="*/ 3977839 w 4057143"/>
              <a:gd name="connsiteY2" fmla="*/ 317174 h 5620176"/>
              <a:gd name="connsiteX3" fmla="*/ 3966192 w 4057143"/>
              <a:gd name="connsiteY3" fmla="*/ 4546011 h 5620176"/>
              <a:gd name="connsiteX4" fmla="*/ 2919142 w 4057143"/>
              <a:gd name="connsiteY4" fmla="*/ 5609255 h 5620176"/>
              <a:gd name="connsiteX5" fmla="*/ 232259 w 4057143"/>
              <a:gd name="connsiteY5" fmla="*/ 5620176 h 5620176"/>
              <a:gd name="connsiteX6" fmla="*/ 0 w 4057143"/>
              <a:gd name="connsiteY6" fmla="*/ 5388074 h 5620176"/>
              <a:gd name="connsiteX7" fmla="*/ 0 w 4057143"/>
              <a:gd name="connsiteY7" fmla="*/ 1383077 h 5620176"/>
              <a:gd name="connsiteX8" fmla="*/ 98758 w 4057143"/>
              <a:gd name="connsiteY8" fmla="*/ 1193072 h 5620176"/>
              <a:gd name="connsiteX9" fmla="*/ 1820968 w 4057143"/>
              <a:gd name="connsiteY9" fmla="*/ 0 h 5620176"/>
              <a:gd name="connsiteX0" fmla="*/ 1820968 w 4043846"/>
              <a:gd name="connsiteY0" fmla="*/ 0 h 5620176"/>
              <a:gd name="connsiteX1" fmla="*/ 3517637 w 4043846"/>
              <a:gd name="connsiteY1" fmla="*/ 1818 h 5620176"/>
              <a:gd name="connsiteX2" fmla="*/ 3942033 w 4043846"/>
              <a:gd name="connsiteY2" fmla="*/ 335077 h 5620176"/>
              <a:gd name="connsiteX3" fmla="*/ 3966192 w 4043846"/>
              <a:gd name="connsiteY3" fmla="*/ 4546011 h 5620176"/>
              <a:gd name="connsiteX4" fmla="*/ 2919142 w 4043846"/>
              <a:gd name="connsiteY4" fmla="*/ 5609255 h 5620176"/>
              <a:gd name="connsiteX5" fmla="*/ 232259 w 4043846"/>
              <a:gd name="connsiteY5" fmla="*/ 5620176 h 5620176"/>
              <a:gd name="connsiteX6" fmla="*/ 0 w 4043846"/>
              <a:gd name="connsiteY6" fmla="*/ 5388074 h 5620176"/>
              <a:gd name="connsiteX7" fmla="*/ 0 w 4043846"/>
              <a:gd name="connsiteY7" fmla="*/ 1383077 h 5620176"/>
              <a:gd name="connsiteX8" fmla="*/ 98758 w 4043846"/>
              <a:gd name="connsiteY8" fmla="*/ 1193072 h 5620176"/>
              <a:gd name="connsiteX9" fmla="*/ 1820968 w 4043846"/>
              <a:gd name="connsiteY9" fmla="*/ 0 h 5620176"/>
              <a:gd name="connsiteX0" fmla="*/ 1820968 w 4043847"/>
              <a:gd name="connsiteY0" fmla="*/ 96101 h 5716277"/>
              <a:gd name="connsiteX1" fmla="*/ 3517637 w 4043847"/>
              <a:gd name="connsiteY1" fmla="*/ 97919 h 5716277"/>
              <a:gd name="connsiteX2" fmla="*/ 3942033 w 4043847"/>
              <a:gd name="connsiteY2" fmla="*/ 431178 h 5716277"/>
              <a:gd name="connsiteX3" fmla="*/ 3966192 w 4043847"/>
              <a:gd name="connsiteY3" fmla="*/ 4642112 h 5716277"/>
              <a:gd name="connsiteX4" fmla="*/ 2919142 w 4043847"/>
              <a:gd name="connsiteY4" fmla="*/ 5705356 h 5716277"/>
              <a:gd name="connsiteX5" fmla="*/ 232259 w 4043847"/>
              <a:gd name="connsiteY5" fmla="*/ 5716277 h 5716277"/>
              <a:gd name="connsiteX6" fmla="*/ 0 w 4043847"/>
              <a:gd name="connsiteY6" fmla="*/ 5484175 h 5716277"/>
              <a:gd name="connsiteX7" fmla="*/ 0 w 4043847"/>
              <a:gd name="connsiteY7" fmla="*/ 1479178 h 5716277"/>
              <a:gd name="connsiteX8" fmla="*/ 98758 w 4043847"/>
              <a:gd name="connsiteY8" fmla="*/ 1289173 h 5716277"/>
              <a:gd name="connsiteX9" fmla="*/ 1820968 w 4043847"/>
              <a:gd name="connsiteY9" fmla="*/ 96101 h 5716277"/>
              <a:gd name="connsiteX0" fmla="*/ 1820968 w 4037989"/>
              <a:gd name="connsiteY0" fmla="*/ 0 h 5620176"/>
              <a:gd name="connsiteX1" fmla="*/ 3517637 w 4037989"/>
              <a:gd name="connsiteY1" fmla="*/ 1818 h 5620176"/>
              <a:gd name="connsiteX2" fmla="*/ 3942033 w 4037989"/>
              <a:gd name="connsiteY2" fmla="*/ 335077 h 5620176"/>
              <a:gd name="connsiteX3" fmla="*/ 3966192 w 4037989"/>
              <a:gd name="connsiteY3" fmla="*/ 4546011 h 5620176"/>
              <a:gd name="connsiteX4" fmla="*/ 2919142 w 4037989"/>
              <a:gd name="connsiteY4" fmla="*/ 5609255 h 5620176"/>
              <a:gd name="connsiteX5" fmla="*/ 232259 w 4037989"/>
              <a:gd name="connsiteY5" fmla="*/ 5620176 h 5620176"/>
              <a:gd name="connsiteX6" fmla="*/ 0 w 4037989"/>
              <a:gd name="connsiteY6" fmla="*/ 5388074 h 5620176"/>
              <a:gd name="connsiteX7" fmla="*/ 0 w 4037989"/>
              <a:gd name="connsiteY7" fmla="*/ 1383077 h 5620176"/>
              <a:gd name="connsiteX8" fmla="*/ 98758 w 4037989"/>
              <a:gd name="connsiteY8" fmla="*/ 1193072 h 5620176"/>
              <a:gd name="connsiteX9" fmla="*/ 1820968 w 4037989"/>
              <a:gd name="connsiteY9" fmla="*/ 0 h 5620176"/>
              <a:gd name="connsiteX0" fmla="*/ 1820968 w 4037989"/>
              <a:gd name="connsiteY0" fmla="*/ 0 h 5620176"/>
              <a:gd name="connsiteX1" fmla="*/ 3517637 w 4037989"/>
              <a:gd name="connsiteY1" fmla="*/ 1818 h 5620176"/>
              <a:gd name="connsiteX2" fmla="*/ 3942033 w 4037989"/>
              <a:gd name="connsiteY2" fmla="*/ 335077 h 5620176"/>
              <a:gd name="connsiteX3" fmla="*/ 3966192 w 4037989"/>
              <a:gd name="connsiteY3" fmla="*/ 4546011 h 5620176"/>
              <a:gd name="connsiteX4" fmla="*/ 2919142 w 4037989"/>
              <a:gd name="connsiteY4" fmla="*/ 5609255 h 5620176"/>
              <a:gd name="connsiteX5" fmla="*/ 232259 w 4037989"/>
              <a:gd name="connsiteY5" fmla="*/ 5620176 h 5620176"/>
              <a:gd name="connsiteX6" fmla="*/ 0 w 4037989"/>
              <a:gd name="connsiteY6" fmla="*/ 5388074 h 5620176"/>
              <a:gd name="connsiteX7" fmla="*/ 0 w 4037989"/>
              <a:gd name="connsiteY7" fmla="*/ 1383077 h 5620176"/>
              <a:gd name="connsiteX8" fmla="*/ 98758 w 4037989"/>
              <a:gd name="connsiteY8" fmla="*/ 1193072 h 5620176"/>
              <a:gd name="connsiteX9" fmla="*/ 1820968 w 4037989"/>
              <a:gd name="connsiteY9" fmla="*/ 0 h 5620176"/>
              <a:gd name="connsiteX0" fmla="*/ 1820968 w 3973157"/>
              <a:gd name="connsiteY0" fmla="*/ 0 h 5620176"/>
              <a:gd name="connsiteX1" fmla="*/ 3517637 w 3973157"/>
              <a:gd name="connsiteY1" fmla="*/ 1818 h 5620176"/>
              <a:gd name="connsiteX2" fmla="*/ 3942033 w 3973157"/>
              <a:gd name="connsiteY2" fmla="*/ 335077 h 5620176"/>
              <a:gd name="connsiteX3" fmla="*/ 3966192 w 3973157"/>
              <a:gd name="connsiteY3" fmla="*/ 4546011 h 5620176"/>
              <a:gd name="connsiteX4" fmla="*/ 2919142 w 3973157"/>
              <a:gd name="connsiteY4" fmla="*/ 5609255 h 5620176"/>
              <a:gd name="connsiteX5" fmla="*/ 232259 w 3973157"/>
              <a:gd name="connsiteY5" fmla="*/ 5620176 h 5620176"/>
              <a:gd name="connsiteX6" fmla="*/ 0 w 3973157"/>
              <a:gd name="connsiteY6" fmla="*/ 5388074 h 5620176"/>
              <a:gd name="connsiteX7" fmla="*/ 0 w 3973157"/>
              <a:gd name="connsiteY7" fmla="*/ 1383077 h 5620176"/>
              <a:gd name="connsiteX8" fmla="*/ 98758 w 3973157"/>
              <a:gd name="connsiteY8" fmla="*/ 1193072 h 5620176"/>
              <a:gd name="connsiteX9" fmla="*/ 1820968 w 3973157"/>
              <a:gd name="connsiteY9" fmla="*/ 0 h 5620176"/>
              <a:gd name="connsiteX0" fmla="*/ 1820968 w 4035310"/>
              <a:gd name="connsiteY0" fmla="*/ 0 h 5620176"/>
              <a:gd name="connsiteX1" fmla="*/ 3517637 w 4035310"/>
              <a:gd name="connsiteY1" fmla="*/ 1818 h 5620176"/>
              <a:gd name="connsiteX2" fmla="*/ 3933081 w 4035310"/>
              <a:gd name="connsiteY2" fmla="*/ 549916 h 5620176"/>
              <a:gd name="connsiteX3" fmla="*/ 3966192 w 4035310"/>
              <a:gd name="connsiteY3" fmla="*/ 4546011 h 5620176"/>
              <a:gd name="connsiteX4" fmla="*/ 2919142 w 4035310"/>
              <a:gd name="connsiteY4" fmla="*/ 5609255 h 5620176"/>
              <a:gd name="connsiteX5" fmla="*/ 232259 w 4035310"/>
              <a:gd name="connsiteY5" fmla="*/ 5620176 h 5620176"/>
              <a:gd name="connsiteX6" fmla="*/ 0 w 4035310"/>
              <a:gd name="connsiteY6" fmla="*/ 5388074 h 5620176"/>
              <a:gd name="connsiteX7" fmla="*/ 0 w 4035310"/>
              <a:gd name="connsiteY7" fmla="*/ 1383077 h 5620176"/>
              <a:gd name="connsiteX8" fmla="*/ 98758 w 4035310"/>
              <a:gd name="connsiteY8" fmla="*/ 1193072 h 5620176"/>
              <a:gd name="connsiteX9" fmla="*/ 1820968 w 4035310"/>
              <a:gd name="connsiteY9" fmla="*/ 0 h 5620176"/>
              <a:gd name="connsiteX0" fmla="*/ 1820968 w 4030291"/>
              <a:gd name="connsiteY0" fmla="*/ 0 h 5620176"/>
              <a:gd name="connsiteX1" fmla="*/ 3517637 w 4030291"/>
              <a:gd name="connsiteY1" fmla="*/ 1818 h 5620176"/>
              <a:gd name="connsiteX2" fmla="*/ 3915178 w 4030291"/>
              <a:gd name="connsiteY2" fmla="*/ 469353 h 5620176"/>
              <a:gd name="connsiteX3" fmla="*/ 3966192 w 4030291"/>
              <a:gd name="connsiteY3" fmla="*/ 4546011 h 5620176"/>
              <a:gd name="connsiteX4" fmla="*/ 2919142 w 4030291"/>
              <a:gd name="connsiteY4" fmla="*/ 5609255 h 5620176"/>
              <a:gd name="connsiteX5" fmla="*/ 232259 w 4030291"/>
              <a:gd name="connsiteY5" fmla="*/ 5620176 h 5620176"/>
              <a:gd name="connsiteX6" fmla="*/ 0 w 4030291"/>
              <a:gd name="connsiteY6" fmla="*/ 5388074 h 5620176"/>
              <a:gd name="connsiteX7" fmla="*/ 0 w 4030291"/>
              <a:gd name="connsiteY7" fmla="*/ 1383077 h 5620176"/>
              <a:gd name="connsiteX8" fmla="*/ 98758 w 4030291"/>
              <a:gd name="connsiteY8" fmla="*/ 1193072 h 5620176"/>
              <a:gd name="connsiteX9" fmla="*/ 1820968 w 4030291"/>
              <a:gd name="connsiteY9" fmla="*/ 0 h 5620176"/>
              <a:gd name="connsiteX0" fmla="*/ 1820968 w 4025909"/>
              <a:gd name="connsiteY0" fmla="*/ 0 h 5620176"/>
              <a:gd name="connsiteX1" fmla="*/ 3517637 w 4025909"/>
              <a:gd name="connsiteY1" fmla="*/ 1818 h 5620176"/>
              <a:gd name="connsiteX2" fmla="*/ 3915178 w 4025909"/>
              <a:gd name="connsiteY2" fmla="*/ 469353 h 5620176"/>
              <a:gd name="connsiteX3" fmla="*/ 3966192 w 4025909"/>
              <a:gd name="connsiteY3" fmla="*/ 4546011 h 5620176"/>
              <a:gd name="connsiteX4" fmla="*/ 2919142 w 4025909"/>
              <a:gd name="connsiteY4" fmla="*/ 5609255 h 5620176"/>
              <a:gd name="connsiteX5" fmla="*/ 232259 w 4025909"/>
              <a:gd name="connsiteY5" fmla="*/ 5620176 h 5620176"/>
              <a:gd name="connsiteX6" fmla="*/ 0 w 4025909"/>
              <a:gd name="connsiteY6" fmla="*/ 5388074 h 5620176"/>
              <a:gd name="connsiteX7" fmla="*/ 0 w 4025909"/>
              <a:gd name="connsiteY7" fmla="*/ 1383077 h 5620176"/>
              <a:gd name="connsiteX8" fmla="*/ 98758 w 4025909"/>
              <a:gd name="connsiteY8" fmla="*/ 1193072 h 5620176"/>
              <a:gd name="connsiteX9" fmla="*/ 1820968 w 4025909"/>
              <a:gd name="connsiteY9" fmla="*/ 0 h 5620176"/>
              <a:gd name="connsiteX0" fmla="*/ 1820968 w 4028866"/>
              <a:gd name="connsiteY0" fmla="*/ 0 h 5620176"/>
              <a:gd name="connsiteX1" fmla="*/ 3517637 w 4028866"/>
              <a:gd name="connsiteY1" fmla="*/ 1818 h 5620176"/>
              <a:gd name="connsiteX2" fmla="*/ 3915178 w 4028866"/>
              <a:gd name="connsiteY2" fmla="*/ 469353 h 5620176"/>
              <a:gd name="connsiteX3" fmla="*/ 3966192 w 4028866"/>
              <a:gd name="connsiteY3" fmla="*/ 4546011 h 5620176"/>
              <a:gd name="connsiteX4" fmla="*/ 2919142 w 4028866"/>
              <a:gd name="connsiteY4" fmla="*/ 5609255 h 5620176"/>
              <a:gd name="connsiteX5" fmla="*/ 232259 w 4028866"/>
              <a:gd name="connsiteY5" fmla="*/ 5620176 h 5620176"/>
              <a:gd name="connsiteX6" fmla="*/ 0 w 4028866"/>
              <a:gd name="connsiteY6" fmla="*/ 5388074 h 5620176"/>
              <a:gd name="connsiteX7" fmla="*/ 0 w 4028866"/>
              <a:gd name="connsiteY7" fmla="*/ 1383077 h 5620176"/>
              <a:gd name="connsiteX8" fmla="*/ 98758 w 4028866"/>
              <a:gd name="connsiteY8" fmla="*/ 1193072 h 5620176"/>
              <a:gd name="connsiteX9" fmla="*/ 1820968 w 4028866"/>
              <a:gd name="connsiteY9" fmla="*/ 0 h 5620176"/>
              <a:gd name="connsiteX0" fmla="*/ 1820968 w 4031247"/>
              <a:gd name="connsiteY0" fmla="*/ 0 h 5620176"/>
              <a:gd name="connsiteX1" fmla="*/ 3517637 w 4031247"/>
              <a:gd name="connsiteY1" fmla="*/ 1818 h 5620176"/>
              <a:gd name="connsiteX2" fmla="*/ 3924131 w 4031247"/>
              <a:gd name="connsiteY2" fmla="*/ 308224 h 5620176"/>
              <a:gd name="connsiteX3" fmla="*/ 3966192 w 4031247"/>
              <a:gd name="connsiteY3" fmla="*/ 4546011 h 5620176"/>
              <a:gd name="connsiteX4" fmla="*/ 2919142 w 4031247"/>
              <a:gd name="connsiteY4" fmla="*/ 5609255 h 5620176"/>
              <a:gd name="connsiteX5" fmla="*/ 232259 w 4031247"/>
              <a:gd name="connsiteY5" fmla="*/ 5620176 h 5620176"/>
              <a:gd name="connsiteX6" fmla="*/ 0 w 4031247"/>
              <a:gd name="connsiteY6" fmla="*/ 5388074 h 5620176"/>
              <a:gd name="connsiteX7" fmla="*/ 0 w 4031247"/>
              <a:gd name="connsiteY7" fmla="*/ 1383077 h 5620176"/>
              <a:gd name="connsiteX8" fmla="*/ 98758 w 4031247"/>
              <a:gd name="connsiteY8" fmla="*/ 1193072 h 5620176"/>
              <a:gd name="connsiteX9" fmla="*/ 1820968 w 4031247"/>
              <a:gd name="connsiteY9" fmla="*/ 0 h 5620176"/>
              <a:gd name="connsiteX0" fmla="*/ 1820968 w 4031456"/>
              <a:gd name="connsiteY0" fmla="*/ 0 h 5620176"/>
              <a:gd name="connsiteX1" fmla="*/ 3517637 w 4031456"/>
              <a:gd name="connsiteY1" fmla="*/ 1818 h 5620176"/>
              <a:gd name="connsiteX2" fmla="*/ 3924131 w 4031456"/>
              <a:gd name="connsiteY2" fmla="*/ 308224 h 5620176"/>
              <a:gd name="connsiteX3" fmla="*/ 3966192 w 4031456"/>
              <a:gd name="connsiteY3" fmla="*/ 4546011 h 5620176"/>
              <a:gd name="connsiteX4" fmla="*/ 2919142 w 4031456"/>
              <a:gd name="connsiteY4" fmla="*/ 5609255 h 5620176"/>
              <a:gd name="connsiteX5" fmla="*/ 232259 w 4031456"/>
              <a:gd name="connsiteY5" fmla="*/ 5620176 h 5620176"/>
              <a:gd name="connsiteX6" fmla="*/ 0 w 4031456"/>
              <a:gd name="connsiteY6" fmla="*/ 5388074 h 5620176"/>
              <a:gd name="connsiteX7" fmla="*/ 0 w 4031456"/>
              <a:gd name="connsiteY7" fmla="*/ 1383077 h 5620176"/>
              <a:gd name="connsiteX8" fmla="*/ 98758 w 4031456"/>
              <a:gd name="connsiteY8" fmla="*/ 1193072 h 5620176"/>
              <a:gd name="connsiteX9" fmla="*/ 1820968 w 4031456"/>
              <a:gd name="connsiteY9" fmla="*/ 0 h 5620176"/>
              <a:gd name="connsiteX0" fmla="*/ 1820968 w 4038829"/>
              <a:gd name="connsiteY0" fmla="*/ 104452 h 5724628"/>
              <a:gd name="connsiteX1" fmla="*/ 3723525 w 4038829"/>
              <a:gd name="connsiteY1" fmla="*/ 124173 h 5724628"/>
              <a:gd name="connsiteX2" fmla="*/ 3924131 w 4038829"/>
              <a:gd name="connsiteY2" fmla="*/ 412676 h 5724628"/>
              <a:gd name="connsiteX3" fmla="*/ 3966192 w 4038829"/>
              <a:gd name="connsiteY3" fmla="*/ 4650463 h 5724628"/>
              <a:gd name="connsiteX4" fmla="*/ 2919142 w 4038829"/>
              <a:gd name="connsiteY4" fmla="*/ 5713707 h 5724628"/>
              <a:gd name="connsiteX5" fmla="*/ 232259 w 4038829"/>
              <a:gd name="connsiteY5" fmla="*/ 5724628 h 5724628"/>
              <a:gd name="connsiteX6" fmla="*/ 0 w 4038829"/>
              <a:gd name="connsiteY6" fmla="*/ 5492526 h 5724628"/>
              <a:gd name="connsiteX7" fmla="*/ 0 w 4038829"/>
              <a:gd name="connsiteY7" fmla="*/ 1487529 h 5724628"/>
              <a:gd name="connsiteX8" fmla="*/ 98758 w 4038829"/>
              <a:gd name="connsiteY8" fmla="*/ 1297524 h 5724628"/>
              <a:gd name="connsiteX9" fmla="*/ 1820968 w 4038829"/>
              <a:gd name="connsiteY9" fmla="*/ 104452 h 5724628"/>
              <a:gd name="connsiteX0" fmla="*/ 1820968 w 4038829"/>
              <a:gd name="connsiteY0" fmla="*/ 124809 h 5744985"/>
              <a:gd name="connsiteX1" fmla="*/ 3723525 w 4038829"/>
              <a:gd name="connsiteY1" fmla="*/ 144530 h 5744985"/>
              <a:gd name="connsiteX2" fmla="*/ 3924131 w 4038829"/>
              <a:gd name="connsiteY2" fmla="*/ 433033 h 5744985"/>
              <a:gd name="connsiteX3" fmla="*/ 3966192 w 4038829"/>
              <a:gd name="connsiteY3" fmla="*/ 4670820 h 5744985"/>
              <a:gd name="connsiteX4" fmla="*/ 2919142 w 4038829"/>
              <a:gd name="connsiteY4" fmla="*/ 5734064 h 5744985"/>
              <a:gd name="connsiteX5" fmla="*/ 232259 w 4038829"/>
              <a:gd name="connsiteY5" fmla="*/ 5744985 h 5744985"/>
              <a:gd name="connsiteX6" fmla="*/ 0 w 4038829"/>
              <a:gd name="connsiteY6" fmla="*/ 5512883 h 5744985"/>
              <a:gd name="connsiteX7" fmla="*/ 0 w 4038829"/>
              <a:gd name="connsiteY7" fmla="*/ 1507886 h 5744985"/>
              <a:gd name="connsiteX8" fmla="*/ 98758 w 4038829"/>
              <a:gd name="connsiteY8" fmla="*/ 1317881 h 5744985"/>
              <a:gd name="connsiteX9" fmla="*/ 1820968 w 4038829"/>
              <a:gd name="connsiteY9" fmla="*/ 124809 h 5744985"/>
              <a:gd name="connsiteX0" fmla="*/ 1820968 w 4031921"/>
              <a:gd name="connsiteY0" fmla="*/ 0 h 5620176"/>
              <a:gd name="connsiteX1" fmla="*/ 3723525 w 4031921"/>
              <a:gd name="connsiteY1" fmla="*/ 19721 h 5620176"/>
              <a:gd name="connsiteX2" fmla="*/ 3924131 w 4031921"/>
              <a:gd name="connsiteY2" fmla="*/ 308224 h 5620176"/>
              <a:gd name="connsiteX3" fmla="*/ 3966192 w 4031921"/>
              <a:gd name="connsiteY3" fmla="*/ 4546011 h 5620176"/>
              <a:gd name="connsiteX4" fmla="*/ 2919142 w 4031921"/>
              <a:gd name="connsiteY4" fmla="*/ 5609255 h 5620176"/>
              <a:gd name="connsiteX5" fmla="*/ 232259 w 4031921"/>
              <a:gd name="connsiteY5" fmla="*/ 5620176 h 5620176"/>
              <a:gd name="connsiteX6" fmla="*/ 0 w 4031921"/>
              <a:gd name="connsiteY6" fmla="*/ 5388074 h 5620176"/>
              <a:gd name="connsiteX7" fmla="*/ 0 w 4031921"/>
              <a:gd name="connsiteY7" fmla="*/ 1383077 h 5620176"/>
              <a:gd name="connsiteX8" fmla="*/ 98758 w 4031921"/>
              <a:gd name="connsiteY8" fmla="*/ 1193072 h 5620176"/>
              <a:gd name="connsiteX9" fmla="*/ 1820968 w 4031921"/>
              <a:gd name="connsiteY9" fmla="*/ 0 h 5620176"/>
              <a:gd name="connsiteX0" fmla="*/ 1820968 w 3966823"/>
              <a:gd name="connsiteY0" fmla="*/ 0 h 5620176"/>
              <a:gd name="connsiteX1" fmla="*/ 3723525 w 3966823"/>
              <a:gd name="connsiteY1" fmla="*/ 19721 h 5620176"/>
              <a:gd name="connsiteX2" fmla="*/ 3924131 w 3966823"/>
              <a:gd name="connsiteY2" fmla="*/ 308224 h 5620176"/>
              <a:gd name="connsiteX3" fmla="*/ 3966192 w 3966823"/>
              <a:gd name="connsiteY3" fmla="*/ 4546011 h 5620176"/>
              <a:gd name="connsiteX4" fmla="*/ 2919142 w 3966823"/>
              <a:gd name="connsiteY4" fmla="*/ 5609255 h 5620176"/>
              <a:gd name="connsiteX5" fmla="*/ 232259 w 3966823"/>
              <a:gd name="connsiteY5" fmla="*/ 5620176 h 5620176"/>
              <a:gd name="connsiteX6" fmla="*/ 0 w 3966823"/>
              <a:gd name="connsiteY6" fmla="*/ 5388074 h 5620176"/>
              <a:gd name="connsiteX7" fmla="*/ 0 w 3966823"/>
              <a:gd name="connsiteY7" fmla="*/ 1383077 h 5620176"/>
              <a:gd name="connsiteX8" fmla="*/ 98758 w 3966823"/>
              <a:gd name="connsiteY8" fmla="*/ 1193072 h 5620176"/>
              <a:gd name="connsiteX9" fmla="*/ 1820968 w 3966823"/>
              <a:gd name="connsiteY9" fmla="*/ 0 h 5620176"/>
              <a:gd name="connsiteX0" fmla="*/ 1820968 w 4039827"/>
              <a:gd name="connsiteY0" fmla="*/ 0 h 5620176"/>
              <a:gd name="connsiteX1" fmla="*/ 3723525 w 4039827"/>
              <a:gd name="connsiteY1" fmla="*/ 19721 h 5620176"/>
              <a:gd name="connsiteX2" fmla="*/ 3950986 w 4039827"/>
              <a:gd name="connsiteY2" fmla="*/ 352982 h 5620176"/>
              <a:gd name="connsiteX3" fmla="*/ 3966192 w 4039827"/>
              <a:gd name="connsiteY3" fmla="*/ 4546011 h 5620176"/>
              <a:gd name="connsiteX4" fmla="*/ 2919142 w 4039827"/>
              <a:gd name="connsiteY4" fmla="*/ 5609255 h 5620176"/>
              <a:gd name="connsiteX5" fmla="*/ 232259 w 4039827"/>
              <a:gd name="connsiteY5" fmla="*/ 5620176 h 5620176"/>
              <a:gd name="connsiteX6" fmla="*/ 0 w 4039827"/>
              <a:gd name="connsiteY6" fmla="*/ 5388074 h 5620176"/>
              <a:gd name="connsiteX7" fmla="*/ 0 w 4039827"/>
              <a:gd name="connsiteY7" fmla="*/ 1383077 h 5620176"/>
              <a:gd name="connsiteX8" fmla="*/ 98758 w 4039827"/>
              <a:gd name="connsiteY8" fmla="*/ 1193072 h 5620176"/>
              <a:gd name="connsiteX9" fmla="*/ 1820968 w 4039827"/>
              <a:gd name="connsiteY9" fmla="*/ 0 h 5620176"/>
              <a:gd name="connsiteX0" fmla="*/ 1820968 w 4049324"/>
              <a:gd name="connsiteY0" fmla="*/ 109447 h 5729623"/>
              <a:gd name="connsiteX1" fmla="*/ 3687718 w 4049324"/>
              <a:gd name="connsiteY1" fmla="*/ 111265 h 5729623"/>
              <a:gd name="connsiteX2" fmla="*/ 3950986 w 4049324"/>
              <a:gd name="connsiteY2" fmla="*/ 462429 h 5729623"/>
              <a:gd name="connsiteX3" fmla="*/ 3966192 w 4049324"/>
              <a:gd name="connsiteY3" fmla="*/ 4655458 h 5729623"/>
              <a:gd name="connsiteX4" fmla="*/ 2919142 w 4049324"/>
              <a:gd name="connsiteY4" fmla="*/ 5718702 h 5729623"/>
              <a:gd name="connsiteX5" fmla="*/ 232259 w 4049324"/>
              <a:gd name="connsiteY5" fmla="*/ 5729623 h 5729623"/>
              <a:gd name="connsiteX6" fmla="*/ 0 w 4049324"/>
              <a:gd name="connsiteY6" fmla="*/ 5497521 h 5729623"/>
              <a:gd name="connsiteX7" fmla="*/ 0 w 4049324"/>
              <a:gd name="connsiteY7" fmla="*/ 1492524 h 5729623"/>
              <a:gd name="connsiteX8" fmla="*/ 98758 w 4049324"/>
              <a:gd name="connsiteY8" fmla="*/ 1302519 h 5729623"/>
              <a:gd name="connsiteX9" fmla="*/ 1820968 w 4049324"/>
              <a:gd name="connsiteY9" fmla="*/ 109447 h 5729623"/>
              <a:gd name="connsiteX0" fmla="*/ 1820968 w 4039210"/>
              <a:gd name="connsiteY0" fmla="*/ 0 h 5620176"/>
              <a:gd name="connsiteX1" fmla="*/ 3687718 w 4039210"/>
              <a:gd name="connsiteY1" fmla="*/ 1818 h 5620176"/>
              <a:gd name="connsiteX2" fmla="*/ 3950986 w 4039210"/>
              <a:gd name="connsiteY2" fmla="*/ 352982 h 5620176"/>
              <a:gd name="connsiteX3" fmla="*/ 3966192 w 4039210"/>
              <a:gd name="connsiteY3" fmla="*/ 4546011 h 5620176"/>
              <a:gd name="connsiteX4" fmla="*/ 2919142 w 4039210"/>
              <a:gd name="connsiteY4" fmla="*/ 5609255 h 5620176"/>
              <a:gd name="connsiteX5" fmla="*/ 232259 w 4039210"/>
              <a:gd name="connsiteY5" fmla="*/ 5620176 h 5620176"/>
              <a:gd name="connsiteX6" fmla="*/ 0 w 4039210"/>
              <a:gd name="connsiteY6" fmla="*/ 5388074 h 5620176"/>
              <a:gd name="connsiteX7" fmla="*/ 0 w 4039210"/>
              <a:gd name="connsiteY7" fmla="*/ 1383077 h 5620176"/>
              <a:gd name="connsiteX8" fmla="*/ 98758 w 4039210"/>
              <a:gd name="connsiteY8" fmla="*/ 1193072 h 5620176"/>
              <a:gd name="connsiteX9" fmla="*/ 1820968 w 4039210"/>
              <a:gd name="connsiteY9" fmla="*/ 0 h 5620176"/>
              <a:gd name="connsiteX0" fmla="*/ 1820968 w 3966352"/>
              <a:gd name="connsiteY0" fmla="*/ 0 h 5620176"/>
              <a:gd name="connsiteX1" fmla="*/ 3687718 w 3966352"/>
              <a:gd name="connsiteY1" fmla="*/ 1818 h 5620176"/>
              <a:gd name="connsiteX2" fmla="*/ 3950986 w 3966352"/>
              <a:gd name="connsiteY2" fmla="*/ 352982 h 5620176"/>
              <a:gd name="connsiteX3" fmla="*/ 3966192 w 3966352"/>
              <a:gd name="connsiteY3" fmla="*/ 4546011 h 5620176"/>
              <a:gd name="connsiteX4" fmla="*/ 2919142 w 3966352"/>
              <a:gd name="connsiteY4" fmla="*/ 5609255 h 5620176"/>
              <a:gd name="connsiteX5" fmla="*/ 232259 w 3966352"/>
              <a:gd name="connsiteY5" fmla="*/ 5620176 h 5620176"/>
              <a:gd name="connsiteX6" fmla="*/ 0 w 3966352"/>
              <a:gd name="connsiteY6" fmla="*/ 5388074 h 5620176"/>
              <a:gd name="connsiteX7" fmla="*/ 0 w 3966352"/>
              <a:gd name="connsiteY7" fmla="*/ 1383077 h 5620176"/>
              <a:gd name="connsiteX8" fmla="*/ 98758 w 3966352"/>
              <a:gd name="connsiteY8" fmla="*/ 1193072 h 5620176"/>
              <a:gd name="connsiteX9" fmla="*/ 1820968 w 3966352"/>
              <a:gd name="connsiteY9" fmla="*/ 0 h 5620176"/>
              <a:gd name="connsiteX0" fmla="*/ 1820968 w 3966491"/>
              <a:gd name="connsiteY0" fmla="*/ 0 h 5620176"/>
              <a:gd name="connsiteX1" fmla="*/ 3687718 w 3966491"/>
              <a:gd name="connsiteY1" fmla="*/ 1818 h 5620176"/>
              <a:gd name="connsiteX2" fmla="*/ 3950986 w 3966491"/>
              <a:gd name="connsiteY2" fmla="*/ 352982 h 5620176"/>
              <a:gd name="connsiteX3" fmla="*/ 3966192 w 3966491"/>
              <a:gd name="connsiteY3" fmla="*/ 4546011 h 5620176"/>
              <a:gd name="connsiteX4" fmla="*/ 2919142 w 3966491"/>
              <a:gd name="connsiteY4" fmla="*/ 5609255 h 5620176"/>
              <a:gd name="connsiteX5" fmla="*/ 232259 w 3966491"/>
              <a:gd name="connsiteY5" fmla="*/ 5620176 h 5620176"/>
              <a:gd name="connsiteX6" fmla="*/ 0 w 3966491"/>
              <a:gd name="connsiteY6" fmla="*/ 5388074 h 5620176"/>
              <a:gd name="connsiteX7" fmla="*/ 0 w 3966491"/>
              <a:gd name="connsiteY7" fmla="*/ 1383077 h 5620176"/>
              <a:gd name="connsiteX8" fmla="*/ 98758 w 3966491"/>
              <a:gd name="connsiteY8" fmla="*/ 1193072 h 5620176"/>
              <a:gd name="connsiteX9" fmla="*/ 1820968 w 3966491"/>
              <a:gd name="connsiteY9" fmla="*/ 0 h 5620176"/>
              <a:gd name="connsiteX0" fmla="*/ 1319679 w 3966490"/>
              <a:gd name="connsiteY0" fmla="*/ 17513 h 5619785"/>
              <a:gd name="connsiteX1" fmla="*/ 3687718 w 3966490"/>
              <a:gd name="connsiteY1" fmla="*/ 1427 h 5619785"/>
              <a:gd name="connsiteX2" fmla="*/ 3950986 w 3966490"/>
              <a:gd name="connsiteY2" fmla="*/ 352591 h 5619785"/>
              <a:gd name="connsiteX3" fmla="*/ 3966192 w 3966490"/>
              <a:gd name="connsiteY3" fmla="*/ 4545620 h 5619785"/>
              <a:gd name="connsiteX4" fmla="*/ 2919142 w 3966490"/>
              <a:gd name="connsiteY4" fmla="*/ 5608864 h 5619785"/>
              <a:gd name="connsiteX5" fmla="*/ 232259 w 3966490"/>
              <a:gd name="connsiteY5" fmla="*/ 5619785 h 5619785"/>
              <a:gd name="connsiteX6" fmla="*/ 0 w 3966490"/>
              <a:gd name="connsiteY6" fmla="*/ 5387683 h 5619785"/>
              <a:gd name="connsiteX7" fmla="*/ 0 w 3966490"/>
              <a:gd name="connsiteY7" fmla="*/ 1382686 h 5619785"/>
              <a:gd name="connsiteX8" fmla="*/ 98758 w 3966490"/>
              <a:gd name="connsiteY8" fmla="*/ 1192681 h 5619785"/>
              <a:gd name="connsiteX9" fmla="*/ 1319679 w 3966490"/>
              <a:gd name="connsiteY9" fmla="*/ 17513 h 5619785"/>
              <a:gd name="connsiteX0" fmla="*/ 1319679 w 3966490"/>
              <a:gd name="connsiteY0" fmla="*/ 17513 h 5619785"/>
              <a:gd name="connsiteX1" fmla="*/ 3687718 w 3966490"/>
              <a:gd name="connsiteY1" fmla="*/ 1427 h 5619785"/>
              <a:gd name="connsiteX2" fmla="*/ 3950986 w 3966490"/>
              <a:gd name="connsiteY2" fmla="*/ 352591 h 5619785"/>
              <a:gd name="connsiteX3" fmla="*/ 3966192 w 3966490"/>
              <a:gd name="connsiteY3" fmla="*/ 4545620 h 5619785"/>
              <a:gd name="connsiteX4" fmla="*/ 2919142 w 3966490"/>
              <a:gd name="connsiteY4" fmla="*/ 5608864 h 5619785"/>
              <a:gd name="connsiteX5" fmla="*/ 232259 w 3966490"/>
              <a:gd name="connsiteY5" fmla="*/ 5619785 h 5619785"/>
              <a:gd name="connsiteX6" fmla="*/ 0 w 3966490"/>
              <a:gd name="connsiteY6" fmla="*/ 5387683 h 5619785"/>
              <a:gd name="connsiteX7" fmla="*/ 0 w 3966490"/>
              <a:gd name="connsiteY7" fmla="*/ 1382686 h 5619785"/>
              <a:gd name="connsiteX8" fmla="*/ 116661 w 3966490"/>
              <a:gd name="connsiteY8" fmla="*/ 959939 h 5619785"/>
              <a:gd name="connsiteX9" fmla="*/ 1319679 w 3966490"/>
              <a:gd name="connsiteY9" fmla="*/ 17513 h 5619785"/>
              <a:gd name="connsiteX0" fmla="*/ 1337582 w 3984393"/>
              <a:gd name="connsiteY0" fmla="*/ 17513 h 5619785"/>
              <a:gd name="connsiteX1" fmla="*/ 3705621 w 3984393"/>
              <a:gd name="connsiteY1" fmla="*/ 1427 h 5619785"/>
              <a:gd name="connsiteX2" fmla="*/ 3968889 w 3984393"/>
              <a:gd name="connsiteY2" fmla="*/ 352591 h 5619785"/>
              <a:gd name="connsiteX3" fmla="*/ 3984095 w 3984393"/>
              <a:gd name="connsiteY3" fmla="*/ 4545620 h 5619785"/>
              <a:gd name="connsiteX4" fmla="*/ 2937045 w 3984393"/>
              <a:gd name="connsiteY4" fmla="*/ 5608864 h 5619785"/>
              <a:gd name="connsiteX5" fmla="*/ 250162 w 3984393"/>
              <a:gd name="connsiteY5" fmla="*/ 5619785 h 5619785"/>
              <a:gd name="connsiteX6" fmla="*/ 17903 w 3984393"/>
              <a:gd name="connsiteY6" fmla="*/ 5387683 h 5619785"/>
              <a:gd name="connsiteX7" fmla="*/ 0 w 3984393"/>
              <a:gd name="connsiteY7" fmla="*/ 1176799 h 5619785"/>
              <a:gd name="connsiteX8" fmla="*/ 134564 w 3984393"/>
              <a:gd name="connsiteY8" fmla="*/ 959939 h 5619785"/>
              <a:gd name="connsiteX9" fmla="*/ 1337582 w 3984393"/>
              <a:gd name="connsiteY9" fmla="*/ 17513 h 561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84393" h="5619785">
                <a:moveTo>
                  <a:pt x="1337582" y="17513"/>
                </a:moveTo>
                <a:lnTo>
                  <a:pt x="3705621" y="1427"/>
                </a:lnTo>
                <a:cubicBezTo>
                  <a:pt x="3710019" y="-5388"/>
                  <a:pt x="3967236" y="-1952"/>
                  <a:pt x="3968889" y="352591"/>
                </a:cubicBezTo>
                <a:cubicBezTo>
                  <a:pt x="3970542" y="707134"/>
                  <a:pt x="3977923" y="4540584"/>
                  <a:pt x="3984095" y="4545620"/>
                </a:cubicBezTo>
                <a:cubicBezTo>
                  <a:pt x="4004664" y="4562403"/>
                  <a:pt x="2956922" y="5608783"/>
                  <a:pt x="2937045" y="5608864"/>
                </a:cubicBezTo>
                <a:lnTo>
                  <a:pt x="250162" y="5619785"/>
                </a:lnTo>
                <a:cubicBezTo>
                  <a:pt x="121879" y="5619785"/>
                  <a:pt x="17903" y="5515879"/>
                  <a:pt x="17903" y="5387683"/>
                </a:cubicBezTo>
                <a:cubicBezTo>
                  <a:pt x="11935" y="3984055"/>
                  <a:pt x="5968" y="2580427"/>
                  <a:pt x="0" y="1176799"/>
                </a:cubicBezTo>
                <a:cubicBezTo>
                  <a:pt x="0" y="1101128"/>
                  <a:pt x="72713" y="1003434"/>
                  <a:pt x="134564" y="959939"/>
                </a:cubicBezTo>
                <a:lnTo>
                  <a:pt x="1337582" y="17513"/>
                </a:lnTo>
                <a:close/>
              </a:path>
            </a:pathLst>
          </a:custGeom>
        </p:spPr>
      </p:pic>
      <p:sp>
        <p:nvSpPr>
          <p:cNvPr id="8" name="TextBox 1">
            <a:extLst>
              <a:ext uri="{FF2B5EF4-FFF2-40B4-BE49-F238E27FC236}">
                <a16:creationId xmlns:a16="http://schemas.microsoft.com/office/drawing/2014/main" id="{853DFA92-A1B2-6FEA-9AE8-106B2B97B801}"/>
              </a:ext>
            </a:extLst>
          </p:cNvPr>
          <p:cNvSpPr txBox="1"/>
          <p:nvPr/>
        </p:nvSpPr>
        <p:spPr>
          <a:xfrm>
            <a:off x="9541120" y="5612063"/>
            <a:ext cx="25365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atest Update: </a:t>
            </a:r>
            <a:r>
              <a:rPr kumimoji="0" lang="en-US" sz="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January 31, 2025</a:t>
            </a:r>
          </a:p>
        </p:txBody>
      </p:sp>
      <p:sp>
        <p:nvSpPr>
          <p:cNvPr id="11" name="TextBox 7">
            <a:extLst>
              <a:ext uri="{FF2B5EF4-FFF2-40B4-BE49-F238E27FC236}">
                <a16:creationId xmlns:a16="http://schemas.microsoft.com/office/drawing/2014/main" id="{45C708A2-8417-8A1C-D38F-CB0466368A8C}"/>
              </a:ext>
            </a:extLst>
          </p:cNvPr>
          <p:cNvSpPr txBox="1"/>
          <p:nvPr/>
        </p:nvSpPr>
        <p:spPr>
          <a:xfrm>
            <a:off x="4885008" y="5952596"/>
            <a:ext cx="69456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a:t>
            </a:r>
            <a:r>
              <a:rPr kumimoji="0" lang="en-US" sz="800" b="0" i="0" u="none" strike="noStrike" kern="1200" cap="none" spc="0" normalizeH="0" baseline="0" noProof="0" err="1">
                <a:ln>
                  <a:noFill/>
                </a:ln>
                <a:solidFill>
                  <a:prstClr val="white">
                    <a:lumMod val="65000"/>
                  </a:prstClr>
                </a:solidFill>
                <a:effectLst/>
                <a:uLnTx/>
                <a:uFillTx/>
                <a:latin typeface="Aptos" panose="020B0004020202020204" pitchFamily="34" charset="0"/>
                <a:ea typeface="+mn-ea"/>
                <a:cs typeface="+mn-cs"/>
              </a:rPr>
              <a:t>Quickserve</a:t>
            </a: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 should be used for official maintenance schedule by ESN.     **Very dependent on oil pan size selected this is high capacity shown</a:t>
            </a:r>
          </a:p>
        </p:txBody>
      </p:sp>
      <p:sp>
        <p:nvSpPr>
          <p:cNvPr id="12" name="TextBox 137">
            <a:extLst>
              <a:ext uri="{FF2B5EF4-FFF2-40B4-BE49-F238E27FC236}">
                <a16:creationId xmlns:a16="http://schemas.microsoft.com/office/drawing/2014/main" id="{48110891-311F-34AC-B5A0-FB2BA9B625C9}"/>
              </a:ext>
            </a:extLst>
          </p:cNvPr>
          <p:cNvSpPr txBox="1"/>
          <p:nvPr/>
        </p:nvSpPr>
        <p:spPr>
          <a:xfrm>
            <a:off x="5708119" y="1864221"/>
            <a:ext cx="5317844" cy="1131079"/>
          </a:xfrm>
          <a:prstGeom prst="rect">
            <a:avLst/>
          </a:prstGeom>
          <a:noFill/>
        </p:spPr>
        <p:txBody>
          <a:bodyPr wrap="square" lIns="0" tIns="0" rIns="0" bIns="0" rtlCol="0" anchor="t">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Features a new cartridge-style filters that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reduce costs by up to 30%, </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by replacing only the filter media during maintenance versus traditional spin-on filters</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Equipped with Automatic Engine Shutdown</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 which turns off the engine during extended idle periods to reduce fuel consumption and engine wear</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Targets up to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4% fuel economy improvement </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over the current L9</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Boasts Cummins’ full suite of digital features and capabilities from the point of sale to stay ahead of unplanned maintenance events </a:t>
            </a:r>
          </a:p>
        </p:txBody>
      </p:sp>
      <p:grpSp>
        <p:nvGrpSpPr>
          <p:cNvPr id="13" name="Group 493">
            <a:extLst>
              <a:ext uri="{FF2B5EF4-FFF2-40B4-BE49-F238E27FC236}">
                <a16:creationId xmlns:a16="http://schemas.microsoft.com/office/drawing/2014/main" id="{C8FEAA7A-273F-D6C5-A251-407986CC11CC}"/>
              </a:ext>
            </a:extLst>
          </p:cNvPr>
          <p:cNvGrpSpPr/>
          <p:nvPr/>
        </p:nvGrpSpPr>
        <p:grpSpPr>
          <a:xfrm>
            <a:off x="8963942" y="3075733"/>
            <a:ext cx="1870636" cy="601162"/>
            <a:chOff x="8629830" y="3957185"/>
            <a:chExt cx="1870636" cy="601162"/>
          </a:xfrm>
        </p:grpSpPr>
        <p:sp>
          <p:nvSpPr>
            <p:cNvPr id="14" name="TextBox 496">
              <a:extLst>
                <a:ext uri="{FF2B5EF4-FFF2-40B4-BE49-F238E27FC236}">
                  <a16:creationId xmlns:a16="http://schemas.microsoft.com/office/drawing/2014/main" id="{4E84D8B3-2012-A657-93E8-B52D3DDE81E5}"/>
                </a:ext>
              </a:extLst>
            </p:cNvPr>
            <p:cNvSpPr txBox="1"/>
            <p:nvPr/>
          </p:nvSpPr>
          <p:spPr>
            <a:xfrm>
              <a:off x="8629830" y="3957185"/>
              <a:ext cx="86389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Value Package</a:t>
              </a:r>
            </a:p>
          </p:txBody>
        </p:sp>
        <p:sp>
          <p:nvSpPr>
            <p:cNvPr id="15" name="TextBox 497">
              <a:extLst>
                <a:ext uri="{FF2B5EF4-FFF2-40B4-BE49-F238E27FC236}">
                  <a16:creationId xmlns:a16="http://schemas.microsoft.com/office/drawing/2014/main" id="{80FDD950-F579-FFC3-8B17-721623F1524E}"/>
                </a:ext>
              </a:extLst>
            </p:cNvPr>
            <p:cNvSpPr txBox="1"/>
            <p:nvPr/>
          </p:nvSpPr>
          <p:spPr>
            <a:xfrm>
              <a:off x="9339588" y="3958183"/>
              <a:ext cx="1160878" cy="6001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Uptime</a:t>
              </a:r>
            </a:p>
            <a:p>
              <a:pPr marL="171450" marR="0" lvl="0" indent="-17145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Lower TCO</a:t>
              </a:r>
            </a:p>
            <a:p>
              <a:pPr marL="171450" marR="0" lvl="0" indent="-17145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Serviceability </a:t>
              </a:r>
            </a:p>
          </p:txBody>
        </p:sp>
      </p:grpSp>
      <p:sp>
        <p:nvSpPr>
          <p:cNvPr id="16" name="CaixaDeTexto 15">
            <a:extLst>
              <a:ext uri="{FF2B5EF4-FFF2-40B4-BE49-F238E27FC236}">
                <a16:creationId xmlns:a16="http://schemas.microsoft.com/office/drawing/2014/main" id="{D1582E7F-E612-DB41-701D-6385376D81EE}"/>
              </a:ext>
            </a:extLst>
          </p:cNvPr>
          <p:cNvSpPr txBox="1"/>
          <p:nvPr/>
        </p:nvSpPr>
        <p:spPr>
          <a:xfrm>
            <a:off x="5599170" y="1508356"/>
            <a:ext cx="21084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9281C"/>
                </a:solidFill>
                <a:effectLst/>
                <a:uLnTx/>
                <a:uFillTx/>
                <a:latin typeface="Aptos" panose="020B0004020202020204" pitchFamily="34" charset="0"/>
                <a:ea typeface="+mn-ea"/>
                <a:cs typeface="+mn-cs"/>
              </a:rPr>
              <a:t>Differentiators</a:t>
            </a:r>
          </a:p>
        </p:txBody>
      </p:sp>
      <p:sp>
        <p:nvSpPr>
          <p:cNvPr id="17" name="TextBox 506">
            <a:extLst>
              <a:ext uri="{FF2B5EF4-FFF2-40B4-BE49-F238E27FC236}">
                <a16:creationId xmlns:a16="http://schemas.microsoft.com/office/drawing/2014/main" id="{B6BCF362-9333-90A4-AE33-C0E95B008BB4}"/>
              </a:ext>
            </a:extLst>
          </p:cNvPr>
          <p:cNvSpPr txBox="1"/>
          <p:nvPr/>
        </p:nvSpPr>
        <p:spPr>
          <a:xfrm>
            <a:off x="5618843" y="3057235"/>
            <a:ext cx="103713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Primary Applications</a:t>
            </a:r>
          </a:p>
        </p:txBody>
      </p:sp>
      <p:graphicFrame>
        <p:nvGraphicFramePr>
          <p:cNvPr id="66" name="Table 492">
            <a:extLst>
              <a:ext uri="{FF2B5EF4-FFF2-40B4-BE49-F238E27FC236}">
                <a16:creationId xmlns:a16="http://schemas.microsoft.com/office/drawing/2014/main" id="{7DCC1EE3-970E-A1A7-B5EE-314B967F7942}"/>
              </a:ext>
            </a:extLst>
          </p:cNvPr>
          <p:cNvGraphicFramePr>
            <a:graphicFrameLocks noGrp="1"/>
          </p:cNvGraphicFramePr>
          <p:nvPr/>
        </p:nvGraphicFramePr>
        <p:xfrm>
          <a:off x="5587881" y="3949680"/>
          <a:ext cx="5539884" cy="1413744"/>
        </p:xfrm>
        <a:graphic>
          <a:graphicData uri="http://schemas.openxmlformats.org/drawingml/2006/table">
            <a:tbl>
              <a:tblPr>
                <a:tableStyleId>{9D7B26C5-4107-4FEC-AEDC-1716B250A1EF}</a:tableStyleId>
              </a:tblPr>
              <a:tblGrid>
                <a:gridCol w="1846628">
                  <a:extLst>
                    <a:ext uri="{9D8B030D-6E8A-4147-A177-3AD203B41FA5}">
                      <a16:colId xmlns:a16="http://schemas.microsoft.com/office/drawing/2014/main" val="1584487396"/>
                    </a:ext>
                  </a:extLst>
                </a:gridCol>
                <a:gridCol w="1846628">
                  <a:extLst>
                    <a:ext uri="{9D8B030D-6E8A-4147-A177-3AD203B41FA5}">
                      <a16:colId xmlns:a16="http://schemas.microsoft.com/office/drawing/2014/main" val="1073477736"/>
                    </a:ext>
                  </a:extLst>
                </a:gridCol>
                <a:gridCol w="1846628">
                  <a:extLst>
                    <a:ext uri="{9D8B030D-6E8A-4147-A177-3AD203B41FA5}">
                      <a16:colId xmlns:a16="http://schemas.microsoft.com/office/drawing/2014/main" val="3274027472"/>
                    </a:ext>
                  </a:extLst>
                </a:gridCol>
              </a:tblGrid>
              <a:tr h="182880">
                <a:tc>
                  <a:txBody>
                    <a:bodyPr/>
                    <a:lstStyle/>
                    <a:p>
                      <a:pPr algn="ctr" rtl="0" fontAlgn="ctr">
                        <a:spcBef>
                          <a:spcPts val="0"/>
                        </a:spcBef>
                        <a:spcAft>
                          <a:spcPts val="0"/>
                        </a:spcAft>
                      </a:pPr>
                      <a:r>
                        <a:rPr lang="en-US" sz="1200" b="1" u="none" strike="noStrike" noProof="0">
                          <a:solidFill>
                            <a:schemeClr val="bg1"/>
                          </a:solidFill>
                          <a:effectLst/>
                        </a:rPr>
                        <a:t>Maintenance Event*</a:t>
                      </a:r>
                      <a:endParaRPr lang="en-US" sz="12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B w="3175" cap="flat" cmpd="sng" algn="ctr">
                      <a:solidFill>
                        <a:srgbClr val="A9A8A6"/>
                      </a:solidFill>
                      <a:prstDash val="solid"/>
                      <a:round/>
                      <a:headEnd type="none" w="med" len="med"/>
                      <a:tailEnd type="none" w="med" len="med"/>
                    </a:lnB>
                    <a:solidFill>
                      <a:schemeClr val="tx1"/>
                    </a:solidFill>
                  </a:tcPr>
                </a:tc>
                <a:tc>
                  <a:txBody>
                    <a:bodyPr/>
                    <a:lstStyle/>
                    <a:p>
                      <a:pPr algn="ctr" rtl="0" fontAlgn="ctr">
                        <a:spcBef>
                          <a:spcPts val="0"/>
                        </a:spcBef>
                        <a:spcAft>
                          <a:spcPts val="0"/>
                        </a:spcAft>
                      </a:pPr>
                      <a:r>
                        <a:rPr lang="en-US" sz="1200" b="1" noProof="0">
                          <a:solidFill>
                            <a:schemeClr val="bg1"/>
                          </a:solidFill>
                          <a:effectLst/>
                        </a:rPr>
                        <a:t>MHD Target</a:t>
                      </a:r>
                      <a:endParaRPr lang="en-US" sz="12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B w="3175" cap="flat" cmpd="sng" algn="ctr">
                      <a:solidFill>
                        <a:srgbClr val="A9A8A6"/>
                      </a:solidFill>
                      <a:prstDash val="solid"/>
                      <a:round/>
                      <a:headEnd type="none" w="med" len="med"/>
                      <a:tailEnd type="none" w="med" len="med"/>
                    </a:lnB>
                    <a:solidFill>
                      <a:schemeClr val="tx1"/>
                    </a:solidFill>
                  </a:tcPr>
                </a:tc>
                <a:tc>
                  <a:txBody>
                    <a:bodyPr/>
                    <a:lstStyle/>
                    <a:p>
                      <a:pPr algn="ctr" rtl="0" fontAlgn="ctr">
                        <a:spcBef>
                          <a:spcPts val="0"/>
                        </a:spcBef>
                        <a:spcAft>
                          <a:spcPts val="0"/>
                        </a:spcAft>
                      </a:pPr>
                      <a:r>
                        <a:rPr lang="en-US" sz="1200" b="1" i="0" noProof="0">
                          <a:solidFill>
                            <a:schemeClr val="bg1"/>
                          </a:solidFill>
                          <a:effectLst/>
                          <a:latin typeface="Aptos" panose="020B0004020202020204" pitchFamily="34" charset="0"/>
                          <a:cs typeface="Arial" panose="020B0604020202020204" pitchFamily="34" charset="0"/>
                        </a:rPr>
                        <a:t>HHD Target</a:t>
                      </a:r>
                    </a:p>
                  </a:txBody>
                  <a:tcPr marL="52743" marR="52743" marT="26372" marB="26372" anchor="ctr">
                    <a:lnB w="3175" cap="flat" cmpd="sng" algn="ctr">
                      <a:solidFill>
                        <a:srgbClr val="A9A8A6"/>
                      </a:solidFill>
                      <a:prstDash val="solid"/>
                      <a:round/>
                      <a:headEnd type="none" w="med" len="med"/>
                      <a:tailEnd type="none" w="med" len="med"/>
                    </a:lnB>
                    <a:solidFill>
                      <a:schemeClr val="tx1"/>
                    </a:solidFill>
                  </a:tcPr>
                </a:tc>
                <a:extLst>
                  <a:ext uri="{0D108BD9-81ED-4DB2-BD59-A6C34878D82A}">
                    <a16:rowId xmlns:a16="http://schemas.microsoft.com/office/drawing/2014/main" val="3460064979"/>
                  </a:ext>
                </a:extLst>
              </a:tr>
              <a:tr h="182880">
                <a:tc>
                  <a:txBody>
                    <a:bodyPr/>
                    <a:lstStyle/>
                    <a:p>
                      <a:pPr algn="ctr" rtl="0" fontAlgn="ctr">
                        <a:spcBef>
                          <a:spcPts val="0"/>
                        </a:spcBef>
                        <a:spcAft>
                          <a:spcPts val="0"/>
                        </a:spcAft>
                      </a:pPr>
                      <a:r>
                        <a:rPr lang="en-US" sz="1200" b="0" u="none" strike="noStrike" noProof="0">
                          <a:solidFill>
                            <a:srgbClr val="000000"/>
                          </a:solidFill>
                          <a:effectLst/>
                        </a:rPr>
                        <a:t>Oil and filter**</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Up to 50k mi / 2500 </a:t>
                      </a:r>
                      <a:r>
                        <a:rPr lang="en-US" sz="1200" noProof="0" err="1">
                          <a:effectLst/>
                        </a:rPr>
                        <a:t>hr</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b="0" i="0" noProof="0">
                          <a:effectLst/>
                          <a:latin typeface="Aptos" panose="020B0004020202020204" pitchFamily="34" charset="0"/>
                          <a:cs typeface="Arial" panose="020B0604020202020204" pitchFamily="34" charset="0"/>
                        </a:rPr>
                        <a:t>Up to 50k mi / 2500 </a:t>
                      </a:r>
                      <a:r>
                        <a:rPr lang="en-US" sz="1200" b="0" i="0" noProof="0" err="1">
                          <a:effectLst/>
                          <a:latin typeface="Aptos" panose="020B0004020202020204" pitchFamily="34" charset="0"/>
                          <a:cs typeface="Arial" panose="020B0604020202020204" pitchFamily="34" charset="0"/>
                        </a:rPr>
                        <a:t>hr</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4101482269"/>
                  </a:ext>
                </a:extLst>
              </a:tr>
              <a:tr h="182880">
                <a:tc>
                  <a:txBody>
                    <a:bodyPr/>
                    <a:lstStyle/>
                    <a:p>
                      <a:pPr algn="ctr" rtl="0" fontAlgn="ctr">
                        <a:spcBef>
                          <a:spcPts val="0"/>
                        </a:spcBef>
                        <a:spcAft>
                          <a:spcPts val="0"/>
                        </a:spcAft>
                      </a:pPr>
                      <a:r>
                        <a:rPr lang="en-US" sz="1200" b="0" u="none" strike="noStrike" noProof="0">
                          <a:solidFill>
                            <a:srgbClr val="000000"/>
                          </a:solidFill>
                          <a:effectLst/>
                        </a:rPr>
                        <a:t>Valve lash adjustment</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gridSpan="2">
                  <a:txBody>
                    <a:bodyPr/>
                    <a:lstStyle/>
                    <a:p>
                      <a:pPr algn="ctr" rtl="0" fontAlgn="ctr">
                        <a:spcBef>
                          <a:spcPts val="0"/>
                        </a:spcBef>
                        <a:spcAft>
                          <a:spcPts val="0"/>
                        </a:spcAft>
                      </a:pPr>
                      <a:r>
                        <a:rPr lang="en-US" sz="1200" noProof="0">
                          <a:effectLst/>
                        </a:rPr>
                        <a:t>300k mi </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hMerge="1">
                  <a:txBody>
                    <a:bodyPr/>
                    <a:lstStyle/>
                    <a:p>
                      <a:pPr algn="ctr" rtl="0" fontAlgn="ctr">
                        <a:spcBef>
                          <a:spcPts val="0"/>
                        </a:spcBef>
                        <a:spcAft>
                          <a:spcPts val="0"/>
                        </a:spcAft>
                      </a:pPr>
                      <a:endParaRPr lang="en-US" sz="1200" b="0" i="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496193975"/>
                  </a:ext>
                </a:extLst>
              </a:tr>
              <a:tr h="182880">
                <a:tc>
                  <a:txBody>
                    <a:bodyPr/>
                    <a:lstStyle/>
                    <a:p>
                      <a:pPr algn="ctr" rtl="0" fontAlgn="ctr">
                        <a:spcBef>
                          <a:spcPts val="0"/>
                        </a:spcBef>
                        <a:spcAft>
                          <a:spcPts val="0"/>
                        </a:spcAft>
                      </a:pPr>
                      <a:r>
                        <a:rPr lang="en-US" sz="1200" b="0" u="none" strike="noStrike" noProof="0">
                          <a:solidFill>
                            <a:srgbClr val="000000"/>
                          </a:solidFill>
                          <a:effectLst/>
                        </a:rPr>
                        <a:t>DPF clean</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noProof="0">
                          <a:effectLst/>
                        </a:rPr>
                        <a:t>225k mi</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200" b="0" i="0" noProof="0">
                          <a:effectLst/>
                          <a:latin typeface="Aptos" panose="020B0004020202020204" pitchFamily="34" charset="0"/>
                          <a:cs typeface="Arial" panose="020B0604020202020204" pitchFamily="34" charset="0"/>
                        </a:rPr>
                        <a:t>up to 800k mi</a:t>
                      </a: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70473948"/>
                  </a:ext>
                </a:extLst>
              </a:tr>
              <a:tr h="182880">
                <a:tc>
                  <a:txBody>
                    <a:bodyPr/>
                    <a:lstStyle/>
                    <a:p>
                      <a:pPr algn="ctr" rtl="0" fontAlgn="ctr">
                        <a:spcBef>
                          <a:spcPts val="0"/>
                        </a:spcBef>
                        <a:spcAft>
                          <a:spcPts val="0"/>
                        </a:spcAft>
                      </a:pPr>
                      <a:r>
                        <a:rPr lang="en-US" sz="1200" b="0" u="none" strike="noStrike" noProof="0">
                          <a:solidFill>
                            <a:srgbClr val="000000"/>
                          </a:solidFill>
                          <a:effectLst/>
                        </a:rPr>
                        <a:t>DEF filter</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gridSpan="2">
                  <a:txBody>
                    <a:bodyPr/>
                    <a:lstStyle/>
                    <a:p>
                      <a:pPr algn="ctr" rtl="0" fontAlgn="ctr">
                        <a:spcBef>
                          <a:spcPts val="0"/>
                        </a:spcBef>
                        <a:spcAft>
                          <a:spcPts val="0"/>
                        </a:spcAft>
                      </a:pPr>
                      <a:r>
                        <a:rPr lang="en-US" sz="1200" noProof="0">
                          <a:effectLst/>
                        </a:rPr>
                        <a:t>300k mi</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hMerge="1">
                  <a:txBody>
                    <a:bodyPr/>
                    <a:lstStyle/>
                    <a:p>
                      <a:pPr algn="ctr" rtl="0" fontAlgn="ctr">
                        <a:spcBef>
                          <a:spcPts val="0"/>
                        </a:spcBef>
                        <a:spcAft>
                          <a:spcPts val="0"/>
                        </a:spcAft>
                      </a:pPr>
                      <a:endParaRPr lang="en-US" sz="1200" b="0" i="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003982871"/>
                  </a:ext>
                </a:extLst>
              </a:tr>
              <a:tr h="182880">
                <a:tc>
                  <a:txBody>
                    <a:bodyPr/>
                    <a:lstStyle/>
                    <a:p>
                      <a:pPr algn="ctr" rtl="0" fontAlgn="ctr">
                        <a:spcBef>
                          <a:spcPts val="0"/>
                        </a:spcBef>
                        <a:spcAft>
                          <a:spcPts val="0"/>
                        </a:spcAft>
                      </a:pPr>
                      <a:r>
                        <a:rPr lang="en-US" sz="1200" b="0" noProof="0">
                          <a:effectLst/>
                        </a:rPr>
                        <a:t>Base warranty</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gridSpan="2">
                  <a:txBody>
                    <a:bodyPr/>
                    <a:lstStyle/>
                    <a:p>
                      <a:pPr algn="ctr" rtl="0" fontAlgn="ctr">
                        <a:spcBef>
                          <a:spcPts val="0"/>
                        </a:spcBef>
                        <a:spcAft>
                          <a:spcPts val="0"/>
                        </a:spcAft>
                      </a:pPr>
                      <a:r>
                        <a:rPr lang="en-US" sz="1200" noProof="0">
                          <a:effectLst/>
                        </a:rPr>
                        <a:t>2 yr / 250k mi</a:t>
                      </a:r>
                      <a:endParaRPr lang="en-US" sz="12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hMerge="1">
                  <a:txBody>
                    <a:bodyPr/>
                    <a:lstStyle/>
                    <a:p>
                      <a:pPr algn="ctr" rtl="0" fontAlgn="ctr">
                        <a:spcBef>
                          <a:spcPts val="0"/>
                        </a:spcBef>
                        <a:spcAft>
                          <a:spcPts val="0"/>
                        </a:spcAft>
                      </a:pPr>
                      <a:endParaRPr lang="en-US" sz="1200" b="0" i="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3065924489"/>
                  </a:ext>
                </a:extLst>
              </a:tr>
            </a:tbl>
          </a:graphicData>
        </a:graphic>
      </p:graphicFrame>
      <p:sp>
        <p:nvSpPr>
          <p:cNvPr id="67" name="TextBox 507">
            <a:extLst>
              <a:ext uri="{FF2B5EF4-FFF2-40B4-BE49-F238E27FC236}">
                <a16:creationId xmlns:a16="http://schemas.microsoft.com/office/drawing/2014/main" id="{29ECA933-C59A-3971-8B76-BB307BAE265E}"/>
              </a:ext>
            </a:extLst>
          </p:cNvPr>
          <p:cNvSpPr txBox="1"/>
          <p:nvPr/>
        </p:nvSpPr>
        <p:spPr>
          <a:xfrm>
            <a:off x="6344459" y="3647702"/>
            <a:ext cx="1852683"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Pickup &amp; Delivery</a:t>
            </a:r>
          </a:p>
        </p:txBody>
      </p:sp>
      <p:grpSp>
        <p:nvGrpSpPr>
          <p:cNvPr id="68" name="Group 12">
            <a:extLst>
              <a:ext uri="{FF2B5EF4-FFF2-40B4-BE49-F238E27FC236}">
                <a16:creationId xmlns:a16="http://schemas.microsoft.com/office/drawing/2014/main" id="{F0CD663C-B324-A8C1-C581-40A3DDE0BB2A}"/>
              </a:ext>
            </a:extLst>
          </p:cNvPr>
          <p:cNvGrpSpPr>
            <a:grpSpLocks noChangeAspect="1"/>
          </p:cNvGrpSpPr>
          <p:nvPr/>
        </p:nvGrpSpPr>
        <p:grpSpPr>
          <a:xfrm>
            <a:off x="6804788" y="3125952"/>
            <a:ext cx="817276" cy="450628"/>
            <a:chOff x="865687" y="1590463"/>
            <a:chExt cx="958405" cy="528445"/>
          </a:xfrm>
          <a:solidFill>
            <a:schemeClr val="tx1"/>
          </a:solidFill>
        </p:grpSpPr>
        <p:sp>
          <p:nvSpPr>
            <p:cNvPr id="69" name="Freeform: Shape 2">
              <a:extLst>
                <a:ext uri="{FF2B5EF4-FFF2-40B4-BE49-F238E27FC236}">
                  <a16:creationId xmlns:a16="http://schemas.microsoft.com/office/drawing/2014/main" id="{473628C7-2F9F-7975-75F6-2226C02EC1FD}"/>
                </a:ext>
              </a:extLst>
            </p:cNvPr>
            <p:cNvSpPr/>
            <p:nvPr/>
          </p:nvSpPr>
          <p:spPr>
            <a:xfrm>
              <a:off x="1401468" y="1669139"/>
              <a:ext cx="195167" cy="326326"/>
            </a:xfrm>
            <a:custGeom>
              <a:avLst/>
              <a:gdLst>
                <a:gd name="connsiteX0" fmla="*/ 7144 w 195167"/>
                <a:gd name="connsiteY0" fmla="*/ 326327 h 326326"/>
                <a:gd name="connsiteX1" fmla="*/ 0 w 195167"/>
                <a:gd name="connsiteY1" fmla="*/ 319183 h 326326"/>
                <a:gd name="connsiteX2" fmla="*/ 0 w 195167"/>
                <a:gd name="connsiteY2" fmla="*/ 22384 h 326326"/>
                <a:gd name="connsiteX3" fmla="*/ 22384 w 195167"/>
                <a:gd name="connsiteY3" fmla="*/ 0 h 326326"/>
                <a:gd name="connsiteX4" fmla="*/ 142399 w 195167"/>
                <a:gd name="connsiteY4" fmla="*/ 0 h 326326"/>
                <a:gd name="connsiteX5" fmla="*/ 195167 w 195167"/>
                <a:gd name="connsiteY5" fmla="*/ 52769 h 326326"/>
                <a:gd name="connsiteX6" fmla="*/ 188023 w 195167"/>
                <a:gd name="connsiteY6" fmla="*/ 59912 h 326326"/>
                <a:gd name="connsiteX7" fmla="*/ 165544 w 195167"/>
                <a:gd name="connsiteY7" fmla="*/ 59912 h 326326"/>
                <a:gd name="connsiteX8" fmla="*/ 158401 w 195167"/>
                <a:gd name="connsiteY8" fmla="*/ 52769 h 326326"/>
                <a:gd name="connsiteX9" fmla="*/ 165544 w 195167"/>
                <a:gd name="connsiteY9" fmla="*/ 45625 h 326326"/>
                <a:gd name="connsiteX10" fmla="*/ 180594 w 195167"/>
                <a:gd name="connsiteY10" fmla="*/ 45625 h 326326"/>
                <a:gd name="connsiteX11" fmla="*/ 142494 w 195167"/>
                <a:gd name="connsiteY11" fmla="*/ 14288 h 326326"/>
                <a:gd name="connsiteX12" fmla="*/ 22479 w 195167"/>
                <a:gd name="connsiteY12" fmla="*/ 14288 h 326326"/>
                <a:gd name="connsiteX13" fmla="*/ 14383 w 195167"/>
                <a:gd name="connsiteY13" fmla="*/ 22384 h 326326"/>
                <a:gd name="connsiteX14" fmla="*/ 14383 w 195167"/>
                <a:gd name="connsiteY14" fmla="*/ 319183 h 326326"/>
                <a:gd name="connsiteX15" fmla="*/ 7239 w 195167"/>
                <a:gd name="connsiteY15" fmla="*/ 326327 h 32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167" h="326326">
                  <a:moveTo>
                    <a:pt x="7144" y="326327"/>
                  </a:moveTo>
                  <a:cubicBezTo>
                    <a:pt x="3239" y="326327"/>
                    <a:pt x="0" y="323088"/>
                    <a:pt x="0" y="319183"/>
                  </a:cubicBezTo>
                  <a:lnTo>
                    <a:pt x="0" y="22384"/>
                  </a:lnTo>
                  <a:cubicBezTo>
                    <a:pt x="0" y="10096"/>
                    <a:pt x="10001" y="0"/>
                    <a:pt x="22384" y="0"/>
                  </a:cubicBezTo>
                  <a:lnTo>
                    <a:pt x="142399" y="0"/>
                  </a:lnTo>
                  <a:cubicBezTo>
                    <a:pt x="176879" y="0"/>
                    <a:pt x="195167" y="18193"/>
                    <a:pt x="195167" y="52769"/>
                  </a:cubicBezTo>
                  <a:cubicBezTo>
                    <a:pt x="195167" y="56674"/>
                    <a:pt x="191929" y="59912"/>
                    <a:pt x="188023" y="59912"/>
                  </a:cubicBezTo>
                  <a:lnTo>
                    <a:pt x="165544" y="59912"/>
                  </a:lnTo>
                  <a:cubicBezTo>
                    <a:pt x="161639" y="59912"/>
                    <a:pt x="158401" y="56674"/>
                    <a:pt x="158401" y="52769"/>
                  </a:cubicBezTo>
                  <a:cubicBezTo>
                    <a:pt x="158401" y="48863"/>
                    <a:pt x="161639" y="45625"/>
                    <a:pt x="165544" y="45625"/>
                  </a:cubicBezTo>
                  <a:lnTo>
                    <a:pt x="180594" y="45625"/>
                  </a:lnTo>
                  <a:cubicBezTo>
                    <a:pt x="178498" y="24003"/>
                    <a:pt x="166497" y="14288"/>
                    <a:pt x="142494" y="14288"/>
                  </a:cubicBezTo>
                  <a:lnTo>
                    <a:pt x="22479" y="14288"/>
                  </a:lnTo>
                  <a:cubicBezTo>
                    <a:pt x="18002" y="14288"/>
                    <a:pt x="14383" y="17907"/>
                    <a:pt x="14383" y="22384"/>
                  </a:cubicBezTo>
                  <a:lnTo>
                    <a:pt x="14383" y="319183"/>
                  </a:lnTo>
                  <a:cubicBezTo>
                    <a:pt x="14383" y="323088"/>
                    <a:pt x="11144" y="326327"/>
                    <a:pt x="7239" y="32632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Shape 3">
              <a:extLst>
                <a:ext uri="{FF2B5EF4-FFF2-40B4-BE49-F238E27FC236}">
                  <a16:creationId xmlns:a16="http://schemas.microsoft.com/office/drawing/2014/main" id="{C76E6BB3-975C-68BF-13D3-A4E910CC50E3}"/>
                </a:ext>
              </a:extLst>
            </p:cNvPr>
            <p:cNvSpPr/>
            <p:nvPr/>
          </p:nvSpPr>
          <p:spPr>
            <a:xfrm>
              <a:off x="1449474" y="1714668"/>
              <a:ext cx="167683" cy="120205"/>
            </a:xfrm>
            <a:custGeom>
              <a:avLst/>
              <a:gdLst>
                <a:gd name="connsiteX0" fmla="*/ 160496 w 167683"/>
                <a:gd name="connsiteY0" fmla="*/ 120206 h 120205"/>
                <a:gd name="connsiteX1" fmla="*/ 42672 w 167683"/>
                <a:gd name="connsiteY1" fmla="*/ 120206 h 120205"/>
                <a:gd name="connsiteX2" fmla="*/ 0 w 167683"/>
                <a:gd name="connsiteY2" fmla="*/ 77534 h 120205"/>
                <a:gd name="connsiteX3" fmla="*/ 0 w 167683"/>
                <a:gd name="connsiteY3" fmla="*/ 7144 h 120205"/>
                <a:gd name="connsiteX4" fmla="*/ 7144 w 167683"/>
                <a:gd name="connsiteY4" fmla="*/ 0 h 120205"/>
                <a:gd name="connsiteX5" fmla="*/ 117538 w 167683"/>
                <a:gd name="connsiteY5" fmla="*/ 0 h 120205"/>
                <a:gd name="connsiteX6" fmla="*/ 124206 w 167683"/>
                <a:gd name="connsiteY6" fmla="*/ 4477 h 120205"/>
                <a:gd name="connsiteX7" fmla="*/ 167164 w 167683"/>
                <a:gd name="connsiteY7" fmla="*/ 110395 h 120205"/>
                <a:gd name="connsiteX8" fmla="*/ 166497 w 167683"/>
                <a:gd name="connsiteY8" fmla="*/ 117062 h 120205"/>
                <a:gd name="connsiteX9" fmla="*/ 160592 w 167683"/>
                <a:gd name="connsiteY9" fmla="*/ 120206 h 120205"/>
                <a:gd name="connsiteX10" fmla="*/ 14288 w 167683"/>
                <a:gd name="connsiteY10" fmla="*/ 14288 h 120205"/>
                <a:gd name="connsiteX11" fmla="*/ 14288 w 167683"/>
                <a:gd name="connsiteY11" fmla="*/ 77534 h 120205"/>
                <a:gd name="connsiteX12" fmla="*/ 42672 w 167683"/>
                <a:gd name="connsiteY12" fmla="*/ 105918 h 120205"/>
                <a:gd name="connsiteX13" fmla="*/ 149923 w 167683"/>
                <a:gd name="connsiteY13" fmla="*/ 105918 h 120205"/>
                <a:gd name="connsiteX14" fmla="*/ 112776 w 167683"/>
                <a:gd name="connsiteY14" fmla="*/ 14288 h 120205"/>
                <a:gd name="connsiteX15" fmla="*/ 14288 w 167683"/>
                <a:gd name="connsiteY15" fmla="*/ 14288 h 120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7683" h="120205">
                  <a:moveTo>
                    <a:pt x="160496" y="120206"/>
                  </a:moveTo>
                  <a:lnTo>
                    <a:pt x="42672" y="120206"/>
                  </a:lnTo>
                  <a:cubicBezTo>
                    <a:pt x="19145" y="120206"/>
                    <a:pt x="0" y="101060"/>
                    <a:pt x="0" y="77534"/>
                  </a:cubicBezTo>
                  <a:lnTo>
                    <a:pt x="0" y="7144"/>
                  </a:lnTo>
                  <a:cubicBezTo>
                    <a:pt x="0" y="3239"/>
                    <a:pt x="3239" y="0"/>
                    <a:pt x="7144" y="0"/>
                  </a:cubicBezTo>
                  <a:lnTo>
                    <a:pt x="117538" y="0"/>
                  </a:lnTo>
                  <a:cubicBezTo>
                    <a:pt x="120491" y="0"/>
                    <a:pt x="123063" y="1810"/>
                    <a:pt x="124206" y="4477"/>
                  </a:cubicBezTo>
                  <a:lnTo>
                    <a:pt x="167164" y="110395"/>
                  </a:lnTo>
                  <a:cubicBezTo>
                    <a:pt x="168021" y="112586"/>
                    <a:pt x="167831" y="115062"/>
                    <a:pt x="166497" y="117062"/>
                  </a:cubicBezTo>
                  <a:cubicBezTo>
                    <a:pt x="165163" y="119063"/>
                    <a:pt x="162973" y="120206"/>
                    <a:pt x="160592" y="120206"/>
                  </a:cubicBezTo>
                  <a:close/>
                  <a:moveTo>
                    <a:pt x="14288" y="14288"/>
                  </a:moveTo>
                  <a:lnTo>
                    <a:pt x="14288" y="77534"/>
                  </a:lnTo>
                  <a:cubicBezTo>
                    <a:pt x="14288" y="93155"/>
                    <a:pt x="27051" y="105918"/>
                    <a:pt x="42672" y="105918"/>
                  </a:cubicBezTo>
                  <a:lnTo>
                    <a:pt x="149923" y="105918"/>
                  </a:lnTo>
                  <a:lnTo>
                    <a:pt x="112776" y="14288"/>
                  </a:lnTo>
                  <a:lnTo>
                    <a:pt x="14288" y="1428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Shape 4">
              <a:extLst>
                <a:ext uri="{FF2B5EF4-FFF2-40B4-BE49-F238E27FC236}">
                  <a16:creationId xmlns:a16="http://schemas.microsoft.com/office/drawing/2014/main" id="{700638C9-F36E-4807-C0AB-E12629B657EB}"/>
                </a:ext>
              </a:extLst>
            </p:cNvPr>
            <p:cNvSpPr/>
            <p:nvPr/>
          </p:nvSpPr>
          <p:spPr>
            <a:xfrm>
              <a:off x="1463952" y="1863258"/>
              <a:ext cx="43529" cy="14287"/>
            </a:xfrm>
            <a:custGeom>
              <a:avLst/>
              <a:gdLst>
                <a:gd name="connsiteX0" fmla="*/ 36385 w 43529"/>
                <a:gd name="connsiteY0" fmla="*/ 14288 h 14287"/>
                <a:gd name="connsiteX1" fmla="*/ 7144 w 43529"/>
                <a:gd name="connsiteY1" fmla="*/ 14288 h 14287"/>
                <a:gd name="connsiteX2" fmla="*/ 0 w 43529"/>
                <a:gd name="connsiteY2" fmla="*/ 7144 h 14287"/>
                <a:gd name="connsiteX3" fmla="*/ 7144 w 43529"/>
                <a:gd name="connsiteY3" fmla="*/ 0 h 14287"/>
                <a:gd name="connsiteX4" fmla="*/ 36385 w 43529"/>
                <a:gd name="connsiteY4" fmla="*/ 0 h 14287"/>
                <a:gd name="connsiteX5" fmla="*/ 43529 w 43529"/>
                <a:gd name="connsiteY5" fmla="*/ 7144 h 14287"/>
                <a:gd name="connsiteX6" fmla="*/ 36385 w 4352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9" h="14287">
                  <a:moveTo>
                    <a:pt x="36385" y="14288"/>
                  </a:moveTo>
                  <a:lnTo>
                    <a:pt x="7144" y="14288"/>
                  </a:lnTo>
                  <a:cubicBezTo>
                    <a:pt x="3239" y="14288"/>
                    <a:pt x="0" y="11049"/>
                    <a:pt x="0" y="7144"/>
                  </a:cubicBezTo>
                  <a:cubicBezTo>
                    <a:pt x="0" y="3239"/>
                    <a:pt x="3239" y="0"/>
                    <a:pt x="7144" y="0"/>
                  </a:cubicBezTo>
                  <a:lnTo>
                    <a:pt x="36385" y="0"/>
                  </a:lnTo>
                  <a:cubicBezTo>
                    <a:pt x="40291" y="0"/>
                    <a:pt x="43529" y="3239"/>
                    <a:pt x="43529" y="7144"/>
                  </a:cubicBezTo>
                  <a:cubicBezTo>
                    <a:pt x="43529" y="11049"/>
                    <a:pt x="40291" y="14288"/>
                    <a:pt x="36385"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Shape 5">
              <a:extLst>
                <a:ext uri="{FF2B5EF4-FFF2-40B4-BE49-F238E27FC236}">
                  <a16:creationId xmlns:a16="http://schemas.microsoft.com/office/drawing/2014/main" id="{C4330976-950D-6460-52EA-DBE3E6542D2A}"/>
                </a:ext>
              </a:extLst>
            </p:cNvPr>
            <p:cNvSpPr/>
            <p:nvPr/>
          </p:nvSpPr>
          <p:spPr>
            <a:xfrm>
              <a:off x="1493193" y="1755531"/>
              <a:ext cx="14287" cy="79343"/>
            </a:xfrm>
            <a:custGeom>
              <a:avLst/>
              <a:gdLst>
                <a:gd name="connsiteX0" fmla="*/ 7144 w 14287"/>
                <a:gd name="connsiteY0" fmla="*/ 79343 h 79343"/>
                <a:gd name="connsiteX1" fmla="*/ 0 w 14287"/>
                <a:gd name="connsiteY1" fmla="*/ 72200 h 79343"/>
                <a:gd name="connsiteX2" fmla="*/ 0 w 14287"/>
                <a:gd name="connsiteY2" fmla="*/ 7144 h 79343"/>
                <a:gd name="connsiteX3" fmla="*/ 7144 w 14287"/>
                <a:gd name="connsiteY3" fmla="*/ 0 h 79343"/>
                <a:gd name="connsiteX4" fmla="*/ 14288 w 14287"/>
                <a:gd name="connsiteY4" fmla="*/ 7144 h 79343"/>
                <a:gd name="connsiteX5" fmla="*/ 14288 w 14287"/>
                <a:gd name="connsiteY5" fmla="*/ 72200 h 79343"/>
                <a:gd name="connsiteX6" fmla="*/ 7144 w 14287"/>
                <a:gd name="connsiteY6" fmla="*/ 79343 h 79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343">
                  <a:moveTo>
                    <a:pt x="7144" y="79343"/>
                  </a:moveTo>
                  <a:cubicBezTo>
                    <a:pt x="3239" y="79343"/>
                    <a:pt x="0" y="76105"/>
                    <a:pt x="0" y="72200"/>
                  </a:cubicBezTo>
                  <a:lnTo>
                    <a:pt x="0" y="7144"/>
                  </a:lnTo>
                  <a:cubicBezTo>
                    <a:pt x="0" y="3239"/>
                    <a:pt x="3239" y="0"/>
                    <a:pt x="7144" y="0"/>
                  </a:cubicBezTo>
                  <a:cubicBezTo>
                    <a:pt x="11049" y="0"/>
                    <a:pt x="14288" y="3239"/>
                    <a:pt x="14288" y="7144"/>
                  </a:cubicBezTo>
                  <a:lnTo>
                    <a:pt x="14288" y="72200"/>
                  </a:lnTo>
                  <a:cubicBezTo>
                    <a:pt x="14288" y="76105"/>
                    <a:pt x="11049" y="79343"/>
                    <a:pt x="7144" y="7934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Shape 6">
              <a:extLst>
                <a:ext uri="{FF2B5EF4-FFF2-40B4-BE49-F238E27FC236}">
                  <a16:creationId xmlns:a16="http://schemas.microsoft.com/office/drawing/2014/main" id="{8FDC6556-527A-6881-0E99-C6E12D1326BB}"/>
                </a:ext>
              </a:extLst>
            </p:cNvPr>
            <p:cNvSpPr/>
            <p:nvPr/>
          </p:nvSpPr>
          <p:spPr>
            <a:xfrm>
              <a:off x="1562059" y="1945840"/>
              <a:ext cx="172973" cy="172973"/>
            </a:xfrm>
            <a:custGeom>
              <a:avLst/>
              <a:gdLst>
                <a:gd name="connsiteX0" fmla="*/ 86487 w 172973"/>
                <a:gd name="connsiteY0" fmla="*/ 172974 h 172973"/>
                <a:gd name="connsiteX1" fmla="*/ 0 w 172973"/>
                <a:gd name="connsiteY1" fmla="*/ 86487 h 172973"/>
                <a:gd name="connsiteX2" fmla="*/ 86487 w 172973"/>
                <a:gd name="connsiteY2" fmla="*/ 0 h 172973"/>
                <a:gd name="connsiteX3" fmla="*/ 172974 w 172973"/>
                <a:gd name="connsiteY3" fmla="*/ 86487 h 172973"/>
                <a:gd name="connsiteX4" fmla="*/ 86487 w 172973"/>
                <a:gd name="connsiteY4" fmla="*/ 172974 h 172973"/>
                <a:gd name="connsiteX5" fmla="*/ 86487 w 172973"/>
                <a:gd name="connsiteY5" fmla="*/ 14383 h 172973"/>
                <a:gd name="connsiteX6" fmla="*/ 14288 w 172973"/>
                <a:gd name="connsiteY6" fmla="*/ 86582 h 172973"/>
                <a:gd name="connsiteX7" fmla="*/ 86487 w 172973"/>
                <a:gd name="connsiteY7" fmla="*/ 158782 h 172973"/>
                <a:gd name="connsiteX8" fmla="*/ 158686 w 172973"/>
                <a:gd name="connsiteY8" fmla="*/ 86582 h 172973"/>
                <a:gd name="connsiteX9" fmla="*/ 86487 w 172973"/>
                <a:gd name="connsiteY9" fmla="*/ 14383 h 17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73" h="172973">
                  <a:moveTo>
                    <a:pt x="86487" y="172974"/>
                  </a:moveTo>
                  <a:cubicBezTo>
                    <a:pt x="38767" y="172974"/>
                    <a:pt x="0" y="134207"/>
                    <a:pt x="0" y="86487"/>
                  </a:cubicBezTo>
                  <a:cubicBezTo>
                    <a:pt x="0" y="38767"/>
                    <a:pt x="38767" y="0"/>
                    <a:pt x="86487" y="0"/>
                  </a:cubicBezTo>
                  <a:cubicBezTo>
                    <a:pt x="134207" y="0"/>
                    <a:pt x="172974" y="38767"/>
                    <a:pt x="172974" y="86487"/>
                  </a:cubicBezTo>
                  <a:cubicBezTo>
                    <a:pt x="172974" y="134207"/>
                    <a:pt x="134207" y="172974"/>
                    <a:pt x="86487" y="172974"/>
                  </a:cubicBezTo>
                  <a:close/>
                  <a:moveTo>
                    <a:pt x="86487" y="14383"/>
                  </a:moveTo>
                  <a:cubicBezTo>
                    <a:pt x="46673" y="14383"/>
                    <a:pt x="14288" y="46768"/>
                    <a:pt x="14288" y="86582"/>
                  </a:cubicBezTo>
                  <a:cubicBezTo>
                    <a:pt x="14288" y="126397"/>
                    <a:pt x="46673" y="158782"/>
                    <a:pt x="86487" y="158782"/>
                  </a:cubicBezTo>
                  <a:cubicBezTo>
                    <a:pt x="126302" y="158782"/>
                    <a:pt x="158686" y="126397"/>
                    <a:pt x="158686" y="86582"/>
                  </a:cubicBezTo>
                  <a:cubicBezTo>
                    <a:pt x="158686" y="46768"/>
                    <a:pt x="126302" y="14383"/>
                    <a:pt x="86487" y="1438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Shape 7">
              <a:extLst>
                <a:ext uri="{FF2B5EF4-FFF2-40B4-BE49-F238E27FC236}">
                  <a16:creationId xmlns:a16="http://schemas.microsoft.com/office/drawing/2014/main" id="{3438BAE5-72C2-866C-24D8-253F8246BDA7}"/>
                </a:ext>
              </a:extLst>
            </p:cNvPr>
            <p:cNvSpPr/>
            <p:nvPr/>
          </p:nvSpPr>
          <p:spPr>
            <a:xfrm>
              <a:off x="1604731" y="1988512"/>
              <a:ext cx="87630" cy="87630"/>
            </a:xfrm>
            <a:custGeom>
              <a:avLst/>
              <a:gdLst>
                <a:gd name="connsiteX0" fmla="*/ 43815 w 87630"/>
                <a:gd name="connsiteY0" fmla="*/ 87630 h 87630"/>
                <a:gd name="connsiteX1" fmla="*/ 0 w 87630"/>
                <a:gd name="connsiteY1" fmla="*/ 43815 h 87630"/>
                <a:gd name="connsiteX2" fmla="*/ 43815 w 87630"/>
                <a:gd name="connsiteY2" fmla="*/ 0 h 87630"/>
                <a:gd name="connsiteX3" fmla="*/ 87630 w 87630"/>
                <a:gd name="connsiteY3" fmla="*/ 43815 h 87630"/>
                <a:gd name="connsiteX4" fmla="*/ 43815 w 87630"/>
                <a:gd name="connsiteY4" fmla="*/ 87630 h 87630"/>
                <a:gd name="connsiteX5" fmla="*/ 43815 w 87630"/>
                <a:gd name="connsiteY5" fmla="*/ 14383 h 87630"/>
                <a:gd name="connsiteX6" fmla="*/ 14288 w 87630"/>
                <a:gd name="connsiteY6" fmla="*/ 43910 h 87630"/>
                <a:gd name="connsiteX7" fmla="*/ 43815 w 87630"/>
                <a:gd name="connsiteY7" fmla="*/ 73438 h 87630"/>
                <a:gd name="connsiteX8" fmla="*/ 73343 w 87630"/>
                <a:gd name="connsiteY8" fmla="*/ 43910 h 87630"/>
                <a:gd name="connsiteX9" fmla="*/ 43815 w 87630"/>
                <a:gd name="connsiteY9" fmla="*/ 14383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30" h="87630">
                  <a:moveTo>
                    <a:pt x="43815" y="87630"/>
                  </a:moveTo>
                  <a:cubicBezTo>
                    <a:pt x="19622" y="87630"/>
                    <a:pt x="0" y="68008"/>
                    <a:pt x="0" y="43815"/>
                  </a:cubicBezTo>
                  <a:cubicBezTo>
                    <a:pt x="0" y="19621"/>
                    <a:pt x="19622" y="0"/>
                    <a:pt x="43815" y="0"/>
                  </a:cubicBezTo>
                  <a:cubicBezTo>
                    <a:pt x="68009" y="0"/>
                    <a:pt x="87630" y="19621"/>
                    <a:pt x="87630" y="43815"/>
                  </a:cubicBezTo>
                  <a:cubicBezTo>
                    <a:pt x="87630" y="68008"/>
                    <a:pt x="68009" y="87630"/>
                    <a:pt x="43815" y="87630"/>
                  </a:cubicBezTo>
                  <a:close/>
                  <a:moveTo>
                    <a:pt x="43815" y="14383"/>
                  </a:moveTo>
                  <a:cubicBezTo>
                    <a:pt x="27527" y="14383"/>
                    <a:pt x="14288" y="27622"/>
                    <a:pt x="14288" y="43910"/>
                  </a:cubicBezTo>
                  <a:cubicBezTo>
                    <a:pt x="14288" y="60198"/>
                    <a:pt x="27527" y="73438"/>
                    <a:pt x="43815" y="73438"/>
                  </a:cubicBezTo>
                  <a:cubicBezTo>
                    <a:pt x="60103" y="73438"/>
                    <a:pt x="73343" y="60198"/>
                    <a:pt x="73343" y="43910"/>
                  </a:cubicBezTo>
                  <a:cubicBezTo>
                    <a:pt x="73343" y="27622"/>
                    <a:pt x="60103" y="14383"/>
                    <a:pt x="43815" y="1438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Shape 8">
              <a:extLst>
                <a:ext uri="{FF2B5EF4-FFF2-40B4-BE49-F238E27FC236}">
                  <a16:creationId xmlns:a16="http://schemas.microsoft.com/office/drawing/2014/main" id="{D7BA34FE-4D2D-8BC3-7FDD-D74E21B88899}"/>
                </a:ext>
              </a:extLst>
            </p:cNvPr>
            <p:cNvSpPr/>
            <p:nvPr/>
          </p:nvSpPr>
          <p:spPr>
            <a:xfrm>
              <a:off x="983796" y="1945935"/>
              <a:ext cx="172973" cy="172973"/>
            </a:xfrm>
            <a:custGeom>
              <a:avLst/>
              <a:gdLst>
                <a:gd name="connsiteX0" fmla="*/ 86487 w 172973"/>
                <a:gd name="connsiteY0" fmla="*/ 172974 h 172973"/>
                <a:gd name="connsiteX1" fmla="*/ 0 w 172973"/>
                <a:gd name="connsiteY1" fmla="*/ 86487 h 172973"/>
                <a:gd name="connsiteX2" fmla="*/ 86487 w 172973"/>
                <a:gd name="connsiteY2" fmla="*/ 0 h 172973"/>
                <a:gd name="connsiteX3" fmla="*/ 172974 w 172973"/>
                <a:gd name="connsiteY3" fmla="*/ 86487 h 172973"/>
                <a:gd name="connsiteX4" fmla="*/ 86487 w 172973"/>
                <a:gd name="connsiteY4" fmla="*/ 172974 h 172973"/>
                <a:gd name="connsiteX5" fmla="*/ 86487 w 172973"/>
                <a:gd name="connsiteY5" fmla="*/ 14383 h 172973"/>
                <a:gd name="connsiteX6" fmla="*/ 14288 w 172973"/>
                <a:gd name="connsiteY6" fmla="*/ 86582 h 172973"/>
                <a:gd name="connsiteX7" fmla="*/ 86487 w 172973"/>
                <a:gd name="connsiteY7" fmla="*/ 158782 h 172973"/>
                <a:gd name="connsiteX8" fmla="*/ 158687 w 172973"/>
                <a:gd name="connsiteY8" fmla="*/ 86582 h 172973"/>
                <a:gd name="connsiteX9" fmla="*/ 86487 w 172973"/>
                <a:gd name="connsiteY9" fmla="*/ 14383 h 17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73" h="172973">
                  <a:moveTo>
                    <a:pt x="86487" y="172974"/>
                  </a:moveTo>
                  <a:cubicBezTo>
                    <a:pt x="38767" y="172974"/>
                    <a:pt x="0" y="134207"/>
                    <a:pt x="0" y="86487"/>
                  </a:cubicBezTo>
                  <a:cubicBezTo>
                    <a:pt x="0" y="38767"/>
                    <a:pt x="38767" y="0"/>
                    <a:pt x="86487" y="0"/>
                  </a:cubicBezTo>
                  <a:cubicBezTo>
                    <a:pt x="134207" y="0"/>
                    <a:pt x="172974" y="38767"/>
                    <a:pt x="172974" y="86487"/>
                  </a:cubicBezTo>
                  <a:cubicBezTo>
                    <a:pt x="172974" y="134207"/>
                    <a:pt x="134207" y="172974"/>
                    <a:pt x="86487" y="172974"/>
                  </a:cubicBezTo>
                  <a:close/>
                  <a:moveTo>
                    <a:pt x="86487" y="14383"/>
                  </a:moveTo>
                  <a:cubicBezTo>
                    <a:pt x="46672" y="14383"/>
                    <a:pt x="14288" y="46768"/>
                    <a:pt x="14288" y="86582"/>
                  </a:cubicBezTo>
                  <a:cubicBezTo>
                    <a:pt x="14288" y="126397"/>
                    <a:pt x="46672" y="158782"/>
                    <a:pt x="86487" y="158782"/>
                  </a:cubicBezTo>
                  <a:cubicBezTo>
                    <a:pt x="126302" y="158782"/>
                    <a:pt x="158687" y="126397"/>
                    <a:pt x="158687" y="86582"/>
                  </a:cubicBezTo>
                  <a:cubicBezTo>
                    <a:pt x="158687" y="46768"/>
                    <a:pt x="126302" y="14383"/>
                    <a:pt x="86487" y="1438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Shape 9">
              <a:extLst>
                <a:ext uri="{FF2B5EF4-FFF2-40B4-BE49-F238E27FC236}">
                  <a16:creationId xmlns:a16="http://schemas.microsoft.com/office/drawing/2014/main" id="{444A233F-F8C4-9FF9-658F-E063CB8EEC3D}"/>
                </a:ext>
              </a:extLst>
            </p:cNvPr>
            <p:cNvSpPr/>
            <p:nvPr/>
          </p:nvSpPr>
          <p:spPr>
            <a:xfrm>
              <a:off x="1026468" y="1988607"/>
              <a:ext cx="87630" cy="87630"/>
            </a:xfrm>
            <a:custGeom>
              <a:avLst/>
              <a:gdLst>
                <a:gd name="connsiteX0" fmla="*/ 43815 w 87630"/>
                <a:gd name="connsiteY0" fmla="*/ 87630 h 87630"/>
                <a:gd name="connsiteX1" fmla="*/ 0 w 87630"/>
                <a:gd name="connsiteY1" fmla="*/ 43815 h 87630"/>
                <a:gd name="connsiteX2" fmla="*/ 43815 w 87630"/>
                <a:gd name="connsiteY2" fmla="*/ 0 h 87630"/>
                <a:gd name="connsiteX3" fmla="*/ 87630 w 87630"/>
                <a:gd name="connsiteY3" fmla="*/ 43815 h 87630"/>
                <a:gd name="connsiteX4" fmla="*/ 43815 w 87630"/>
                <a:gd name="connsiteY4" fmla="*/ 87630 h 87630"/>
                <a:gd name="connsiteX5" fmla="*/ 43815 w 87630"/>
                <a:gd name="connsiteY5" fmla="*/ 14383 h 87630"/>
                <a:gd name="connsiteX6" fmla="*/ 14288 w 87630"/>
                <a:gd name="connsiteY6" fmla="*/ 43910 h 87630"/>
                <a:gd name="connsiteX7" fmla="*/ 43815 w 87630"/>
                <a:gd name="connsiteY7" fmla="*/ 73438 h 87630"/>
                <a:gd name="connsiteX8" fmla="*/ 73343 w 87630"/>
                <a:gd name="connsiteY8" fmla="*/ 43910 h 87630"/>
                <a:gd name="connsiteX9" fmla="*/ 43815 w 87630"/>
                <a:gd name="connsiteY9" fmla="*/ 14383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30" h="87630">
                  <a:moveTo>
                    <a:pt x="43815" y="87630"/>
                  </a:moveTo>
                  <a:cubicBezTo>
                    <a:pt x="19622" y="87630"/>
                    <a:pt x="0" y="68008"/>
                    <a:pt x="0" y="43815"/>
                  </a:cubicBezTo>
                  <a:cubicBezTo>
                    <a:pt x="0" y="19622"/>
                    <a:pt x="19622" y="0"/>
                    <a:pt x="43815" y="0"/>
                  </a:cubicBezTo>
                  <a:cubicBezTo>
                    <a:pt x="68009" y="0"/>
                    <a:pt x="87630" y="19622"/>
                    <a:pt x="87630" y="43815"/>
                  </a:cubicBezTo>
                  <a:cubicBezTo>
                    <a:pt x="87630" y="68008"/>
                    <a:pt x="68009" y="87630"/>
                    <a:pt x="43815" y="87630"/>
                  </a:cubicBezTo>
                  <a:close/>
                  <a:moveTo>
                    <a:pt x="43815" y="14383"/>
                  </a:moveTo>
                  <a:cubicBezTo>
                    <a:pt x="27527" y="14383"/>
                    <a:pt x="14288" y="27623"/>
                    <a:pt x="14288" y="43910"/>
                  </a:cubicBezTo>
                  <a:cubicBezTo>
                    <a:pt x="14288" y="60198"/>
                    <a:pt x="27527" y="73438"/>
                    <a:pt x="43815" y="73438"/>
                  </a:cubicBezTo>
                  <a:cubicBezTo>
                    <a:pt x="60103" y="73438"/>
                    <a:pt x="73343" y="60198"/>
                    <a:pt x="73343" y="43910"/>
                  </a:cubicBezTo>
                  <a:cubicBezTo>
                    <a:pt x="73343" y="27623"/>
                    <a:pt x="60103" y="14383"/>
                    <a:pt x="43815" y="1438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Shape 10">
              <a:extLst>
                <a:ext uri="{FF2B5EF4-FFF2-40B4-BE49-F238E27FC236}">
                  <a16:creationId xmlns:a16="http://schemas.microsoft.com/office/drawing/2014/main" id="{0926B1A0-52B7-774B-A589-B5BBC73CB8EB}"/>
                </a:ext>
              </a:extLst>
            </p:cNvPr>
            <p:cNvSpPr/>
            <p:nvPr/>
          </p:nvSpPr>
          <p:spPr>
            <a:xfrm>
              <a:off x="1765037" y="1981178"/>
              <a:ext cx="48672" cy="14287"/>
            </a:xfrm>
            <a:custGeom>
              <a:avLst/>
              <a:gdLst>
                <a:gd name="connsiteX0" fmla="*/ 41529 w 48672"/>
                <a:gd name="connsiteY0" fmla="*/ 14288 h 14287"/>
                <a:gd name="connsiteX1" fmla="*/ 7144 w 48672"/>
                <a:gd name="connsiteY1" fmla="*/ 14288 h 14287"/>
                <a:gd name="connsiteX2" fmla="*/ 0 w 48672"/>
                <a:gd name="connsiteY2" fmla="*/ 7144 h 14287"/>
                <a:gd name="connsiteX3" fmla="*/ 7144 w 48672"/>
                <a:gd name="connsiteY3" fmla="*/ 0 h 14287"/>
                <a:gd name="connsiteX4" fmla="*/ 41529 w 48672"/>
                <a:gd name="connsiteY4" fmla="*/ 0 h 14287"/>
                <a:gd name="connsiteX5" fmla="*/ 48673 w 48672"/>
                <a:gd name="connsiteY5" fmla="*/ 7144 h 14287"/>
                <a:gd name="connsiteX6" fmla="*/ 41529 w 4867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72" h="14287">
                  <a:moveTo>
                    <a:pt x="41529" y="14288"/>
                  </a:moveTo>
                  <a:lnTo>
                    <a:pt x="7144" y="14288"/>
                  </a:lnTo>
                  <a:cubicBezTo>
                    <a:pt x="3239" y="14288"/>
                    <a:pt x="0" y="11049"/>
                    <a:pt x="0" y="7144"/>
                  </a:cubicBezTo>
                  <a:cubicBezTo>
                    <a:pt x="0" y="3239"/>
                    <a:pt x="3239" y="0"/>
                    <a:pt x="7144" y="0"/>
                  </a:cubicBezTo>
                  <a:lnTo>
                    <a:pt x="41529" y="0"/>
                  </a:lnTo>
                  <a:cubicBezTo>
                    <a:pt x="45434" y="0"/>
                    <a:pt x="48673" y="3239"/>
                    <a:pt x="48673" y="7144"/>
                  </a:cubicBezTo>
                  <a:cubicBezTo>
                    <a:pt x="48673" y="11049"/>
                    <a:pt x="45434" y="14288"/>
                    <a:pt x="41529"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Shape 11">
              <a:extLst>
                <a:ext uri="{FF2B5EF4-FFF2-40B4-BE49-F238E27FC236}">
                  <a16:creationId xmlns:a16="http://schemas.microsoft.com/office/drawing/2014/main" id="{1EBE23D5-09B4-B0B9-5F4E-6EE102CD8C3A}"/>
                </a:ext>
              </a:extLst>
            </p:cNvPr>
            <p:cNvSpPr/>
            <p:nvPr/>
          </p:nvSpPr>
          <p:spPr>
            <a:xfrm>
              <a:off x="1747892" y="1981083"/>
              <a:ext cx="76200" cy="71818"/>
            </a:xfrm>
            <a:custGeom>
              <a:avLst/>
              <a:gdLst>
                <a:gd name="connsiteX0" fmla="*/ 15811 w 76200"/>
                <a:gd name="connsiteY0" fmla="*/ 71819 h 71818"/>
                <a:gd name="connsiteX1" fmla="*/ 8668 w 76200"/>
                <a:gd name="connsiteY1" fmla="*/ 64675 h 71818"/>
                <a:gd name="connsiteX2" fmla="*/ 15811 w 76200"/>
                <a:gd name="connsiteY2" fmla="*/ 57531 h 71818"/>
                <a:gd name="connsiteX3" fmla="*/ 61246 w 76200"/>
                <a:gd name="connsiteY3" fmla="*/ 57531 h 71818"/>
                <a:gd name="connsiteX4" fmla="*/ 61817 w 76200"/>
                <a:gd name="connsiteY4" fmla="*/ 14859 h 71818"/>
                <a:gd name="connsiteX5" fmla="*/ 7144 w 76200"/>
                <a:gd name="connsiteY5" fmla="*/ 14288 h 71818"/>
                <a:gd name="connsiteX6" fmla="*/ 0 w 76200"/>
                <a:gd name="connsiteY6" fmla="*/ 7144 h 71818"/>
                <a:gd name="connsiteX7" fmla="*/ 7144 w 76200"/>
                <a:gd name="connsiteY7" fmla="*/ 0 h 71818"/>
                <a:gd name="connsiteX8" fmla="*/ 61341 w 76200"/>
                <a:gd name="connsiteY8" fmla="*/ 0 h 71818"/>
                <a:gd name="connsiteX9" fmla="*/ 76200 w 76200"/>
                <a:gd name="connsiteY9" fmla="*/ 14859 h 71818"/>
                <a:gd name="connsiteX10" fmla="*/ 76200 w 76200"/>
                <a:gd name="connsiteY10" fmla="*/ 56960 h 71818"/>
                <a:gd name="connsiteX11" fmla="*/ 61341 w 76200"/>
                <a:gd name="connsiteY11" fmla="*/ 71819 h 71818"/>
                <a:gd name="connsiteX12" fmla="*/ 15907 w 76200"/>
                <a:gd name="connsiteY12" fmla="*/ 71819 h 7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71818">
                  <a:moveTo>
                    <a:pt x="15811" y="71819"/>
                  </a:moveTo>
                  <a:cubicBezTo>
                    <a:pt x="11906" y="71819"/>
                    <a:pt x="8668" y="68675"/>
                    <a:pt x="8668" y="64675"/>
                  </a:cubicBezTo>
                  <a:cubicBezTo>
                    <a:pt x="8668" y="60674"/>
                    <a:pt x="11811" y="57531"/>
                    <a:pt x="15811" y="57531"/>
                  </a:cubicBezTo>
                  <a:lnTo>
                    <a:pt x="61246" y="57531"/>
                  </a:lnTo>
                  <a:cubicBezTo>
                    <a:pt x="61246" y="57531"/>
                    <a:pt x="61817" y="14859"/>
                    <a:pt x="61817" y="14859"/>
                  </a:cubicBezTo>
                  <a:lnTo>
                    <a:pt x="7144" y="14288"/>
                  </a:lnTo>
                  <a:cubicBezTo>
                    <a:pt x="3238" y="14288"/>
                    <a:pt x="0" y="11049"/>
                    <a:pt x="0" y="7144"/>
                  </a:cubicBezTo>
                  <a:cubicBezTo>
                    <a:pt x="0" y="3239"/>
                    <a:pt x="3238" y="0"/>
                    <a:pt x="7144" y="0"/>
                  </a:cubicBezTo>
                  <a:lnTo>
                    <a:pt x="61341" y="0"/>
                  </a:lnTo>
                  <a:cubicBezTo>
                    <a:pt x="69532" y="0"/>
                    <a:pt x="76200" y="6668"/>
                    <a:pt x="76200" y="14859"/>
                  </a:cubicBezTo>
                  <a:lnTo>
                    <a:pt x="76200" y="56960"/>
                  </a:lnTo>
                  <a:cubicBezTo>
                    <a:pt x="76200" y="65151"/>
                    <a:pt x="69532" y="71819"/>
                    <a:pt x="61341" y="71819"/>
                  </a:cubicBezTo>
                  <a:lnTo>
                    <a:pt x="15907" y="7181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Shape 12">
              <a:extLst>
                <a:ext uri="{FF2B5EF4-FFF2-40B4-BE49-F238E27FC236}">
                  <a16:creationId xmlns:a16="http://schemas.microsoft.com/office/drawing/2014/main" id="{6A165991-B5F8-6B98-9959-9E2A2A1B6916}"/>
                </a:ext>
              </a:extLst>
            </p:cNvPr>
            <p:cNvSpPr/>
            <p:nvPr/>
          </p:nvSpPr>
          <p:spPr>
            <a:xfrm>
              <a:off x="1602826" y="1820710"/>
              <a:ext cx="199262" cy="174755"/>
            </a:xfrm>
            <a:custGeom>
              <a:avLst/>
              <a:gdLst>
                <a:gd name="connsiteX0" fmla="*/ 192119 w 199262"/>
                <a:gd name="connsiteY0" fmla="*/ 174755 h 174755"/>
                <a:gd name="connsiteX1" fmla="*/ 184975 w 199262"/>
                <a:gd name="connsiteY1" fmla="*/ 167611 h 174755"/>
                <a:gd name="connsiteX2" fmla="*/ 184975 w 199262"/>
                <a:gd name="connsiteY2" fmla="*/ 87030 h 174755"/>
                <a:gd name="connsiteX3" fmla="*/ 162687 w 199262"/>
                <a:gd name="connsiteY3" fmla="*/ 61027 h 174755"/>
                <a:gd name="connsiteX4" fmla="*/ 14288 w 199262"/>
                <a:gd name="connsiteY4" fmla="*/ 16735 h 174755"/>
                <a:gd name="connsiteX5" fmla="*/ 14288 w 199262"/>
                <a:gd name="connsiteY5" fmla="*/ 103222 h 174755"/>
                <a:gd name="connsiteX6" fmla="*/ 7144 w 199262"/>
                <a:gd name="connsiteY6" fmla="*/ 110366 h 174755"/>
                <a:gd name="connsiteX7" fmla="*/ 0 w 199262"/>
                <a:gd name="connsiteY7" fmla="*/ 103222 h 174755"/>
                <a:gd name="connsiteX8" fmla="*/ 0 w 199262"/>
                <a:gd name="connsiteY8" fmla="*/ 7115 h 174755"/>
                <a:gd name="connsiteX9" fmla="*/ 2858 w 199262"/>
                <a:gd name="connsiteY9" fmla="*/ 1400 h 174755"/>
                <a:gd name="connsiteX10" fmla="*/ 9239 w 199262"/>
                <a:gd name="connsiteY10" fmla="*/ 257 h 174755"/>
                <a:gd name="connsiteX11" fmla="*/ 166116 w 199262"/>
                <a:gd name="connsiteY11" fmla="*/ 47120 h 174755"/>
                <a:gd name="connsiteX12" fmla="*/ 199263 w 199262"/>
                <a:gd name="connsiteY12" fmla="*/ 87030 h 174755"/>
                <a:gd name="connsiteX13" fmla="*/ 199263 w 199262"/>
                <a:gd name="connsiteY13" fmla="*/ 167611 h 174755"/>
                <a:gd name="connsiteX14" fmla="*/ 192119 w 199262"/>
                <a:gd name="connsiteY14" fmla="*/ 174755 h 174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262" h="174755">
                  <a:moveTo>
                    <a:pt x="192119" y="174755"/>
                  </a:moveTo>
                  <a:cubicBezTo>
                    <a:pt x="188214" y="174755"/>
                    <a:pt x="184975" y="171517"/>
                    <a:pt x="184975" y="167611"/>
                  </a:cubicBezTo>
                  <a:lnTo>
                    <a:pt x="184975" y="87030"/>
                  </a:lnTo>
                  <a:cubicBezTo>
                    <a:pt x="184975" y="69599"/>
                    <a:pt x="177832" y="64741"/>
                    <a:pt x="162687" y="61027"/>
                  </a:cubicBezTo>
                  <a:cubicBezTo>
                    <a:pt x="148304" y="57502"/>
                    <a:pt x="46101" y="26451"/>
                    <a:pt x="14288" y="16735"/>
                  </a:cubicBezTo>
                  <a:lnTo>
                    <a:pt x="14288" y="103222"/>
                  </a:lnTo>
                  <a:cubicBezTo>
                    <a:pt x="14288" y="107128"/>
                    <a:pt x="11049" y="110366"/>
                    <a:pt x="7144" y="110366"/>
                  </a:cubicBezTo>
                  <a:cubicBezTo>
                    <a:pt x="3239" y="110366"/>
                    <a:pt x="0" y="107128"/>
                    <a:pt x="0" y="103222"/>
                  </a:cubicBezTo>
                  <a:lnTo>
                    <a:pt x="0" y="7115"/>
                  </a:lnTo>
                  <a:cubicBezTo>
                    <a:pt x="0" y="4829"/>
                    <a:pt x="1048" y="2734"/>
                    <a:pt x="2858" y="1400"/>
                  </a:cubicBezTo>
                  <a:cubicBezTo>
                    <a:pt x="4667" y="67"/>
                    <a:pt x="7048" y="-314"/>
                    <a:pt x="9239" y="257"/>
                  </a:cubicBezTo>
                  <a:cubicBezTo>
                    <a:pt x="10668" y="638"/>
                    <a:pt x="149733" y="43120"/>
                    <a:pt x="166116" y="47120"/>
                  </a:cubicBezTo>
                  <a:cubicBezTo>
                    <a:pt x="182499" y="51121"/>
                    <a:pt x="199263" y="59026"/>
                    <a:pt x="199263" y="87030"/>
                  </a:cubicBezTo>
                  <a:lnTo>
                    <a:pt x="199263" y="167611"/>
                  </a:lnTo>
                  <a:cubicBezTo>
                    <a:pt x="199263" y="171517"/>
                    <a:pt x="196025" y="174755"/>
                    <a:pt x="192119" y="174755"/>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Shape 13">
              <a:extLst>
                <a:ext uri="{FF2B5EF4-FFF2-40B4-BE49-F238E27FC236}">
                  <a16:creationId xmlns:a16="http://schemas.microsoft.com/office/drawing/2014/main" id="{909958F7-0A71-C4C9-0892-5E5BAB68B99C}"/>
                </a:ext>
              </a:extLst>
            </p:cNvPr>
            <p:cNvSpPr/>
            <p:nvPr/>
          </p:nvSpPr>
          <p:spPr>
            <a:xfrm>
              <a:off x="1401468" y="1981178"/>
              <a:ext cx="147827" cy="14287"/>
            </a:xfrm>
            <a:custGeom>
              <a:avLst/>
              <a:gdLst>
                <a:gd name="connsiteX0" fmla="*/ 140684 w 147827"/>
                <a:gd name="connsiteY0" fmla="*/ 14288 h 14287"/>
                <a:gd name="connsiteX1" fmla="*/ 7144 w 147827"/>
                <a:gd name="connsiteY1" fmla="*/ 14288 h 14287"/>
                <a:gd name="connsiteX2" fmla="*/ 0 w 147827"/>
                <a:gd name="connsiteY2" fmla="*/ 7144 h 14287"/>
                <a:gd name="connsiteX3" fmla="*/ 7144 w 147827"/>
                <a:gd name="connsiteY3" fmla="*/ 0 h 14287"/>
                <a:gd name="connsiteX4" fmla="*/ 140684 w 147827"/>
                <a:gd name="connsiteY4" fmla="*/ 0 h 14287"/>
                <a:gd name="connsiteX5" fmla="*/ 147828 w 147827"/>
                <a:gd name="connsiteY5" fmla="*/ 7144 h 14287"/>
                <a:gd name="connsiteX6" fmla="*/ 140684 w 14782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827" h="14287">
                  <a:moveTo>
                    <a:pt x="140684" y="14288"/>
                  </a:moveTo>
                  <a:lnTo>
                    <a:pt x="7144" y="14288"/>
                  </a:lnTo>
                  <a:cubicBezTo>
                    <a:pt x="3239" y="14288"/>
                    <a:pt x="0" y="11049"/>
                    <a:pt x="0" y="7144"/>
                  </a:cubicBezTo>
                  <a:cubicBezTo>
                    <a:pt x="0" y="3239"/>
                    <a:pt x="3239" y="0"/>
                    <a:pt x="7144" y="0"/>
                  </a:cubicBezTo>
                  <a:lnTo>
                    <a:pt x="140684" y="0"/>
                  </a:lnTo>
                  <a:cubicBezTo>
                    <a:pt x="144590" y="0"/>
                    <a:pt x="147828" y="3239"/>
                    <a:pt x="147828" y="7144"/>
                  </a:cubicBezTo>
                  <a:cubicBezTo>
                    <a:pt x="147828" y="11049"/>
                    <a:pt x="144590" y="14288"/>
                    <a:pt x="140684"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Shape 14">
              <a:extLst>
                <a:ext uri="{FF2B5EF4-FFF2-40B4-BE49-F238E27FC236}">
                  <a16:creationId xmlns:a16="http://schemas.microsoft.com/office/drawing/2014/main" id="{3A179D5D-5A4B-F2AD-8E0C-E2C9BC2B1031}"/>
                </a:ext>
              </a:extLst>
            </p:cNvPr>
            <p:cNvSpPr/>
            <p:nvPr/>
          </p:nvSpPr>
          <p:spPr>
            <a:xfrm>
              <a:off x="1401468" y="1981178"/>
              <a:ext cx="139827" cy="71723"/>
            </a:xfrm>
            <a:custGeom>
              <a:avLst/>
              <a:gdLst>
                <a:gd name="connsiteX0" fmla="*/ 132683 w 139827"/>
                <a:gd name="connsiteY0" fmla="*/ 71723 h 71723"/>
                <a:gd name="connsiteX1" fmla="*/ 27623 w 139827"/>
                <a:gd name="connsiteY1" fmla="*/ 71723 h 71723"/>
                <a:gd name="connsiteX2" fmla="*/ 0 w 139827"/>
                <a:gd name="connsiteY2" fmla="*/ 44101 h 71723"/>
                <a:gd name="connsiteX3" fmla="*/ 0 w 139827"/>
                <a:gd name="connsiteY3" fmla="*/ 7144 h 71723"/>
                <a:gd name="connsiteX4" fmla="*/ 7144 w 139827"/>
                <a:gd name="connsiteY4" fmla="*/ 0 h 71723"/>
                <a:gd name="connsiteX5" fmla="*/ 14288 w 139827"/>
                <a:gd name="connsiteY5" fmla="*/ 7144 h 71723"/>
                <a:gd name="connsiteX6" fmla="*/ 14288 w 139827"/>
                <a:gd name="connsiteY6" fmla="*/ 44101 h 71723"/>
                <a:gd name="connsiteX7" fmla="*/ 27623 w 139827"/>
                <a:gd name="connsiteY7" fmla="*/ 57436 h 71723"/>
                <a:gd name="connsiteX8" fmla="*/ 132683 w 139827"/>
                <a:gd name="connsiteY8" fmla="*/ 57436 h 71723"/>
                <a:gd name="connsiteX9" fmla="*/ 139827 w 139827"/>
                <a:gd name="connsiteY9" fmla="*/ 64579 h 71723"/>
                <a:gd name="connsiteX10" fmla="*/ 132683 w 139827"/>
                <a:gd name="connsiteY10" fmla="*/ 71723 h 7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827" h="71723">
                  <a:moveTo>
                    <a:pt x="132683" y="71723"/>
                  </a:moveTo>
                  <a:lnTo>
                    <a:pt x="27623" y="71723"/>
                  </a:lnTo>
                  <a:cubicBezTo>
                    <a:pt x="12382" y="71723"/>
                    <a:pt x="0" y="59341"/>
                    <a:pt x="0" y="44101"/>
                  </a:cubicBezTo>
                  <a:lnTo>
                    <a:pt x="0" y="7144"/>
                  </a:lnTo>
                  <a:cubicBezTo>
                    <a:pt x="0" y="3239"/>
                    <a:pt x="3239" y="0"/>
                    <a:pt x="7144" y="0"/>
                  </a:cubicBezTo>
                  <a:cubicBezTo>
                    <a:pt x="11049" y="0"/>
                    <a:pt x="14288" y="3239"/>
                    <a:pt x="14288" y="7144"/>
                  </a:cubicBezTo>
                  <a:lnTo>
                    <a:pt x="14288" y="44101"/>
                  </a:lnTo>
                  <a:cubicBezTo>
                    <a:pt x="14288" y="51435"/>
                    <a:pt x="20288" y="57436"/>
                    <a:pt x="27623" y="57436"/>
                  </a:cubicBezTo>
                  <a:lnTo>
                    <a:pt x="132683" y="57436"/>
                  </a:lnTo>
                  <a:cubicBezTo>
                    <a:pt x="136588" y="57436"/>
                    <a:pt x="139827" y="60674"/>
                    <a:pt x="139827" y="64579"/>
                  </a:cubicBezTo>
                  <a:cubicBezTo>
                    <a:pt x="139827" y="68485"/>
                    <a:pt x="136588" y="71723"/>
                    <a:pt x="132683" y="7172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Shape 15">
              <a:extLst>
                <a:ext uri="{FF2B5EF4-FFF2-40B4-BE49-F238E27FC236}">
                  <a16:creationId xmlns:a16="http://schemas.microsoft.com/office/drawing/2014/main" id="{83FEA056-7CD2-4261-1F4C-0A31D673F283}"/>
                </a:ext>
              </a:extLst>
            </p:cNvPr>
            <p:cNvSpPr/>
            <p:nvPr/>
          </p:nvSpPr>
          <p:spPr>
            <a:xfrm>
              <a:off x="1190584" y="1960699"/>
              <a:ext cx="181832" cy="92202"/>
            </a:xfrm>
            <a:custGeom>
              <a:avLst/>
              <a:gdLst>
                <a:gd name="connsiteX0" fmla="*/ 145161 w 181832"/>
                <a:gd name="connsiteY0" fmla="*/ 92202 h 92202"/>
                <a:gd name="connsiteX1" fmla="*/ 36671 w 181832"/>
                <a:gd name="connsiteY1" fmla="*/ 92202 h 92202"/>
                <a:gd name="connsiteX2" fmla="*/ 0 w 181832"/>
                <a:gd name="connsiteY2" fmla="*/ 55531 h 92202"/>
                <a:gd name="connsiteX3" fmla="*/ 0 w 181832"/>
                <a:gd name="connsiteY3" fmla="*/ 36671 h 92202"/>
                <a:gd name="connsiteX4" fmla="*/ 36671 w 181832"/>
                <a:gd name="connsiteY4" fmla="*/ 0 h 92202"/>
                <a:gd name="connsiteX5" fmla="*/ 145161 w 181832"/>
                <a:gd name="connsiteY5" fmla="*/ 0 h 92202"/>
                <a:gd name="connsiteX6" fmla="*/ 181832 w 181832"/>
                <a:gd name="connsiteY6" fmla="*/ 36671 h 92202"/>
                <a:gd name="connsiteX7" fmla="*/ 181832 w 181832"/>
                <a:gd name="connsiteY7" fmla="*/ 55531 h 92202"/>
                <a:gd name="connsiteX8" fmla="*/ 145161 w 181832"/>
                <a:gd name="connsiteY8" fmla="*/ 92202 h 92202"/>
                <a:gd name="connsiteX9" fmla="*/ 36671 w 181832"/>
                <a:gd name="connsiteY9" fmla="*/ 14192 h 92202"/>
                <a:gd name="connsiteX10" fmla="*/ 14288 w 181832"/>
                <a:gd name="connsiteY10" fmla="*/ 36576 h 92202"/>
                <a:gd name="connsiteX11" fmla="*/ 14288 w 181832"/>
                <a:gd name="connsiteY11" fmla="*/ 55435 h 92202"/>
                <a:gd name="connsiteX12" fmla="*/ 36671 w 181832"/>
                <a:gd name="connsiteY12" fmla="*/ 77819 h 92202"/>
                <a:gd name="connsiteX13" fmla="*/ 145161 w 181832"/>
                <a:gd name="connsiteY13" fmla="*/ 77819 h 92202"/>
                <a:gd name="connsiteX14" fmla="*/ 167545 w 181832"/>
                <a:gd name="connsiteY14" fmla="*/ 55435 h 92202"/>
                <a:gd name="connsiteX15" fmla="*/ 167545 w 181832"/>
                <a:gd name="connsiteY15" fmla="*/ 36576 h 92202"/>
                <a:gd name="connsiteX16" fmla="*/ 145161 w 181832"/>
                <a:gd name="connsiteY16" fmla="*/ 14192 h 92202"/>
                <a:gd name="connsiteX17" fmla="*/ 36671 w 181832"/>
                <a:gd name="connsiteY17" fmla="*/ 14192 h 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832" h="92202">
                  <a:moveTo>
                    <a:pt x="145161" y="92202"/>
                  </a:moveTo>
                  <a:lnTo>
                    <a:pt x="36671" y="92202"/>
                  </a:lnTo>
                  <a:cubicBezTo>
                    <a:pt x="16478" y="92202"/>
                    <a:pt x="0" y="75724"/>
                    <a:pt x="0" y="55531"/>
                  </a:cubicBezTo>
                  <a:lnTo>
                    <a:pt x="0" y="36671"/>
                  </a:lnTo>
                  <a:cubicBezTo>
                    <a:pt x="0" y="16478"/>
                    <a:pt x="16478" y="0"/>
                    <a:pt x="36671" y="0"/>
                  </a:cubicBezTo>
                  <a:lnTo>
                    <a:pt x="145161" y="0"/>
                  </a:lnTo>
                  <a:cubicBezTo>
                    <a:pt x="165354" y="0"/>
                    <a:pt x="181832" y="16478"/>
                    <a:pt x="181832" y="36671"/>
                  </a:cubicBezTo>
                  <a:lnTo>
                    <a:pt x="181832" y="55531"/>
                  </a:lnTo>
                  <a:cubicBezTo>
                    <a:pt x="181832" y="75724"/>
                    <a:pt x="165354" y="92202"/>
                    <a:pt x="145161" y="92202"/>
                  </a:cubicBezTo>
                  <a:close/>
                  <a:moveTo>
                    <a:pt x="36671" y="14192"/>
                  </a:moveTo>
                  <a:cubicBezTo>
                    <a:pt x="24289" y="14192"/>
                    <a:pt x="14288" y="24289"/>
                    <a:pt x="14288" y="36576"/>
                  </a:cubicBezTo>
                  <a:lnTo>
                    <a:pt x="14288" y="55435"/>
                  </a:lnTo>
                  <a:cubicBezTo>
                    <a:pt x="14288" y="67818"/>
                    <a:pt x="24384" y="77819"/>
                    <a:pt x="36671" y="77819"/>
                  </a:cubicBezTo>
                  <a:lnTo>
                    <a:pt x="145161" y="77819"/>
                  </a:lnTo>
                  <a:cubicBezTo>
                    <a:pt x="157544" y="77819"/>
                    <a:pt x="167545" y="67723"/>
                    <a:pt x="167545" y="55435"/>
                  </a:cubicBezTo>
                  <a:lnTo>
                    <a:pt x="167545" y="36576"/>
                  </a:lnTo>
                  <a:cubicBezTo>
                    <a:pt x="167545" y="24194"/>
                    <a:pt x="157448" y="14192"/>
                    <a:pt x="145161" y="14192"/>
                  </a:cubicBezTo>
                  <a:lnTo>
                    <a:pt x="36671" y="1419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Shape 16">
              <a:extLst>
                <a:ext uri="{FF2B5EF4-FFF2-40B4-BE49-F238E27FC236}">
                  <a16:creationId xmlns:a16="http://schemas.microsoft.com/office/drawing/2014/main" id="{469D6D39-330C-621E-74FC-715845A4BB31}"/>
                </a:ext>
              </a:extLst>
            </p:cNvPr>
            <p:cNvSpPr/>
            <p:nvPr/>
          </p:nvSpPr>
          <p:spPr>
            <a:xfrm>
              <a:off x="865687" y="1590463"/>
              <a:ext cx="506730" cy="345281"/>
            </a:xfrm>
            <a:custGeom>
              <a:avLst/>
              <a:gdLst>
                <a:gd name="connsiteX0" fmla="*/ 499586 w 506730"/>
                <a:gd name="connsiteY0" fmla="*/ 345186 h 345281"/>
                <a:gd name="connsiteX1" fmla="*/ 254222 w 506730"/>
                <a:gd name="connsiteY1" fmla="*/ 345186 h 345281"/>
                <a:gd name="connsiteX2" fmla="*/ 247079 w 506730"/>
                <a:gd name="connsiteY2" fmla="*/ 338042 h 345281"/>
                <a:gd name="connsiteX3" fmla="*/ 254222 w 506730"/>
                <a:gd name="connsiteY3" fmla="*/ 330899 h 345281"/>
                <a:gd name="connsiteX4" fmla="*/ 492443 w 506730"/>
                <a:gd name="connsiteY4" fmla="*/ 330899 h 345281"/>
                <a:gd name="connsiteX5" fmla="*/ 492443 w 506730"/>
                <a:gd name="connsiteY5" fmla="*/ 14288 h 345281"/>
                <a:gd name="connsiteX6" fmla="*/ 14288 w 506730"/>
                <a:gd name="connsiteY6" fmla="*/ 14288 h 345281"/>
                <a:gd name="connsiteX7" fmla="*/ 14288 w 506730"/>
                <a:gd name="connsiteY7" fmla="*/ 330994 h 345281"/>
                <a:gd name="connsiteX8" fmla="*/ 154972 w 506730"/>
                <a:gd name="connsiteY8" fmla="*/ 330994 h 345281"/>
                <a:gd name="connsiteX9" fmla="*/ 162116 w 506730"/>
                <a:gd name="connsiteY9" fmla="*/ 338138 h 345281"/>
                <a:gd name="connsiteX10" fmla="*/ 154972 w 506730"/>
                <a:gd name="connsiteY10" fmla="*/ 345281 h 345281"/>
                <a:gd name="connsiteX11" fmla="*/ 7144 w 506730"/>
                <a:gd name="connsiteY11" fmla="*/ 345281 h 345281"/>
                <a:gd name="connsiteX12" fmla="*/ 0 w 506730"/>
                <a:gd name="connsiteY12" fmla="*/ 338042 h 345281"/>
                <a:gd name="connsiteX13" fmla="*/ 0 w 506730"/>
                <a:gd name="connsiteY13" fmla="*/ 7144 h 345281"/>
                <a:gd name="connsiteX14" fmla="*/ 7144 w 506730"/>
                <a:gd name="connsiteY14" fmla="*/ 0 h 345281"/>
                <a:gd name="connsiteX15" fmla="*/ 499586 w 506730"/>
                <a:gd name="connsiteY15" fmla="*/ 0 h 345281"/>
                <a:gd name="connsiteX16" fmla="*/ 506730 w 506730"/>
                <a:gd name="connsiteY16" fmla="*/ 7144 h 345281"/>
                <a:gd name="connsiteX17" fmla="*/ 506730 w 506730"/>
                <a:gd name="connsiteY17" fmla="*/ 338138 h 345281"/>
                <a:gd name="connsiteX18" fmla="*/ 499586 w 506730"/>
                <a:gd name="connsiteY18" fmla="*/ 345281 h 345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6730" h="345281">
                  <a:moveTo>
                    <a:pt x="499586" y="345186"/>
                  </a:moveTo>
                  <a:lnTo>
                    <a:pt x="254222" y="345186"/>
                  </a:lnTo>
                  <a:cubicBezTo>
                    <a:pt x="250317" y="345186"/>
                    <a:pt x="247079" y="341948"/>
                    <a:pt x="247079" y="338042"/>
                  </a:cubicBezTo>
                  <a:cubicBezTo>
                    <a:pt x="247079" y="334137"/>
                    <a:pt x="250317" y="330899"/>
                    <a:pt x="254222" y="330899"/>
                  </a:cubicBezTo>
                  <a:lnTo>
                    <a:pt x="492443" y="330899"/>
                  </a:lnTo>
                  <a:lnTo>
                    <a:pt x="492443" y="14288"/>
                  </a:lnTo>
                  <a:lnTo>
                    <a:pt x="14288" y="14288"/>
                  </a:lnTo>
                  <a:lnTo>
                    <a:pt x="14288" y="330994"/>
                  </a:lnTo>
                  <a:lnTo>
                    <a:pt x="154972" y="330994"/>
                  </a:lnTo>
                  <a:cubicBezTo>
                    <a:pt x="158877" y="330994"/>
                    <a:pt x="162116" y="334232"/>
                    <a:pt x="162116" y="338138"/>
                  </a:cubicBezTo>
                  <a:cubicBezTo>
                    <a:pt x="162116" y="342043"/>
                    <a:pt x="158877" y="345281"/>
                    <a:pt x="154972" y="345281"/>
                  </a:cubicBezTo>
                  <a:lnTo>
                    <a:pt x="7144" y="345281"/>
                  </a:lnTo>
                  <a:cubicBezTo>
                    <a:pt x="3239" y="345186"/>
                    <a:pt x="0" y="342043"/>
                    <a:pt x="0" y="338042"/>
                  </a:cubicBezTo>
                  <a:lnTo>
                    <a:pt x="0" y="7144"/>
                  </a:lnTo>
                  <a:cubicBezTo>
                    <a:pt x="0" y="3239"/>
                    <a:pt x="3239" y="0"/>
                    <a:pt x="7144" y="0"/>
                  </a:cubicBezTo>
                  <a:lnTo>
                    <a:pt x="499586" y="0"/>
                  </a:lnTo>
                  <a:cubicBezTo>
                    <a:pt x="503492" y="0"/>
                    <a:pt x="506730" y="3239"/>
                    <a:pt x="506730" y="7144"/>
                  </a:cubicBezTo>
                  <a:lnTo>
                    <a:pt x="506730" y="338138"/>
                  </a:lnTo>
                  <a:cubicBezTo>
                    <a:pt x="506730" y="342043"/>
                    <a:pt x="503492" y="345281"/>
                    <a:pt x="499586" y="345281"/>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17">
              <a:extLst>
                <a:ext uri="{FF2B5EF4-FFF2-40B4-BE49-F238E27FC236}">
                  <a16:creationId xmlns:a16="http://schemas.microsoft.com/office/drawing/2014/main" id="{4E05EF15-0B5C-3BF0-9914-111D1D901302}"/>
                </a:ext>
              </a:extLst>
            </p:cNvPr>
            <p:cNvSpPr/>
            <p:nvPr/>
          </p:nvSpPr>
          <p:spPr>
            <a:xfrm>
              <a:off x="924265" y="1921456"/>
              <a:ext cx="14287" cy="112966"/>
            </a:xfrm>
            <a:custGeom>
              <a:avLst/>
              <a:gdLst>
                <a:gd name="connsiteX0" fmla="*/ 7144 w 14287"/>
                <a:gd name="connsiteY0" fmla="*/ 112967 h 112966"/>
                <a:gd name="connsiteX1" fmla="*/ 0 w 14287"/>
                <a:gd name="connsiteY1" fmla="*/ 105823 h 112966"/>
                <a:gd name="connsiteX2" fmla="*/ 0 w 14287"/>
                <a:gd name="connsiteY2" fmla="*/ 7144 h 112966"/>
                <a:gd name="connsiteX3" fmla="*/ 7144 w 14287"/>
                <a:gd name="connsiteY3" fmla="*/ 0 h 112966"/>
                <a:gd name="connsiteX4" fmla="*/ 14288 w 14287"/>
                <a:gd name="connsiteY4" fmla="*/ 7144 h 112966"/>
                <a:gd name="connsiteX5" fmla="*/ 14288 w 14287"/>
                <a:gd name="connsiteY5" fmla="*/ 105823 h 112966"/>
                <a:gd name="connsiteX6" fmla="*/ 7144 w 14287"/>
                <a:gd name="connsiteY6" fmla="*/ 112967 h 11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12966">
                  <a:moveTo>
                    <a:pt x="7144" y="112967"/>
                  </a:moveTo>
                  <a:cubicBezTo>
                    <a:pt x="3238" y="112967"/>
                    <a:pt x="0" y="109728"/>
                    <a:pt x="0" y="105823"/>
                  </a:cubicBezTo>
                  <a:lnTo>
                    <a:pt x="0" y="7144"/>
                  </a:lnTo>
                  <a:cubicBezTo>
                    <a:pt x="0" y="3239"/>
                    <a:pt x="3238" y="0"/>
                    <a:pt x="7144" y="0"/>
                  </a:cubicBezTo>
                  <a:cubicBezTo>
                    <a:pt x="11049" y="0"/>
                    <a:pt x="14288" y="3239"/>
                    <a:pt x="14288" y="7144"/>
                  </a:cubicBezTo>
                  <a:lnTo>
                    <a:pt x="14288" y="105823"/>
                  </a:lnTo>
                  <a:cubicBezTo>
                    <a:pt x="14288" y="109728"/>
                    <a:pt x="11049" y="112967"/>
                    <a:pt x="7144" y="11296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2" name="Espaço Reservado para Conteúdo 51">
            <a:extLst>
              <a:ext uri="{FF2B5EF4-FFF2-40B4-BE49-F238E27FC236}">
                <a16:creationId xmlns:a16="http://schemas.microsoft.com/office/drawing/2014/main" id="{1D8D3F31-07B6-B6DD-2C56-E6BD91F3F8EB}"/>
              </a:ext>
            </a:extLst>
          </p:cNvPr>
          <p:cNvSpPr>
            <a:spLocks noGrp="1"/>
          </p:cNvSpPr>
          <p:nvPr>
            <p:ph idx="1"/>
          </p:nvPr>
        </p:nvSpPr>
        <p:spPr/>
        <p:txBody>
          <a:bodyPr/>
          <a:lstStyle/>
          <a:p>
            <a:r>
              <a:rPr kumimoji="0" lang="en-US" sz="2400" u="none" strike="noStrike" kern="1200" cap="none" normalizeH="0" baseline="0" noProof="0">
                <a:ln>
                  <a:noFill/>
                </a:ln>
                <a:solidFill>
                  <a:schemeClr val="accent1"/>
                </a:solidFill>
                <a:effectLst/>
                <a:uLnTx/>
                <a:uFillTx/>
                <a:latin typeface="Aptos" panose="020B0004020202020204" pitchFamily="34" charset="0"/>
                <a:ea typeface="+mn-ea"/>
                <a:cs typeface="Arial" panose="020B0604020202020204" pitchFamily="34" charset="0"/>
              </a:rPr>
              <a:t>Pickup &amp; Delivery </a:t>
            </a:r>
            <a:r>
              <a:rPr lang="en-US" sz="2400" noProof="0">
                <a:solidFill>
                  <a:schemeClr val="accent1"/>
                </a:solidFill>
                <a:latin typeface="Aptos" panose="020B0004020202020204" pitchFamily="34" charset="0"/>
                <a:cs typeface="Arial" panose="020B0604020202020204" pitchFamily="34" charset="0"/>
              </a:rPr>
              <a:t> </a:t>
            </a:r>
            <a:r>
              <a:rPr kumimoji="0" lang="en-US" sz="2400" u="none" strike="noStrike" kern="1200" cap="none" normalizeH="0" baseline="0" noProof="0">
                <a:ln>
                  <a:noFill/>
                </a:ln>
                <a:solidFill>
                  <a:schemeClr val="accent1"/>
                </a:solidFill>
                <a:effectLst/>
                <a:uLnTx/>
                <a:uFillTx/>
                <a:latin typeface="Aptos" panose="020B0004020202020204" pitchFamily="34" charset="0"/>
                <a:ea typeface="+mn-ea"/>
                <a:cs typeface="Arial" panose="020B0604020202020204" pitchFamily="34" charset="0"/>
              </a:rPr>
              <a:t>Application</a:t>
            </a:r>
          </a:p>
        </p:txBody>
      </p:sp>
      <p:sp>
        <p:nvSpPr>
          <p:cNvPr id="4" name="Rounded Rectangle 56">
            <a:extLst>
              <a:ext uri="{FF2B5EF4-FFF2-40B4-BE49-F238E27FC236}">
                <a16:creationId xmlns:a16="http://schemas.microsoft.com/office/drawing/2014/main" id="{AED28039-95AB-9638-1B42-55798BD349DF}"/>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19" name="Conector Reto 31">
            <a:extLst>
              <a:ext uri="{FF2B5EF4-FFF2-40B4-BE49-F238E27FC236}">
                <a16:creationId xmlns:a16="http://schemas.microsoft.com/office/drawing/2014/main" id="{7270C9D4-D3B8-6BCF-3FD1-BB2308344CE7}"/>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75">
            <a:extLst>
              <a:ext uri="{FF2B5EF4-FFF2-40B4-BE49-F238E27FC236}">
                <a16:creationId xmlns:a16="http://schemas.microsoft.com/office/drawing/2014/main" id="{80A67B6A-5491-AD08-562D-8016DA804E33}"/>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31">
            <a:extLst>
              <a:ext uri="{FF2B5EF4-FFF2-40B4-BE49-F238E27FC236}">
                <a16:creationId xmlns:a16="http://schemas.microsoft.com/office/drawing/2014/main" id="{580EDA10-9EC5-1329-DA0C-297F01EDA351}"/>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Conector Reto 31">
            <a:extLst>
              <a:ext uri="{FF2B5EF4-FFF2-40B4-BE49-F238E27FC236}">
                <a16:creationId xmlns:a16="http://schemas.microsoft.com/office/drawing/2014/main" id="{D978D0E9-0543-44FA-0B59-5F40DBF55696}"/>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Conector Reto 78">
            <a:extLst>
              <a:ext uri="{FF2B5EF4-FFF2-40B4-BE49-F238E27FC236}">
                <a16:creationId xmlns:a16="http://schemas.microsoft.com/office/drawing/2014/main" id="{B130A441-72FB-783E-9FEA-8E83921EFC8E}"/>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Conector Reto 31">
            <a:extLst>
              <a:ext uri="{FF2B5EF4-FFF2-40B4-BE49-F238E27FC236}">
                <a16:creationId xmlns:a16="http://schemas.microsoft.com/office/drawing/2014/main" id="{FA1E1029-5A98-2D87-B0AA-1F7558EC77D7}"/>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7" name="CaixaDeTexto 80">
            <a:extLst>
              <a:ext uri="{FF2B5EF4-FFF2-40B4-BE49-F238E27FC236}">
                <a16:creationId xmlns:a16="http://schemas.microsoft.com/office/drawing/2014/main" id="{AF6D5800-AE11-417F-576D-880E329319B0}"/>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28" name="CaixaDeTexto 81">
            <a:extLst>
              <a:ext uri="{FF2B5EF4-FFF2-40B4-BE49-F238E27FC236}">
                <a16:creationId xmlns:a16="http://schemas.microsoft.com/office/drawing/2014/main" id="{A52C66C5-6FC4-B540-2A4A-B7E511CBF03B}"/>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29" name="CaixaDeTexto 82">
            <a:extLst>
              <a:ext uri="{FF2B5EF4-FFF2-40B4-BE49-F238E27FC236}">
                <a16:creationId xmlns:a16="http://schemas.microsoft.com/office/drawing/2014/main" id="{278631BC-BF41-20A9-2C28-1E5BE45A3E73}"/>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30" name="CaixaDeTexto 83">
            <a:extLst>
              <a:ext uri="{FF2B5EF4-FFF2-40B4-BE49-F238E27FC236}">
                <a16:creationId xmlns:a16="http://schemas.microsoft.com/office/drawing/2014/main" id="{F0FF83EE-C0FB-B8BA-E6B0-4408D4116B9B}"/>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31" name="CaixaDeTexto 84">
            <a:extLst>
              <a:ext uri="{FF2B5EF4-FFF2-40B4-BE49-F238E27FC236}">
                <a16:creationId xmlns:a16="http://schemas.microsoft.com/office/drawing/2014/main" id="{45C41E4A-6D2F-512E-2BFE-CBA9B619C59D}"/>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pplications</a:t>
            </a:r>
          </a:p>
        </p:txBody>
      </p:sp>
      <p:sp>
        <p:nvSpPr>
          <p:cNvPr id="32" name="CaixaDeTexto 85">
            <a:extLst>
              <a:ext uri="{FF2B5EF4-FFF2-40B4-BE49-F238E27FC236}">
                <a16:creationId xmlns:a16="http://schemas.microsoft.com/office/drawing/2014/main" id="{C276F3C0-8BBC-8573-7E2F-9DED3BEC2756}"/>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33" name="CaixaDeTexto 86">
            <a:extLst>
              <a:ext uri="{FF2B5EF4-FFF2-40B4-BE49-F238E27FC236}">
                <a16:creationId xmlns:a16="http://schemas.microsoft.com/office/drawing/2014/main" id="{81072796-B1C8-254A-9AE9-B02A59AAF669}"/>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34" name="CaixaDeTexto 87">
            <a:extLst>
              <a:ext uri="{FF2B5EF4-FFF2-40B4-BE49-F238E27FC236}">
                <a16:creationId xmlns:a16="http://schemas.microsoft.com/office/drawing/2014/main" id="{BF810A1E-A180-263C-79D0-0EEF2F4E38CB}"/>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35" name="Conector Reto 31">
            <a:extLst>
              <a:ext uri="{FF2B5EF4-FFF2-40B4-BE49-F238E27FC236}">
                <a16:creationId xmlns:a16="http://schemas.microsoft.com/office/drawing/2014/main" id="{36F260EB-5B12-E347-4F48-C665FF4F9ECF}"/>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3" name="Conector Reto 31">
            <a:extLst>
              <a:ext uri="{FF2B5EF4-FFF2-40B4-BE49-F238E27FC236}">
                <a16:creationId xmlns:a16="http://schemas.microsoft.com/office/drawing/2014/main" id="{5D8782DB-B835-1ACC-AAF1-7CEF5D822224}"/>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4" name="Conector Reto 17">
            <a:extLst>
              <a:ext uri="{FF2B5EF4-FFF2-40B4-BE49-F238E27FC236}">
                <a16:creationId xmlns:a16="http://schemas.microsoft.com/office/drawing/2014/main" id="{9ADB2890-C5EC-1772-BD64-38CC5485FA09}"/>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45" name="Rounded Rectangle 141">
            <a:extLst>
              <a:ext uri="{FF2B5EF4-FFF2-40B4-BE49-F238E27FC236}">
                <a16:creationId xmlns:a16="http://schemas.microsoft.com/office/drawing/2014/main" id="{56BD5B86-7696-DF9C-3ADB-8C3B9B424275}"/>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46" name="CaixaDeTexto 89">
            <a:extLst>
              <a:ext uri="{FF2B5EF4-FFF2-40B4-BE49-F238E27FC236}">
                <a16:creationId xmlns:a16="http://schemas.microsoft.com/office/drawing/2014/main" id="{3CB3302D-522C-BC08-E524-C932C6A0BF00}"/>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47" name="Retângulo Arredondado 128">
            <a:extLst>
              <a:ext uri="{FF2B5EF4-FFF2-40B4-BE49-F238E27FC236}">
                <a16:creationId xmlns:a16="http://schemas.microsoft.com/office/drawing/2014/main" id="{0B355D33-6FAD-53B0-2517-387303913DD1}"/>
              </a:ext>
            </a:extLst>
          </p:cNvPr>
          <p:cNvSpPr/>
          <p:nvPr/>
        </p:nvSpPr>
        <p:spPr>
          <a:xfrm>
            <a:off x="8783064"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49" name="TextBox 60">
            <a:extLst>
              <a:ext uri="{FF2B5EF4-FFF2-40B4-BE49-F238E27FC236}">
                <a16:creationId xmlns:a16="http://schemas.microsoft.com/office/drawing/2014/main" id="{9E0D1809-F930-7F88-5F84-6C09022EE954}"/>
              </a:ext>
            </a:extLst>
          </p:cNvPr>
          <p:cNvSpPr txBox="1"/>
          <p:nvPr/>
        </p:nvSpPr>
        <p:spPr>
          <a:xfrm>
            <a:off x="8723924"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5/6</a:t>
            </a:r>
          </a:p>
        </p:txBody>
      </p:sp>
      <p:pic>
        <p:nvPicPr>
          <p:cNvPr id="57" name="Gráfico 130" descr="Acento Circunflexo à Direita com preenchimento sólido">
            <a:extLst>
              <a:ext uri="{FF2B5EF4-FFF2-40B4-BE49-F238E27FC236}">
                <a16:creationId xmlns:a16="http://schemas.microsoft.com/office/drawing/2014/main" id="{6D6AF843-015D-D8B5-4331-CCCFC2464C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2415" y="6546689"/>
            <a:ext cx="156462" cy="156462"/>
          </a:xfrm>
          <a:prstGeom prst="rect">
            <a:avLst/>
          </a:prstGeom>
        </p:spPr>
      </p:pic>
      <p:pic>
        <p:nvPicPr>
          <p:cNvPr id="58" name="Gráfico 131" descr="Acento Circunflexo à Direita com preenchimento sólido">
            <a:extLst>
              <a:ext uri="{FF2B5EF4-FFF2-40B4-BE49-F238E27FC236}">
                <a16:creationId xmlns:a16="http://schemas.microsoft.com/office/drawing/2014/main" id="{21A2CC58-ED64-4F62-201A-F284B73219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647109" y="6546689"/>
            <a:ext cx="156462" cy="156462"/>
          </a:xfrm>
          <a:prstGeom prst="rect">
            <a:avLst/>
          </a:prstGeom>
        </p:spPr>
      </p:pic>
    </p:spTree>
    <p:extLst>
      <p:ext uri="{BB962C8B-B14F-4D97-AF65-F5344CB8AC3E}">
        <p14:creationId xmlns:p14="http://schemas.microsoft.com/office/powerpoint/2010/main" val="36062560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148D782-FB43-0F49-D2C5-198DC0DE5D36}"/>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0889E0D0-6CD1-4660-6738-ABC9ED69577D}"/>
              </a:ext>
            </a:extLst>
          </p:cNvPr>
          <p:cNvSpPr/>
          <p:nvPr/>
        </p:nvSpPr>
        <p:spPr>
          <a:xfrm>
            <a:off x="1341120" y="1247695"/>
            <a:ext cx="10063739"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2" name="Espaço Reservado para Imagem 10">
            <a:extLst>
              <a:ext uri="{FF2B5EF4-FFF2-40B4-BE49-F238E27FC236}">
                <a16:creationId xmlns:a16="http://schemas.microsoft.com/office/drawing/2014/main" id="{505EF34A-F481-D3A8-F1F6-F9D3527E8D89}"/>
              </a:ext>
            </a:extLst>
          </p:cNvPr>
          <p:cNvPicPr>
            <a:picLocks noChangeAspect="1"/>
          </p:cNvPicPr>
          <p:nvPr/>
        </p:nvPicPr>
        <p:blipFill>
          <a:blip r:embed="rId2" cstate="screen">
            <a:extLst>
              <a:ext uri="{28A0092B-C50C-407E-A947-70E740481C1C}">
                <a14:useLocalDpi xmlns:a14="http://schemas.microsoft.com/office/drawing/2010/main"/>
              </a:ext>
            </a:extLst>
          </a:blip>
          <a:srcRect l="44741" t="4449" r="18061" b="2224"/>
          <a:stretch/>
        </p:blipFill>
        <p:spPr>
          <a:xfrm>
            <a:off x="1820947" y="1541721"/>
            <a:ext cx="2846425" cy="4014738"/>
          </a:xfrm>
          <a:custGeom>
            <a:avLst/>
            <a:gdLst>
              <a:gd name="connsiteX0" fmla="*/ 2600409 w 6100200"/>
              <a:gd name="connsiteY0" fmla="*/ 0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0" fmla="*/ 1820968 w 6100200"/>
              <a:gd name="connsiteY0" fmla="*/ 562381 h 6182557"/>
              <a:gd name="connsiteX1" fmla="*/ 6100200 w 6100200"/>
              <a:gd name="connsiteY1" fmla="*/ 0 h 6182557"/>
              <a:gd name="connsiteX2" fmla="*/ 6100200 w 6100200"/>
              <a:gd name="connsiteY2" fmla="*/ 4998901 h 6182557"/>
              <a:gd name="connsiteX3" fmla="*/ 4413173 w 6100200"/>
              <a:gd name="connsiteY3" fmla="*/ 6182557 h 6182557"/>
              <a:gd name="connsiteX4" fmla="*/ 232259 w 6100200"/>
              <a:gd name="connsiteY4" fmla="*/ 6182557 h 6182557"/>
              <a:gd name="connsiteX5" fmla="*/ 0 w 6100200"/>
              <a:gd name="connsiteY5" fmla="*/ 5950455 h 6182557"/>
              <a:gd name="connsiteX6" fmla="*/ 0 w 6100200"/>
              <a:gd name="connsiteY6" fmla="*/ 1945458 h 6182557"/>
              <a:gd name="connsiteX7" fmla="*/ 98758 w 6100200"/>
              <a:gd name="connsiteY7" fmla="*/ 1755453 h 6182557"/>
              <a:gd name="connsiteX8" fmla="*/ 1820968 w 6100200"/>
              <a:gd name="connsiteY8" fmla="*/ 562381 h 6182557"/>
              <a:gd name="connsiteX0" fmla="*/ 1820968 w 6100200"/>
              <a:gd name="connsiteY0" fmla="*/ 0 h 5620176"/>
              <a:gd name="connsiteX1" fmla="*/ 5547685 w 6100200"/>
              <a:gd name="connsiteY1" fmla="*/ 0 h 5620176"/>
              <a:gd name="connsiteX2" fmla="*/ 6100200 w 6100200"/>
              <a:gd name="connsiteY2" fmla="*/ 4436520 h 5620176"/>
              <a:gd name="connsiteX3" fmla="*/ 4413173 w 6100200"/>
              <a:gd name="connsiteY3" fmla="*/ 5620176 h 5620176"/>
              <a:gd name="connsiteX4" fmla="*/ 232259 w 6100200"/>
              <a:gd name="connsiteY4" fmla="*/ 5620176 h 5620176"/>
              <a:gd name="connsiteX5" fmla="*/ 0 w 6100200"/>
              <a:gd name="connsiteY5" fmla="*/ 5388074 h 5620176"/>
              <a:gd name="connsiteX6" fmla="*/ 0 w 6100200"/>
              <a:gd name="connsiteY6" fmla="*/ 1383077 h 5620176"/>
              <a:gd name="connsiteX7" fmla="*/ 98758 w 6100200"/>
              <a:gd name="connsiteY7" fmla="*/ 1193072 h 5620176"/>
              <a:gd name="connsiteX8" fmla="*/ 1820968 w 610020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4413173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47685 w 5587150"/>
              <a:gd name="connsiteY1" fmla="*/ 0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9867 h 5630043"/>
              <a:gd name="connsiteX1" fmla="*/ 5587150 w 5587150"/>
              <a:gd name="connsiteY1" fmla="*/ 0 h 5630043"/>
              <a:gd name="connsiteX2" fmla="*/ 5587150 w 5587150"/>
              <a:gd name="connsiteY2" fmla="*/ 3982669 h 5630043"/>
              <a:gd name="connsiteX3" fmla="*/ 3239079 w 5587150"/>
              <a:gd name="connsiteY3" fmla="*/ 5630043 h 5630043"/>
              <a:gd name="connsiteX4" fmla="*/ 232259 w 5587150"/>
              <a:gd name="connsiteY4" fmla="*/ 5630043 h 5630043"/>
              <a:gd name="connsiteX5" fmla="*/ 0 w 5587150"/>
              <a:gd name="connsiteY5" fmla="*/ 5397941 h 5630043"/>
              <a:gd name="connsiteX6" fmla="*/ 0 w 5587150"/>
              <a:gd name="connsiteY6" fmla="*/ 1392944 h 5630043"/>
              <a:gd name="connsiteX7" fmla="*/ 98758 w 5587150"/>
              <a:gd name="connsiteY7" fmla="*/ 1202939 h 5630043"/>
              <a:gd name="connsiteX8" fmla="*/ 1820968 w 5587150"/>
              <a:gd name="connsiteY8" fmla="*/ 9867 h 5630043"/>
              <a:gd name="connsiteX0" fmla="*/ 1820968 w 5587150"/>
              <a:gd name="connsiteY0" fmla="*/ 0 h 5620176"/>
              <a:gd name="connsiteX1" fmla="*/ 5191339 w 5587150"/>
              <a:gd name="connsiteY1" fmla="*/ 510004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87150"/>
              <a:gd name="connsiteY0" fmla="*/ 0 h 5620176"/>
              <a:gd name="connsiteX1" fmla="*/ 5587150 w 5587150"/>
              <a:gd name="connsiteY1" fmla="*/ 391851 h 5620176"/>
              <a:gd name="connsiteX2" fmla="*/ 5587150 w 5587150"/>
              <a:gd name="connsiteY2" fmla="*/ 3972802 h 5620176"/>
              <a:gd name="connsiteX3" fmla="*/ 3239079 w 5587150"/>
              <a:gd name="connsiteY3" fmla="*/ 5620176 h 5620176"/>
              <a:gd name="connsiteX4" fmla="*/ 232259 w 5587150"/>
              <a:gd name="connsiteY4" fmla="*/ 5620176 h 5620176"/>
              <a:gd name="connsiteX5" fmla="*/ 0 w 5587150"/>
              <a:gd name="connsiteY5" fmla="*/ 5388074 h 5620176"/>
              <a:gd name="connsiteX6" fmla="*/ 0 w 5587150"/>
              <a:gd name="connsiteY6" fmla="*/ 1383077 h 5620176"/>
              <a:gd name="connsiteX7" fmla="*/ 98758 w 5587150"/>
              <a:gd name="connsiteY7" fmla="*/ 1193072 h 5620176"/>
              <a:gd name="connsiteX8" fmla="*/ 1820968 w 5587150"/>
              <a:gd name="connsiteY8" fmla="*/ 0 h 5620176"/>
              <a:gd name="connsiteX0" fmla="*/ 1820968 w 5598965"/>
              <a:gd name="connsiteY0" fmla="*/ 0 h 5620176"/>
              <a:gd name="connsiteX1" fmla="*/ 5598965 w 5598965"/>
              <a:gd name="connsiteY1" fmla="*/ 1948 h 5620176"/>
              <a:gd name="connsiteX2" fmla="*/ 5587150 w 5598965"/>
              <a:gd name="connsiteY2" fmla="*/ 3972802 h 5620176"/>
              <a:gd name="connsiteX3" fmla="*/ 3239079 w 5598965"/>
              <a:gd name="connsiteY3" fmla="*/ 5620176 h 5620176"/>
              <a:gd name="connsiteX4" fmla="*/ 232259 w 5598965"/>
              <a:gd name="connsiteY4" fmla="*/ 5620176 h 5620176"/>
              <a:gd name="connsiteX5" fmla="*/ 0 w 5598965"/>
              <a:gd name="connsiteY5" fmla="*/ 5388074 h 5620176"/>
              <a:gd name="connsiteX6" fmla="*/ 0 w 5598965"/>
              <a:gd name="connsiteY6" fmla="*/ 1383077 h 5620176"/>
              <a:gd name="connsiteX7" fmla="*/ 98758 w 5598965"/>
              <a:gd name="connsiteY7" fmla="*/ 1193072 h 5620176"/>
              <a:gd name="connsiteX8" fmla="*/ 1820968 w 5598965"/>
              <a:gd name="connsiteY8" fmla="*/ 0 h 5620176"/>
              <a:gd name="connsiteX0" fmla="*/ 1820968 w 5593058"/>
              <a:gd name="connsiteY0" fmla="*/ 0 h 5620176"/>
              <a:gd name="connsiteX1" fmla="*/ 5593058 w 5593058"/>
              <a:gd name="connsiteY1" fmla="*/ 1948 h 5620176"/>
              <a:gd name="connsiteX2" fmla="*/ 5587150 w 5593058"/>
              <a:gd name="connsiteY2" fmla="*/ 3972802 h 5620176"/>
              <a:gd name="connsiteX3" fmla="*/ 3239079 w 5593058"/>
              <a:gd name="connsiteY3" fmla="*/ 5620176 h 5620176"/>
              <a:gd name="connsiteX4" fmla="*/ 232259 w 5593058"/>
              <a:gd name="connsiteY4" fmla="*/ 5620176 h 5620176"/>
              <a:gd name="connsiteX5" fmla="*/ 0 w 5593058"/>
              <a:gd name="connsiteY5" fmla="*/ 5388074 h 5620176"/>
              <a:gd name="connsiteX6" fmla="*/ 0 w 5593058"/>
              <a:gd name="connsiteY6" fmla="*/ 1383077 h 5620176"/>
              <a:gd name="connsiteX7" fmla="*/ 98758 w 5593058"/>
              <a:gd name="connsiteY7" fmla="*/ 1193072 h 5620176"/>
              <a:gd name="connsiteX8" fmla="*/ 1820968 w 5593058"/>
              <a:gd name="connsiteY8" fmla="*/ 0 h 5620176"/>
              <a:gd name="connsiteX0" fmla="*/ 1820968 w 5871561"/>
              <a:gd name="connsiteY0" fmla="*/ 93271 h 5713447"/>
              <a:gd name="connsiteX1" fmla="*/ 5593058 w 5871561"/>
              <a:gd name="connsiteY1" fmla="*/ 95219 h 5713447"/>
              <a:gd name="connsiteX2" fmla="*/ 5589664 w 5871561"/>
              <a:gd name="connsiteY2" fmla="*/ 372747 h 5713447"/>
              <a:gd name="connsiteX3" fmla="*/ 5587150 w 5871561"/>
              <a:gd name="connsiteY3" fmla="*/ 4066073 h 5713447"/>
              <a:gd name="connsiteX4" fmla="*/ 3239079 w 5871561"/>
              <a:gd name="connsiteY4" fmla="*/ 5713447 h 5713447"/>
              <a:gd name="connsiteX5" fmla="*/ 232259 w 5871561"/>
              <a:gd name="connsiteY5" fmla="*/ 5713447 h 5713447"/>
              <a:gd name="connsiteX6" fmla="*/ 0 w 5871561"/>
              <a:gd name="connsiteY6" fmla="*/ 5481345 h 5713447"/>
              <a:gd name="connsiteX7" fmla="*/ 0 w 5871561"/>
              <a:gd name="connsiteY7" fmla="*/ 1476348 h 5713447"/>
              <a:gd name="connsiteX8" fmla="*/ 98758 w 5871561"/>
              <a:gd name="connsiteY8" fmla="*/ 1286343 h 5713447"/>
              <a:gd name="connsiteX9" fmla="*/ 1820968 w 5871561"/>
              <a:gd name="connsiteY9"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71561"/>
              <a:gd name="connsiteY0" fmla="*/ 93271 h 5713447"/>
              <a:gd name="connsiteX1" fmla="*/ 5282468 w 5871561"/>
              <a:gd name="connsiteY1" fmla="*/ 95089 h 5713447"/>
              <a:gd name="connsiteX2" fmla="*/ 5593058 w 5871561"/>
              <a:gd name="connsiteY2" fmla="*/ 95219 h 5713447"/>
              <a:gd name="connsiteX3" fmla="*/ 5589664 w 5871561"/>
              <a:gd name="connsiteY3" fmla="*/ 372747 h 5713447"/>
              <a:gd name="connsiteX4" fmla="*/ 5587150 w 5871561"/>
              <a:gd name="connsiteY4" fmla="*/ 4066073 h 5713447"/>
              <a:gd name="connsiteX5" fmla="*/ 3239079 w 5871561"/>
              <a:gd name="connsiteY5" fmla="*/ 5713447 h 5713447"/>
              <a:gd name="connsiteX6" fmla="*/ 232259 w 5871561"/>
              <a:gd name="connsiteY6" fmla="*/ 5713447 h 5713447"/>
              <a:gd name="connsiteX7" fmla="*/ 0 w 5871561"/>
              <a:gd name="connsiteY7" fmla="*/ 5481345 h 5713447"/>
              <a:gd name="connsiteX8" fmla="*/ 0 w 5871561"/>
              <a:gd name="connsiteY8" fmla="*/ 1476348 h 5713447"/>
              <a:gd name="connsiteX9" fmla="*/ 98758 w 5871561"/>
              <a:gd name="connsiteY9" fmla="*/ 1286343 h 5713447"/>
              <a:gd name="connsiteX10" fmla="*/ 1820968 w 5871561"/>
              <a:gd name="connsiteY10" fmla="*/ 93271 h 5713447"/>
              <a:gd name="connsiteX0" fmla="*/ 1820968 w 5868964"/>
              <a:gd name="connsiteY0" fmla="*/ 0 h 5620176"/>
              <a:gd name="connsiteX1" fmla="*/ 5282468 w 5868964"/>
              <a:gd name="connsiteY1" fmla="*/ 1818 h 5620176"/>
              <a:gd name="connsiteX2" fmla="*/ 5593058 w 5868964"/>
              <a:gd name="connsiteY2" fmla="*/ 1948 h 5620176"/>
              <a:gd name="connsiteX3" fmla="*/ 5589664 w 5868964"/>
              <a:gd name="connsiteY3" fmla="*/ 279476 h 5620176"/>
              <a:gd name="connsiteX4" fmla="*/ 5587150 w 5868964"/>
              <a:gd name="connsiteY4" fmla="*/ 3972802 h 5620176"/>
              <a:gd name="connsiteX5" fmla="*/ 3239079 w 5868964"/>
              <a:gd name="connsiteY5" fmla="*/ 5620176 h 5620176"/>
              <a:gd name="connsiteX6" fmla="*/ 232259 w 5868964"/>
              <a:gd name="connsiteY6" fmla="*/ 5620176 h 5620176"/>
              <a:gd name="connsiteX7" fmla="*/ 0 w 5868964"/>
              <a:gd name="connsiteY7" fmla="*/ 5388074 h 5620176"/>
              <a:gd name="connsiteX8" fmla="*/ 0 w 5868964"/>
              <a:gd name="connsiteY8" fmla="*/ 1383077 h 5620176"/>
              <a:gd name="connsiteX9" fmla="*/ 98758 w 5868964"/>
              <a:gd name="connsiteY9" fmla="*/ 1193072 h 5620176"/>
              <a:gd name="connsiteX10" fmla="*/ 1820968 w 5868964"/>
              <a:gd name="connsiteY10" fmla="*/ 0 h 5620176"/>
              <a:gd name="connsiteX0" fmla="*/ 1820968 w 5593273"/>
              <a:gd name="connsiteY0" fmla="*/ 0 h 5620176"/>
              <a:gd name="connsiteX1" fmla="*/ 5282468 w 5593273"/>
              <a:gd name="connsiteY1" fmla="*/ 1818 h 5620176"/>
              <a:gd name="connsiteX2" fmla="*/ 5589664 w 5593273"/>
              <a:gd name="connsiteY2" fmla="*/ 279476 h 5620176"/>
              <a:gd name="connsiteX3" fmla="*/ 5587150 w 5593273"/>
              <a:gd name="connsiteY3" fmla="*/ 3972802 h 5620176"/>
              <a:gd name="connsiteX4" fmla="*/ 3239079 w 5593273"/>
              <a:gd name="connsiteY4" fmla="*/ 5620176 h 5620176"/>
              <a:gd name="connsiteX5" fmla="*/ 232259 w 5593273"/>
              <a:gd name="connsiteY5" fmla="*/ 5620176 h 5620176"/>
              <a:gd name="connsiteX6" fmla="*/ 0 w 5593273"/>
              <a:gd name="connsiteY6" fmla="*/ 5388074 h 5620176"/>
              <a:gd name="connsiteX7" fmla="*/ 0 w 5593273"/>
              <a:gd name="connsiteY7" fmla="*/ 1383077 h 5620176"/>
              <a:gd name="connsiteX8" fmla="*/ 98758 w 5593273"/>
              <a:gd name="connsiteY8" fmla="*/ 1193072 h 5620176"/>
              <a:gd name="connsiteX9" fmla="*/ 1820968 w 5593273"/>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4522"/>
              <a:gd name="connsiteY0" fmla="*/ 0 h 5620176"/>
              <a:gd name="connsiteX1" fmla="*/ 5282468 w 5594522"/>
              <a:gd name="connsiteY1" fmla="*/ 1818 h 5620176"/>
              <a:gd name="connsiteX2" fmla="*/ 5589664 w 5594522"/>
              <a:gd name="connsiteY2" fmla="*/ 279476 h 5620176"/>
              <a:gd name="connsiteX3" fmla="*/ 5587150 w 5594522"/>
              <a:gd name="connsiteY3" fmla="*/ 3972802 h 5620176"/>
              <a:gd name="connsiteX4" fmla="*/ 3239079 w 5594522"/>
              <a:gd name="connsiteY4" fmla="*/ 5620176 h 5620176"/>
              <a:gd name="connsiteX5" fmla="*/ 232259 w 5594522"/>
              <a:gd name="connsiteY5" fmla="*/ 5620176 h 5620176"/>
              <a:gd name="connsiteX6" fmla="*/ 0 w 5594522"/>
              <a:gd name="connsiteY6" fmla="*/ 5388074 h 5620176"/>
              <a:gd name="connsiteX7" fmla="*/ 0 w 5594522"/>
              <a:gd name="connsiteY7" fmla="*/ 1383077 h 5620176"/>
              <a:gd name="connsiteX8" fmla="*/ 98758 w 5594522"/>
              <a:gd name="connsiteY8" fmla="*/ 1193072 h 5620176"/>
              <a:gd name="connsiteX9" fmla="*/ 1820968 w 5594522"/>
              <a:gd name="connsiteY9" fmla="*/ 0 h 5620176"/>
              <a:gd name="connsiteX0" fmla="*/ 1820968 w 5592056"/>
              <a:gd name="connsiteY0" fmla="*/ 0 h 5620176"/>
              <a:gd name="connsiteX1" fmla="*/ 5282468 w 5592056"/>
              <a:gd name="connsiteY1" fmla="*/ 1818 h 5620176"/>
              <a:gd name="connsiteX2" fmla="*/ 5589664 w 5592056"/>
              <a:gd name="connsiteY2" fmla="*/ 279476 h 5620176"/>
              <a:gd name="connsiteX3" fmla="*/ 5587150 w 5592056"/>
              <a:gd name="connsiteY3" fmla="*/ 3972802 h 5620176"/>
              <a:gd name="connsiteX4" fmla="*/ 3239079 w 5592056"/>
              <a:gd name="connsiteY4" fmla="*/ 5620176 h 5620176"/>
              <a:gd name="connsiteX5" fmla="*/ 232259 w 5592056"/>
              <a:gd name="connsiteY5" fmla="*/ 5620176 h 5620176"/>
              <a:gd name="connsiteX6" fmla="*/ 0 w 5592056"/>
              <a:gd name="connsiteY6" fmla="*/ 5388074 h 5620176"/>
              <a:gd name="connsiteX7" fmla="*/ 0 w 5592056"/>
              <a:gd name="connsiteY7" fmla="*/ 1383077 h 5620176"/>
              <a:gd name="connsiteX8" fmla="*/ 98758 w 5592056"/>
              <a:gd name="connsiteY8" fmla="*/ 1193072 h 5620176"/>
              <a:gd name="connsiteX9" fmla="*/ 1820968 w 5592056"/>
              <a:gd name="connsiteY9" fmla="*/ 0 h 5620176"/>
              <a:gd name="connsiteX0" fmla="*/ 1820968 w 5741423"/>
              <a:gd name="connsiteY0" fmla="*/ 107707 h 5727883"/>
              <a:gd name="connsiteX1" fmla="*/ 3517637 w 5741423"/>
              <a:gd name="connsiteY1" fmla="*/ 109525 h 5727883"/>
              <a:gd name="connsiteX2" fmla="*/ 5589664 w 5741423"/>
              <a:gd name="connsiteY2" fmla="*/ 387183 h 5727883"/>
              <a:gd name="connsiteX3" fmla="*/ 5587150 w 5741423"/>
              <a:gd name="connsiteY3" fmla="*/ 4080509 h 5727883"/>
              <a:gd name="connsiteX4" fmla="*/ 3239079 w 5741423"/>
              <a:gd name="connsiteY4" fmla="*/ 5727883 h 5727883"/>
              <a:gd name="connsiteX5" fmla="*/ 232259 w 5741423"/>
              <a:gd name="connsiteY5" fmla="*/ 5727883 h 5727883"/>
              <a:gd name="connsiteX6" fmla="*/ 0 w 5741423"/>
              <a:gd name="connsiteY6" fmla="*/ 5495781 h 5727883"/>
              <a:gd name="connsiteX7" fmla="*/ 0 w 5741423"/>
              <a:gd name="connsiteY7" fmla="*/ 1490784 h 5727883"/>
              <a:gd name="connsiteX8" fmla="*/ 98758 w 5741423"/>
              <a:gd name="connsiteY8" fmla="*/ 1300779 h 5727883"/>
              <a:gd name="connsiteX9" fmla="*/ 1820968 w 5741423"/>
              <a:gd name="connsiteY9" fmla="*/ 107707 h 5727883"/>
              <a:gd name="connsiteX0" fmla="*/ 1820968 w 5587150"/>
              <a:gd name="connsiteY0" fmla="*/ 42791 h 5662967"/>
              <a:gd name="connsiteX1" fmla="*/ 3517637 w 5587150"/>
              <a:gd name="connsiteY1" fmla="*/ 44609 h 5662967"/>
              <a:gd name="connsiteX2" fmla="*/ 3930340 w 5587150"/>
              <a:gd name="connsiteY2" fmla="*/ 456548 h 5662967"/>
              <a:gd name="connsiteX3" fmla="*/ 5587150 w 5587150"/>
              <a:gd name="connsiteY3" fmla="*/ 4015593 h 5662967"/>
              <a:gd name="connsiteX4" fmla="*/ 3239079 w 5587150"/>
              <a:gd name="connsiteY4" fmla="*/ 5662967 h 5662967"/>
              <a:gd name="connsiteX5" fmla="*/ 232259 w 5587150"/>
              <a:gd name="connsiteY5" fmla="*/ 5662967 h 5662967"/>
              <a:gd name="connsiteX6" fmla="*/ 0 w 5587150"/>
              <a:gd name="connsiteY6" fmla="*/ 5430865 h 5662967"/>
              <a:gd name="connsiteX7" fmla="*/ 0 w 5587150"/>
              <a:gd name="connsiteY7" fmla="*/ 1425868 h 5662967"/>
              <a:gd name="connsiteX8" fmla="*/ 98758 w 5587150"/>
              <a:gd name="connsiteY8" fmla="*/ 1235863 h 5662967"/>
              <a:gd name="connsiteX9" fmla="*/ 1820968 w 5587150"/>
              <a:gd name="connsiteY9" fmla="*/ 42791 h 5662967"/>
              <a:gd name="connsiteX0" fmla="*/ 1820968 w 5587150"/>
              <a:gd name="connsiteY0" fmla="*/ 36807 h 5656983"/>
              <a:gd name="connsiteX1" fmla="*/ 3517637 w 5587150"/>
              <a:gd name="connsiteY1" fmla="*/ 38625 h 5656983"/>
              <a:gd name="connsiteX2" fmla="*/ 3930340 w 5587150"/>
              <a:gd name="connsiteY2" fmla="*/ 450564 h 5656983"/>
              <a:gd name="connsiteX3" fmla="*/ 5587150 w 5587150"/>
              <a:gd name="connsiteY3" fmla="*/ 4009609 h 5656983"/>
              <a:gd name="connsiteX4" fmla="*/ 3239079 w 5587150"/>
              <a:gd name="connsiteY4" fmla="*/ 5656983 h 5656983"/>
              <a:gd name="connsiteX5" fmla="*/ 232259 w 5587150"/>
              <a:gd name="connsiteY5" fmla="*/ 5656983 h 5656983"/>
              <a:gd name="connsiteX6" fmla="*/ 0 w 5587150"/>
              <a:gd name="connsiteY6" fmla="*/ 5424881 h 5656983"/>
              <a:gd name="connsiteX7" fmla="*/ 0 w 5587150"/>
              <a:gd name="connsiteY7" fmla="*/ 1419884 h 5656983"/>
              <a:gd name="connsiteX8" fmla="*/ 98758 w 5587150"/>
              <a:gd name="connsiteY8" fmla="*/ 1229879 h 5656983"/>
              <a:gd name="connsiteX9" fmla="*/ 1820968 w 5587150"/>
              <a:gd name="connsiteY9" fmla="*/ 36807 h 5656983"/>
              <a:gd name="connsiteX0" fmla="*/ 1820968 w 3962406"/>
              <a:gd name="connsiteY0" fmla="*/ 40271 h 5660447"/>
              <a:gd name="connsiteX1" fmla="*/ 3517637 w 3962406"/>
              <a:gd name="connsiteY1" fmla="*/ 42089 h 5660447"/>
              <a:gd name="connsiteX2" fmla="*/ 3930340 w 3962406"/>
              <a:gd name="connsiteY2" fmla="*/ 454028 h 5660447"/>
              <a:gd name="connsiteX3" fmla="*/ 3937417 w 3962406"/>
              <a:gd name="connsiteY3" fmla="*/ 3965115 h 5660447"/>
              <a:gd name="connsiteX4" fmla="*/ 3239079 w 3962406"/>
              <a:gd name="connsiteY4" fmla="*/ 5660447 h 5660447"/>
              <a:gd name="connsiteX5" fmla="*/ 232259 w 3962406"/>
              <a:gd name="connsiteY5" fmla="*/ 5660447 h 5660447"/>
              <a:gd name="connsiteX6" fmla="*/ 0 w 3962406"/>
              <a:gd name="connsiteY6" fmla="*/ 5428345 h 5660447"/>
              <a:gd name="connsiteX7" fmla="*/ 0 w 3962406"/>
              <a:gd name="connsiteY7" fmla="*/ 1423348 h 5660447"/>
              <a:gd name="connsiteX8" fmla="*/ 98758 w 3962406"/>
              <a:gd name="connsiteY8" fmla="*/ 1233343 h 5660447"/>
              <a:gd name="connsiteX9" fmla="*/ 1820968 w 3962406"/>
              <a:gd name="connsiteY9" fmla="*/ 40271 h 5660447"/>
              <a:gd name="connsiteX0" fmla="*/ 1820968 w 3962406"/>
              <a:gd name="connsiteY0" fmla="*/ 40271 h 5660447"/>
              <a:gd name="connsiteX1" fmla="*/ 3517637 w 3962406"/>
              <a:gd name="connsiteY1" fmla="*/ 42089 h 5660447"/>
              <a:gd name="connsiteX2" fmla="*/ 3930340 w 3962406"/>
              <a:gd name="connsiteY2" fmla="*/ 454028 h 5660447"/>
              <a:gd name="connsiteX3" fmla="*/ 3937417 w 3962406"/>
              <a:gd name="connsiteY3" fmla="*/ 3965115 h 5660447"/>
              <a:gd name="connsiteX4" fmla="*/ 2001779 w 3962406"/>
              <a:gd name="connsiteY4" fmla="*/ 5660447 h 5660447"/>
              <a:gd name="connsiteX5" fmla="*/ 232259 w 3962406"/>
              <a:gd name="connsiteY5" fmla="*/ 5660447 h 5660447"/>
              <a:gd name="connsiteX6" fmla="*/ 0 w 3962406"/>
              <a:gd name="connsiteY6" fmla="*/ 5428345 h 5660447"/>
              <a:gd name="connsiteX7" fmla="*/ 0 w 3962406"/>
              <a:gd name="connsiteY7" fmla="*/ 1423348 h 5660447"/>
              <a:gd name="connsiteX8" fmla="*/ 98758 w 3962406"/>
              <a:gd name="connsiteY8" fmla="*/ 1233343 h 5660447"/>
              <a:gd name="connsiteX9" fmla="*/ 1820968 w 3962406"/>
              <a:gd name="connsiteY9" fmla="*/ 40271 h 5660447"/>
              <a:gd name="connsiteX0" fmla="*/ 1820968 w 3984776"/>
              <a:gd name="connsiteY0" fmla="*/ 17641 h 5637817"/>
              <a:gd name="connsiteX1" fmla="*/ 3517637 w 3984776"/>
              <a:gd name="connsiteY1" fmla="*/ 19459 h 5637817"/>
              <a:gd name="connsiteX2" fmla="*/ 3959114 w 3984776"/>
              <a:gd name="connsiteY2" fmla="*/ 498538 h 5637817"/>
              <a:gd name="connsiteX3" fmla="*/ 3937417 w 3984776"/>
              <a:gd name="connsiteY3" fmla="*/ 3942485 h 5637817"/>
              <a:gd name="connsiteX4" fmla="*/ 2001779 w 3984776"/>
              <a:gd name="connsiteY4" fmla="*/ 5637817 h 5637817"/>
              <a:gd name="connsiteX5" fmla="*/ 232259 w 3984776"/>
              <a:gd name="connsiteY5" fmla="*/ 5637817 h 5637817"/>
              <a:gd name="connsiteX6" fmla="*/ 0 w 3984776"/>
              <a:gd name="connsiteY6" fmla="*/ 5405715 h 5637817"/>
              <a:gd name="connsiteX7" fmla="*/ 0 w 3984776"/>
              <a:gd name="connsiteY7" fmla="*/ 1400718 h 5637817"/>
              <a:gd name="connsiteX8" fmla="*/ 98758 w 3984776"/>
              <a:gd name="connsiteY8" fmla="*/ 1210713 h 5637817"/>
              <a:gd name="connsiteX9" fmla="*/ 1820968 w 3984776"/>
              <a:gd name="connsiteY9" fmla="*/ 17641 h 5637817"/>
              <a:gd name="connsiteX0" fmla="*/ 1820968 w 3961608"/>
              <a:gd name="connsiteY0" fmla="*/ 0 h 5620176"/>
              <a:gd name="connsiteX1" fmla="*/ 3517637 w 3961608"/>
              <a:gd name="connsiteY1" fmla="*/ 1818 h 5620176"/>
              <a:gd name="connsiteX2" fmla="*/ 3959114 w 3961608"/>
              <a:gd name="connsiteY2" fmla="*/ 480897 h 5620176"/>
              <a:gd name="connsiteX3" fmla="*/ 3937417 w 3961608"/>
              <a:gd name="connsiteY3" fmla="*/ 3924844 h 5620176"/>
              <a:gd name="connsiteX4" fmla="*/ 2001779 w 3961608"/>
              <a:gd name="connsiteY4" fmla="*/ 5620176 h 5620176"/>
              <a:gd name="connsiteX5" fmla="*/ 232259 w 3961608"/>
              <a:gd name="connsiteY5" fmla="*/ 5620176 h 5620176"/>
              <a:gd name="connsiteX6" fmla="*/ 0 w 3961608"/>
              <a:gd name="connsiteY6" fmla="*/ 5388074 h 5620176"/>
              <a:gd name="connsiteX7" fmla="*/ 0 w 3961608"/>
              <a:gd name="connsiteY7" fmla="*/ 1383077 h 5620176"/>
              <a:gd name="connsiteX8" fmla="*/ 98758 w 3961608"/>
              <a:gd name="connsiteY8" fmla="*/ 1193072 h 5620176"/>
              <a:gd name="connsiteX9" fmla="*/ 1820968 w 3961608"/>
              <a:gd name="connsiteY9" fmla="*/ 0 h 5620176"/>
              <a:gd name="connsiteX0" fmla="*/ 1820968 w 3993310"/>
              <a:gd name="connsiteY0" fmla="*/ 18021 h 5638197"/>
              <a:gd name="connsiteX1" fmla="*/ 3517637 w 3993310"/>
              <a:gd name="connsiteY1" fmla="*/ 19839 h 5638197"/>
              <a:gd name="connsiteX2" fmla="*/ 3959114 w 3993310"/>
              <a:gd name="connsiteY2" fmla="*/ 498918 h 5638197"/>
              <a:gd name="connsiteX3" fmla="*/ 3966192 w 3993310"/>
              <a:gd name="connsiteY3" fmla="*/ 3952457 h 5638197"/>
              <a:gd name="connsiteX4" fmla="*/ 2001779 w 3993310"/>
              <a:gd name="connsiteY4" fmla="*/ 5638197 h 5638197"/>
              <a:gd name="connsiteX5" fmla="*/ 232259 w 3993310"/>
              <a:gd name="connsiteY5" fmla="*/ 5638197 h 5638197"/>
              <a:gd name="connsiteX6" fmla="*/ 0 w 3993310"/>
              <a:gd name="connsiteY6" fmla="*/ 5406095 h 5638197"/>
              <a:gd name="connsiteX7" fmla="*/ 0 w 3993310"/>
              <a:gd name="connsiteY7" fmla="*/ 1401098 h 5638197"/>
              <a:gd name="connsiteX8" fmla="*/ 98758 w 3993310"/>
              <a:gd name="connsiteY8" fmla="*/ 1211093 h 5638197"/>
              <a:gd name="connsiteX9" fmla="*/ 1820968 w 3993310"/>
              <a:gd name="connsiteY9" fmla="*/ 18021 h 5638197"/>
              <a:gd name="connsiteX0" fmla="*/ 1820968 w 3967875"/>
              <a:gd name="connsiteY0" fmla="*/ 0 h 5620176"/>
              <a:gd name="connsiteX1" fmla="*/ 3517637 w 3967875"/>
              <a:gd name="connsiteY1" fmla="*/ 1818 h 5620176"/>
              <a:gd name="connsiteX2" fmla="*/ 3959114 w 3967875"/>
              <a:gd name="connsiteY2" fmla="*/ 480897 h 5620176"/>
              <a:gd name="connsiteX3" fmla="*/ 3966192 w 3967875"/>
              <a:gd name="connsiteY3" fmla="*/ 3934436 h 5620176"/>
              <a:gd name="connsiteX4" fmla="*/ 2001779 w 3967875"/>
              <a:gd name="connsiteY4" fmla="*/ 5620176 h 5620176"/>
              <a:gd name="connsiteX5" fmla="*/ 232259 w 3967875"/>
              <a:gd name="connsiteY5" fmla="*/ 5620176 h 5620176"/>
              <a:gd name="connsiteX6" fmla="*/ 0 w 3967875"/>
              <a:gd name="connsiteY6" fmla="*/ 5388074 h 5620176"/>
              <a:gd name="connsiteX7" fmla="*/ 0 w 3967875"/>
              <a:gd name="connsiteY7" fmla="*/ 1383077 h 5620176"/>
              <a:gd name="connsiteX8" fmla="*/ 98758 w 3967875"/>
              <a:gd name="connsiteY8" fmla="*/ 1193072 h 5620176"/>
              <a:gd name="connsiteX9" fmla="*/ 1820968 w 3967875"/>
              <a:gd name="connsiteY9" fmla="*/ 0 h 5620176"/>
              <a:gd name="connsiteX0" fmla="*/ 1820968 w 3967875"/>
              <a:gd name="connsiteY0" fmla="*/ 14242 h 5634418"/>
              <a:gd name="connsiteX1" fmla="*/ 3517637 w 3967875"/>
              <a:gd name="connsiteY1" fmla="*/ 16060 h 5634418"/>
              <a:gd name="connsiteX2" fmla="*/ 3959114 w 3967875"/>
              <a:gd name="connsiteY2" fmla="*/ 370450 h 5634418"/>
              <a:gd name="connsiteX3" fmla="*/ 3966192 w 3967875"/>
              <a:gd name="connsiteY3" fmla="*/ 3948678 h 5634418"/>
              <a:gd name="connsiteX4" fmla="*/ 2001779 w 3967875"/>
              <a:gd name="connsiteY4" fmla="*/ 5634418 h 5634418"/>
              <a:gd name="connsiteX5" fmla="*/ 232259 w 3967875"/>
              <a:gd name="connsiteY5" fmla="*/ 5634418 h 5634418"/>
              <a:gd name="connsiteX6" fmla="*/ 0 w 3967875"/>
              <a:gd name="connsiteY6" fmla="*/ 5402316 h 5634418"/>
              <a:gd name="connsiteX7" fmla="*/ 0 w 3967875"/>
              <a:gd name="connsiteY7" fmla="*/ 1397319 h 5634418"/>
              <a:gd name="connsiteX8" fmla="*/ 98758 w 3967875"/>
              <a:gd name="connsiteY8" fmla="*/ 1207314 h 5634418"/>
              <a:gd name="connsiteX9" fmla="*/ 1820968 w 3967875"/>
              <a:gd name="connsiteY9" fmla="*/ 14242 h 5634418"/>
              <a:gd name="connsiteX0" fmla="*/ 1820968 w 3966193"/>
              <a:gd name="connsiteY0" fmla="*/ 0 h 5620176"/>
              <a:gd name="connsiteX1" fmla="*/ 3517637 w 3966193"/>
              <a:gd name="connsiteY1" fmla="*/ 1818 h 5620176"/>
              <a:gd name="connsiteX2" fmla="*/ 3959114 w 3966193"/>
              <a:gd name="connsiteY2" fmla="*/ 356208 h 5620176"/>
              <a:gd name="connsiteX3" fmla="*/ 3966192 w 3966193"/>
              <a:gd name="connsiteY3" fmla="*/ 3934436 h 5620176"/>
              <a:gd name="connsiteX4" fmla="*/ 2001779 w 3966193"/>
              <a:gd name="connsiteY4" fmla="*/ 5620176 h 5620176"/>
              <a:gd name="connsiteX5" fmla="*/ 232259 w 3966193"/>
              <a:gd name="connsiteY5" fmla="*/ 5620176 h 5620176"/>
              <a:gd name="connsiteX6" fmla="*/ 0 w 3966193"/>
              <a:gd name="connsiteY6" fmla="*/ 5388074 h 5620176"/>
              <a:gd name="connsiteX7" fmla="*/ 0 w 3966193"/>
              <a:gd name="connsiteY7" fmla="*/ 1383077 h 5620176"/>
              <a:gd name="connsiteX8" fmla="*/ 98758 w 3966193"/>
              <a:gd name="connsiteY8" fmla="*/ 1193072 h 5620176"/>
              <a:gd name="connsiteX9" fmla="*/ 1820968 w 3966193"/>
              <a:gd name="connsiteY9" fmla="*/ 0 h 5620176"/>
              <a:gd name="connsiteX0" fmla="*/ 1820968 w 3970994"/>
              <a:gd name="connsiteY0" fmla="*/ 0 h 5620176"/>
              <a:gd name="connsiteX1" fmla="*/ 3517637 w 3970994"/>
              <a:gd name="connsiteY1" fmla="*/ 1818 h 5620176"/>
              <a:gd name="connsiteX2" fmla="*/ 3968705 w 3970994"/>
              <a:gd name="connsiteY2" fmla="*/ 442531 h 5620176"/>
              <a:gd name="connsiteX3" fmla="*/ 3966192 w 3970994"/>
              <a:gd name="connsiteY3" fmla="*/ 3934436 h 5620176"/>
              <a:gd name="connsiteX4" fmla="*/ 2001779 w 3970994"/>
              <a:gd name="connsiteY4" fmla="*/ 5620176 h 5620176"/>
              <a:gd name="connsiteX5" fmla="*/ 232259 w 3970994"/>
              <a:gd name="connsiteY5" fmla="*/ 5620176 h 5620176"/>
              <a:gd name="connsiteX6" fmla="*/ 0 w 3970994"/>
              <a:gd name="connsiteY6" fmla="*/ 5388074 h 5620176"/>
              <a:gd name="connsiteX7" fmla="*/ 0 w 3970994"/>
              <a:gd name="connsiteY7" fmla="*/ 1383077 h 5620176"/>
              <a:gd name="connsiteX8" fmla="*/ 98758 w 3970994"/>
              <a:gd name="connsiteY8" fmla="*/ 1193072 h 5620176"/>
              <a:gd name="connsiteX9" fmla="*/ 1820968 w 3970994"/>
              <a:gd name="connsiteY9" fmla="*/ 0 h 5620176"/>
              <a:gd name="connsiteX0" fmla="*/ 1820968 w 3975037"/>
              <a:gd name="connsiteY0" fmla="*/ 0 h 5620176"/>
              <a:gd name="connsiteX1" fmla="*/ 3517637 w 3975037"/>
              <a:gd name="connsiteY1" fmla="*/ 1818 h 5620176"/>
              <a:gd name="connsiteX2" fmla="*/ 3968705 w 3975037"/>
              <a:gd name="connsiteY2" fmla="*/ 442531 h 5620176"/>
              <a:gd name="connsiteX3" fmla="*/ 3966192 w 3975037"/>
              <a:gd name="connsiteY3" fmla="*/ 3934436 h 5620176"/>
              <a:gd name="connsiteX4" fmla="*/ 2001779 w 3975037"/>
              <a:gd name="connsiteY4" fmla="*/ 5620176 h 5620176"/>
              <a:gd name="connsiteX5" fmla="*/ 232259 w 3975037"/>
              <a:gd name="connsiteY5" fmla="*/ 5620176 h 5620176"/>
              <a:gd name="connsiteX6" fmla="*/ 0 w 3975037"/>
              <a:gd name="connsiteY6" fmla="*/ 5388074 h 5620176"/>
              <a:gd name="connsiteX7" fmla="*/ 0 w 3975037"/>
              <a:gd name="connsiteY7" fmla="*/ 1383077 h 5620176"/>
              <a:gd name="connsiteX8" fmla="*/ 98758 w 3975037"/>
              <a:gd name="connsiteY8" fmla="*/ 1193072 h 5620176"/>
              <a:gd name="connsiteX9" fmla="*/ 1820968 w 3975037"/>
              <a:gd name="connsiteY9" fmla="*/ 0 h 5620176"/>
              <a:gd name="connsiteX0" fmla="*/ 1820968 w 3977243"/>
              <a:gd name="connsiteY0" fmla="*/ 0 h 5620176"/>
              <a:gd name="connsiteX1" fmla="*/ 3517637 w 3977243"/>
              <a:gd name="connsiteY1" fmla="*/ 1818 h 5620176"/>
              <a:gd name="connsiteX2" fmla="*/ 3968705 w 3977243"/>
              <a:gd name="connsiteY2" fmla="*/ 442531 h 5620176"/>
              <a:gd name="connsiteX3" fmla="*/ 3966192 w 3977243"/>
              <a:gd name="connsiteY3" fmla="*/ 3934436 h 5620176"/>
              <a:gd name="connsiteX4" fmla="*/ 2001779 w 3977243"/>
              <a:gd name="connsiteY4" fmla="*/ 5620176 h 5620176"/>
              <a:gd name="connsiteX5" fmla="*/ 232259 w 3977243"/>
              <a:gd name="connsiteY5" fmla="*/ 5620176 h 5620176"/>
              <a:gd name="connsiteX6" fmla="*/ 0 w 3977243"/>
              <a:gd name="connsiteY6" fmla="*/ 5388074 h 5620176"/>
              <a:gd name="connsiteX7" fmla="*/ 0 w 3977243"/>
              <a:gd name="connsiteY7" fmla="*/ 1383077 h 5620176"/>
              <a:gd name="connsiteX8" fmla="*/ 98758 w 3977243"/>
              <a:gd name="connsiteY8" fmla="*/ 1193072 h 5620176"/>
              <a:gd name="connsiteX9" fmla="*/ 1820968 w 3977243"/>
              <a:gd name="connsiteY9" fmla="*/ 0 h 5620176"/>
              <a:gd name="connsiteX0" fmla="*/ 1820968 w 4002780"/>
              <a:gd name="connsiteY0" fmla="*/ 62256 h 5682432"/>
              <a:gd name="connsiteX1" fmla="*/ 3517637 w 4002780"/>
              <a:gd name="connsiteY1" fmla="*/ 64074 h 5682432"/>
              <a:gd name="connsiteX2" fmla="*/ 3968705 w 4002780"/>
              <a:gd name="connsiteY2" fmla="*/ 504787 h 5682432"/>
              <a:gd name="connsiteX3" fmla="*/ 3966192 w 4002780"/>
              <a:gd name="connsiteY3" fmla="*/ 4608267 h 5682432"/>
              <a:gd name="connsiteX4" fmla="*/ 2001779 w 4002780"/>
              <a:gd name="connsiteY4" fmla="*/ 5682432 h 5682432"/>
              <a:gd name="connsiteX5" fmla="*/ 232259 w 4002780"/>
              <a:gd name="connsiteY5" fmla="*/ 5682432 h 5682432"/>
              <a:gd name="connsiteX6" fmla="*/ 0 w 4002780"/>
              <a:gd name="connsiteY6" fmla="*/ 5450330 h 5682432"/>
              <a:gd name="connsiteX7" fmla="*/ 0 w 4002780"/>
              <a:gd name="connsiteY7" fmla="*/ 1445333 h 5682432"/>
              <a:gd name="connsiteX8" fmla="*/ 98758 w 4002780"/>
              <a:gd name="connsiteY8" fmla="*/ 1255328 h 5682432"/>
              <a:gd name="connsiteX9" fmla="*/ 1820968 w 4002780"/>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64259"/>
              <a:gd name="connsiteY0" fmla="*/ 62256 h 5682432"/>
              <a:gd name="connsiteX1" fmla="*/ 3517637 w 4064259"/>
              <a:gd name="connsiteY1" fmla="*/ 64074 h 5682432"/>
              <a:gd name="connsiteX2" fmla="*/ 3968705 w 4064259"/>
              <a:gd name="connsiteY2" fmla="*/ 504787 h 5682432"/>
              <a:gd name="connsiteX3" fmla="*/ 3966192 w 4064259"/>
              <a:gd name="connsiteY3" fmla="*/ 4608267 h 5682432"/>
              <a:gd name="connsiteX4" fmla="*/ 2919142 w 4064259"/>
              <a:gd name="connsiteY4" fmla="*/ 5671511 h 5682432"/>
              <a:gd name="connsiteX5" fmla="*/ 232259 w 4064259"/>
              <a:gd name="connsiteY5" fmla="*/ 5682432 h 5682432"/>
              <a:gd name="connsiteX6" fmla="*/ 0 w 4064259"/>
              <a:gd name="connsiteY6" fmla="*/ 5450330 h 5682432"/>
              <a:gd name="connsiteX7" fmla="*/ 0 w 4064259"/>
              <a:gd name="connsiteY7" fmla="*/ 1445333 h 5682432"/>
              <a:gd name="connsiteX8" fmla="*/ 98758 w 4064259"/>
              <a:gd name="connsiteY8" fmla="*/ 1255328 h 5682432"/>
              <a:gd name="connsiteX9" fmla="*/ 1820968 w 4064259"/>
              <a:gd name="connsiteY9" fmla="*/ 62256 h 5682432"/>
              <a:gd name="connsiteX0" fmla="*/ 1820968 w 4001333"/>
              <a:gd name="connsiteY0" fmla="*/ 62256 h 5682432"/>
              <a:gd name="connsiteX1" fmla="*/ 3517637 w 4001333"/>
              <a:gd name="connsiteY1" fmla="*/ 64074 h 5682432"/>
              <a:gd name="connsiteX2" fmla="*/ 3968705 w 4001333"/>
              <a:gd name="connsiteY2" fmla="*/ 504787 h 5682432"/>
              <a:gd name="connsiteX3" fmla="*/ 3966192 w 4001333"/>
              <a:gd name="connsiteY3" fmla="*/ 4608267 h 5682432"/>
              <a:gd name="connsiteX4" fmla="*/ 2919142 w 4001333"/>
              <a:gd name="connsiteY4" fmla="*/ 5671511 h 5682432"/>
              <a:gd name="connsiteX5" fmla="*/ 232259 w 4001333"/>
              <a:gd name="connsiteY5" fmla="*/ 5682432 h 5682432"/>
              <a:gd name="connsiteX6" fmla="*/ 0 w 4001333"/>
              <a:gd name="connsiteY6" fmla="*/ 5450330 h 5682432"/>
              <a:gd name="connsiteX7" fmla="*/ 0 w 4001333"/>
              <a:gd name="connsiteY7" fmla="*/ 1445333 h 5682432"/>
              <a:gd name="connsiteX8" fmla="*/ 98758 w 4001333"/>
              <a:gd name="connsiteY8" fmla="*/ 1255328 h 5682432"/>
              <a:gd name="connsiteX9" fmla="*/ 1820968 w 4001333"/>
              <a:gd name="connsiteY9" fmla="*/ 62256 h 5682432"/>
              <a:gd name="connsiteX0" fmla="*/ 1820968 w 4074451"/>
              <a:gd name="connsiteY0" fmla="*/ 0 h 5620176"/>
              <a:gd name="connsiteX1" fmla="*/ 3517637 w 4074451"/>
              <a:gd name="connsiteY1" fmla="*/ 1818 h 5620176"/>
              <a:gd name="connsiteX2" fmla="*/ 3990547 w 4074451"/>
              <a:gd name="connsiteY2" fmla="*/ 671872 h 5620176"/>
              <a:gd name="connsiteX3" fmla="*/ 3966192 w 4074451"/>
              <a:gd name="connsiteY3" fmla="*/ 4546011 h 5620176"/>
              <a:gd name="connsiteX4" fmla="*/ 2919142 w 4074451"/>
              <a:gd name="connsiteY4" fmla="*/ 5609255 h 5620176"/>
              <a:gd name="connsiteX5" fmla="*/ 232259 w 4074451"/>
              <a:gd name="connsiteY5" fmla="*/ 5620176 h 5620176"/>
              <a:gd name="connsiteX6" fmla="*/ 0 w 4074451"/>
              <a:gd name="connsiteY6" fmla="*/ 5388074 h 5620176"/>
              <a:gd name="connsiteX7" fmla="*/ 0 w 4074451"/>
              <a:gd name="connsiteY7" fmla="*/ 1383077 h 5620176"/>
              <a:gd name="connsiteX8" fmla="*/ 98758 w 4074451"/>
              <a:gd name="connsiteY8" fmla="*/ 1193072 h 5620176"/>
              <a:gd name="connsiteX9" fmla="*/ 1820968 w 4074451"/>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054805"/>
              <a:gd name="connsiteY0" fmla="*/ 0 h 5620176"/>
              <a:gd name="connsiteX1" fmla="*/ 3517637 w 4054805"/>
              <a:gd name="connsiteY1" fmla="*/ 1818 h 5620176"/>
              <a:gd name="connsiteX2" fmla="*/ 3990547 w 4054805"/>
              <a:gd name="connsiteY2" fmla="*/ 671872 h 5620176"/>
              <a:gd name="connsiteX3" fmla="*/ 3966192 w 4054805"/>
              <a:gd name="connsiteY3" fmla="*/ 4546011 h 5620176"/>
              <a:gd name="connsiteX4" fmla="*/ 2919142 w 4054805"/>
              <a:gd name="connsiteY4" fmla="*/ 5609255 h 5620176"/>
              <a:gd name="connsiteX5" fmla="*/ 232259 w 4054805"/>
              <a:gd name="connsiteY5" fmla="*/ 5620176 h 5620176"/>
              <a:gd name="connsiteX6" fmla="*/ 0 w 4054805"/>
              <a:gd name="connsiteY6" fmla="*/ 5388074 h 5620176"/>
              <a:gd name="connsiteX7" fmla="*/ 0 w 4054805"/>
              <a:gd name="connsiteY7" fmla="*/ 1383077 h 5620176"/>
              <a:gd name="connsiteX8" fmla="*/ 98758 w 4054805"/>
              <a:gd name="connsiteY8" fmla="*/ 1193072 h 5620176"/>
              <a:gd name="connsiteX9" fmla="*/ 1820968 w 4054805"/>
              <a:gd name="connsiteY9" fmla="*/ 0 h 5620176"/>
              <a:gd name="connsiteX0" fmla="*/ 1820968 w 4114989"/>
              <a:gd name="connsiteY0" fmla="*/ 0 h 5620176"/>
              <a:gd name="connsiteX1" fmla="*/ 3517637 w 4114989"/>
              <a:gd name="connsiteY1" fmla="*/ 1818 h 5620176"/>
              <a:gd name="connsiteX2" fmla="*/ 3990547 w 4114989"/>
              <a:gd name="connsiteY2" fmla="*/ 671872 h 5620176"/>
              <a:gd name="connsiteX3" fmla="*/ 3966192 w 4114989"/>
              <a:gd name="connsiteY3" fmla="*/ 4546011 h 5620176"/>
              <a:gd name="connsiteX4" fmla="*/ 2919142 w 4114989"/>
              <a:gd name="connsiteY4" fmla="*/ 5609255 h 5620176"/>
              <a:gd name="connsiteX5" fmla="*/ 232259 w 4114989"/>
              <a:gd name="connsiteY5" fmla="*/ 5620176 h 5620176"/>
              <a:gd name="connsiteX6" fmla="*/ 0 w 4114989"/>
              <a:gd name="connsiteY6" fmla="*/ 5388074 h 5620176"/>
              <a:gd name="connsiteX7" fmla="*/ 0 w 4114989"/>
              <a:gd name="connsiteY7" fmla="*/ 1383077 h 5620176"/>
              <a:gd name="connsiteX8" fmla="*/ 98758 w 4114989"/>
              <a:gd name="connsiteY8" fmla="*/ 1193072 h 5620176"/>
              <a:gd name="connsiteX9" fmla="*/ 1820968 w 4114989"/>
              <a:gd name="connsiteY9" fmla="*/ 0 h 5620176"/>
              <a:gd name="connsiteX0" fmla="*/ 1820968 w 3992085"/>
              <a:gd name="connsiteY0" fmla="*/ 0 h 5620176"/>
              <a:gd name="connsiteX1" fmla="*/ 3517637 w 3992085"/>
              <a:gd name="connsiteY1" fmla="*/ 1818 h 5620176"/>
              <a:gd name="connsiteX2" fmla="*/ 3990547 w 3992085"/>
              <a:gd name="connsiteY2" fmla="*/ 671872 h 5620176"/>
              <a:gd name="connsiteX3" fmla="*/ 3966192 w 3992085"/>
              <a:gd name="connsiteY3" fmla="*/ 4546011 h 5620176"/>
              <a:gd name="connsiteX4" fmla="*/ 2919142 w 3992085"/>
              <a:gd name="connsiteY4" fmla="*/ 5609255 h 5620176"/>
              <a:gd name="connsiteX5" fmla="*/ 232259 w 3992085"/>
              <a:gd name="connsiteY5" fmla="*/ 5620176 h 5620176"/>
              <a:gd name="connsiteX6" fmla="*/ 0 w 3992085"/>
              <a:gd name="connsiteY6" fmla="*/ 5388074 h 5620176"/>
              <a:gd name="connsiteX7" fmla="*/ 0 w 3992085"/>
              <a:gd name="connsiteY7" fmla="*/ 1383077 h 5620176"/>
              <a:gd name="connsiteX8" fmla="*/ 98758 w 3992085"/>
              <a:gd name="connsiteY8" fmla="*/ 1193072 h 5620176"/>
              <a:gd name="connsiteX9" fmla="*/ 1820968 w 3992085"/>
              <a:gd name="connsiteY9" fmla="*/ 0 h 5620176"/>
              <a:gd name="connsiteX0" fmla="*/ 1820968 w 4063883"/>
              <a:gd name="connsiteY0" fmla="*/ 0 h 5620176"/>
              <a:gd name="connsiteX1" fmla="*/ 3517637 w 4063883"/>
              <a:gd name="connsiteY1" fmla="*/ 1818 h 5620176"/>
              <a:gd name="connsiteX2" fmla="*/ 4012389 w 4063883"/>
              <a:gd name="connsiteY2" fmla="*/ 518978 h 5620176"/>
              <a:gd name="connsiteX3" fmla="*/ 3966192 w 4063883"/>
              <a:gd name="connsiteY3" fmla="*/ 4546011 h 5620176"/>
              <a:gd name="connsiteX4" fmla="*/ 2919142 w 4063883"/>
              <a:gd name="connsiteY4" fmla="*/ 5609255 h 5620176"/>
              <a:gd name="connsiteX5" fmla="*/ 232259 w 4063883"/>
              <a:gd name="connsiteY5" fmla="*/ 5620176 h 5620176"/>
              <a:gd name="connsiteX6" fmla="*/ 0 w 4063883"/>
              <a:gd name="connsiteY6" fmla="*/ 5388074 h 5620176"/>
              <a:gd name="connsiteX7" fmla="*/ 0 w 4063883"/>
              <a:gd name="connsiteY7" fmla="*/ 1383077 h 5620176"/>
              <a:gd name="connsiteX8" fmla="*/ 98758 w 4063883"/>
              <a:gd name="connsiteY8" fmla="*/ 1193072 h 5620176"/>
              <a:gd name="connsiteX9" fmla="*/ 1820968 w 4063883"/>
              <a:gd name="connsiteY9" fmla="*/ 0 h 5620176"/>
              <a:gd name="connsiteX0" fmla="*/ 1820968 w 4060681"/>
              <a:gd name="connsiteY0" fmla="*/ 0 h 5620176"/>
              <a:gd name="connsiteX1" fmla="*/ 3517637 w 4060681"/>
              <a:gd name="connsiteY1" fmla="*/ 1818 h 5620176"/>
              <a:gd name="connsiteX2" fmla="*/ 4012389 w 4060681"/>
              <a:gd name="connsiteY2" fmla="*/ 518978 h 5620176"/>
              <a:gd name="connsiteX3" fmla="*/ 3966192 w 4060681"/>
              <a:gd name="connsiteY3" fmla="*/ 4546011 h 5620176"/>
              <a:gd name="connsiteX4" fmla="*/ 2919142 w 4060681"/>
              <a:gd name="connsiteY4" fmla="*/ 5609255 h 5620176"/>
              <a:gd name="connsiteX5" fmla="*/ 232259 w 4060681"/>
              <a:gd name="connsiteY5" fmla="*/ 5620176 h 5620176"/>
              <a:gd name="connsiteX6" fmla="*/ 0 w 4060681"/>
              <a:gd name="connsiteY6" fmla="*/ 5388074 h 5620176"/>
              <a:gd name="connsiteX7" fmla="*/ 0 w 4060681"/>
              <a:gd name="connsiteY7" fmla="*/ 1383077 h 5620176"/>
              <a:gd name="connsiteX8" fmla="*/ 98758 w 4060681"/>
              <a:gd name="connsiteY8" fmla="*/ 1193072 h 5620176"/>
              <a:gd name="connsiteX9" fmla="*/ 1820968 w 4060681"/>
              <a:gd name="connsiteY9" fmla="*/ 0 h 5620176"/>
              <a:gd name="connsiteX0" fmla="*/ 1820968 w 4012393"/>
              <a:gd name="connsiteY0" fmla="*/ 0 h 5620176"/>
              <a:gd name="connsiteX1" fmla="*/ 3517637 w 4012393"/>
              <a:gd name="connsiteY1" fmla="*/ 1818 h 5620176"/>
              <a:gd name="connsiteX2" fmla="*/ 4012389 w 4012393"/>
              <a:gd name="connsiteY2" fmla="*/ 518978 h 5620176"/>
              <a:gd name="connsiteX3" fmla="*/ 3966192 w 4012393"/>
              <a:gd name="connsiteY3" fmla="*/ 4546011 h 5620176"/>
              <a:gd name="connsiteX4" fmla="*/ 2919142 w 4012393"/>
              <a:gd name="connsiteY4" fmla="*/ 5609255 h 5620176"/>
              <a:gd name="connsiteX5" fmla="*/ 232259 w 4012393"/>
              <a:gd name="connsiteY5" fmla="*/ 5620176 h 5620176"/>
              <a:gd name="connsiteX6" fmla="*/ 0 w 4012393"/>
              <a:gd name="connsiteY6" fmla="*/ 5388074 h 5620176"/>
              <a:gd name="connsiteX7" fmla="*/ 0 w 4012393"/>
              <a:gd name="connsiteY7" fmla="*/ 1383077 h 5620176"/>
              <a:gd name="connsiteX8" fmla="*/ 98758 w 4012393"/>
              <a:gd name="connsiteY8" fmla="*/ 1193072 h 5620176"/>
              <a:gd name="connsiteX9" fmla="*/ 1820968 w 4012393"/>
              <a:gd name="connsiteY9" fmla="*/ 0 h 5620176"/>
              <a:gd name="connsiteX0" fmla="*/ 1820968 w 4012393"/>
              <a:gd name="connsiteY0" fmla="*/ 0 h 5620176"/>
              <a:gd name="connsiteX1" fmla="*/ 3517637 w 4012393"/>
              <a:gd name="connsiteY1" fmla="*/ 1818 h 5620176"/>
              <a:gd name="connsiteX2" fmla="*/ 4012389 w 4012393"/>
              <a:gd name="connsiteY2" fmla="*/ 518978 h 5620176"/>
              <a:gd name="connsiteX3" fmla="*/ 3966192 w 4012393"/>
              <a:gd name="connsiteY3" fmla="*/ 4546011 h 5620176"/>
              <a:gd name="connsiteX4" fmla="*/ 2919142 w 4012393"/>
              <a:gd name="connsiteY4" fmla="*/ 5609255 h 5620176"/>
              <a:gd name="connsiteX5" fmla="*/ 232259 w 4012393"/>
              <a:gd name="connsiteY5" fmla="*/ 5620176 h 5620176"/>
              <a:gd name="connsiteX6" fmla="*/ 0 w 4012393"/>
              <a:gd name="connsiteY6" fmla="*/ 5388074 h 5620176"/>
              <a:gd name="connsiteX7" fmla="*/ 0 w 4012393"/>
              <a:gd name="connsiteY7" fmla="*/ 1383077 h 5620176"/>
              <a:gd name="connsiteX8" fmla="*/ 98758 w 4012393"/>
              <a:gd name="connsiteY8" fmla="*/ 1193072 h 5620176"/>
              <a:gd name="connsiteX9" fmla="*/ 1820968 w 4012393"/>
              <a:gd name="connsiteY9" fmla="*/ 0 h 5620176"/>
              <a:gd name="connsiteX0" fmla="*/ 1820968 w 4069229"/>
              <a:gd name="connsiteY0" fmla="*/ 12844 h 5633020"/>
              <a:gd name="connsiteX1" fmla="*/ 3517637 w 4069229"/>
              <a:gd name="connsiteY1" fmla="*/ 14662 h 5633020"/>
              <a:gd name="connsiteX2" fmla="*/ 4031549 w 4069229"/>
              <a:gd name="connsiteY2" fmla="*/ 321067 h 5633020"/>
              <a:gd name="connsiteX3" fmla="*/ 3966192 w 4069229"/>
              <a:gd name="connsiteY3" fmla="*/ 4558855 h 5633020"/>
              <a:gd name="connsiteX4" fmla="*/ 2919142 w 4069229"/>
              <a:gd name="connsiteY4" fmla="*/ 5622099 h 5633020"/>
              <a:gd name="connsiteX5" fmla="*/ 232259 w 4069229"/>
              <a:gd name="connsiteY5" fmla="*/ 5633020 h 5633020"/>
              <a:gd name="connsiteX6" fmla="*/ 0 w 4069229"/>
              <a:gd name="connsiteY6" fmla="*/ 5400918 h 5633020"/>
              <a:gd name="connsiteX7" fmla="*/ 0 w 4069229"/>
              <a:gd name="connsiteY7" fmla="*/ 1395921 h 5633020"/>
              <a:gd name="connsiteX8" fmla="*/ 98758 w 4069229"/>
              <a:gd name="connsiteY8" fmla="*/ 1205916 h 5633020"/>
              <a:gd name="connsiteX9" fmla="*/ 1820968 w 4069229"/>
              <a:gd name="connsiteY9" fmla="*/ 12844 h 5633020"/>
              <a:gd name="connsiteX0" fmla="*/ 1820968 w 4082268"/>
              <a:gd name="connsiteY0" fmla="*/ 0 h 5620176"/>
              <a:gd name="connsiteX1" fmla="*/ 3517637 w 4082268"/>
              <a:gd name="connsiteY1" fmla="*/ 1818 h 5620176"/>
              <a:gd name="connsiteX2" fmla="*/ 4031549 w 4082268"/>
              <a:gd name="connsiteY2" fmla="*/ 308223 h 5620176"/>
              <a:gd name="connsiteX3" fmla="*/ 3966192 w 4082268"/>
              <a:gd name="connsiteY3" fmla="*/ 4546011 h 5620176"/>
              <a:gd name="connsiteX4" fmla="*/ 2919142 w 4082268"/>
              <a:gd name="connsiteY4" fmla="*/ 5609255 h 5620176"/>
              <a:gd name="connsiteX5" fmla="*/ 232259 w 4082268"/>
              <a:gd name="connsiteY5" fmla="*/ 5620176 h 5620176"/>
              <a:gd name="connsiteX6" fmla="*/ 0 w 4082268"/>
              <a:gd name="connsiteY6" fmla="*/ 5388074 h 5620176"/>
              <a:gd name="connsiteX7" fmla="*/ 0 w 4082268"/>
              <a:gd name="connsiteY7" fmla="*/ 1383077 h 5620176"/>
              <a:gd name="connsiteX8" fmla="*/ 98758 w 4082268"/>
              <a:gd name="connsiteY8" fmla="*/ 1193072 h 5620176"/>
              <a:gd name="connsiteX9" fmla="*/ 1820968 w 4082268"/>
              <a:gd name="connsiteY9" fmla="*/ 0 h 5620176"/>
              <a:gd name="connsiteX0" fmla="*/ 1820968 w 4040328"/>
              <a:gd name="connsiteY0" fmla="*/ 0 h 5620176"/>
              <a:gd name="connsiteX1" fmla="*/ 3517637 w 4040328"/>
              <a:gd name="connsiteY1" fmla="*/ 1818 h 5620176"/>
              <a:gd name="connsiteX2" fmla="*/ 4031549 w 4040328"/>
              <a:gd name="connsiteY2" fmla="*/ 308223 h 5620176"/>
              <a:gd name="connsiteX3" fmla="*/ 3966192 w 4040328"/>
              <a:gd name="connsiteY3" fmla="*/ 4546011 h 5620176"/>
              <a:gd name="connsiteX4" fmla="*/ 2919142 w 4040328"/>
              <a:gd name="connsiteY4" fmla="*/ 5609255 h 5620176"/>
              <a:gd name="connsiteX5" fmla="*/ 232259 w 4040328"/>
              <a:gd name="connsiteY5" fmla="*/ 5620176 h 5620176"/>
              <a:gd name="connsiteX6" fmla="*/ 0 w 4040328"/>
              <a:gd name="connsiteY6" fmla="*/ 5388074 h 5620176"/>
              <a:gd name="connsiteX7" fmla="*/ 0 w 4040328"/>
              <a:gd name="connsiteY7" fmla="*/ 1383077 h 5620176"/>
              <a:gd name="connsiteX8" fmla="*/ 98758 w 4040328"/>
              <a:gd name="connsiteY8" fmla="*/ 1193072 h 5620176"/>
              <a:gd name="connsiteX9" fmla="*/ 1820968 w 4040328"/>
              <a:gd name="connsiteY9" fmla="*/ 0 h 5620176"/>
              <a:gd name="connsiteX0" fmla="*/ 1820968 w 4038720"/>
              <a:gd name="connsiteY0" fmla="*/ 0 h 5620176"/>
              <a:gd name="connsiteX1" fmla="*/ 3517637 w 4038720"/>
              <a:gd name="connsiteY1" fmla="*/ 1818 h 5620176"/>
              <a:gd name="connsiteX2" fmla="*/ 4031549 w 4038720"/>
              <a:gd name="connsiteY2" fmla="*/ 308223 h 5620176"/>
              <a:gd name="connsiteX3" fmla="*/ 3966192 w 4038720"/>
              <a:gd name="connsiteY3" fmla="*/ 4546011 h 5620176"/>
              <a:gd name="connsiteX4" fmla="*/ 2919142 w 4038720"/>
              <a:gd name="connsiteY4" fmla="*/ 5609255 h 5620176"/>
              <a:gd name="connsiteX5" fmla="*/ 232259 w 4038720"/>
              <a:gd name="connsiteY5" fmla="*/ 5620176 h 5620176"/>
              <a:gd name="connsiteX6" fmla="*/ 0 w 4038720"/>
              <a:gd name="connsiteY6" fmla="*/ 5388074 h 5620176"/>
              <a:gd name="connsiteX7" fmla="*/ 0 w 4038720"/>
              <a:gd name="connsiteY7" fmla="*/ 1383077 h 5620176"/>
              <a:gd name="connsiteX8" fmla="*/ 98758 w 4038720"/>
              <a:gd name="connsiteY8" fmla="*/ 1193072 h 5620176"/>
              <a:gd name="connsiteX9" fmla="*/ 1820968 w 4038720"/>
              <a:gd name="connsiteY9" fmla="*/ 0 h 5620176"/>
              <a:gd name="connsiteX0" fmla="*/ 1820968 w 4057143"/>
              <a:gd name="connsiteY0" fmla="*/ 0 h 5620176"/>
              <a:gd name="connsiteX1" fmla="*/ 3517637 w 4057143"/>
              <a:gd name="connsiteY1" fmla="*/ 1818 h 5620176"/>
              <a:gd name="connsiteX2" fmla="*/ 3977839 w 4057143"/>
              <a:gd name="connsiteY2" fmla="*/ 317174 h 5620176"/>
              <a:gd name="connsiteX3" fmla="*/ 3966192 w 4057143"/>
              <a:gd name="connsiteY3" fmla="*/ 4546011 h 5620176"/>
              <a:gd name="connsiteX4" fmla="*/ 2919142 w 4057143"/>
              <a:gd name="connsiteY4" fmla="*/ 5609255 h 5620176"/>
              <a:gd name="connsiteX5" fmla="*/ 232259 w 4057143"/>
              <a:gd name="connsiteY5" fmla="*/ 5620176 h 5620176"/>
              <a:gd name="connsiteX6" fmla="*/ 0 w 4057143"/>
              <a:gd name="connsiteY6" fmla="*/ 5388074 h 5620176"/>
              <a:gd name="connsiteX7" fmla="*/ 0 w 4057143"/>
              <a:gd name="connsiteY7" fmla="*/ 1383077 h 5620176"/>
              <a:gd name="connsiteX8" fmla="*/ 98758 w 4057143"/>
              <a:gd name="connsiteY8" fmla="*/ 1193072 h 5620176"/>
              <a:gd name="connsiteX9" fmla="*/ 1820968 w 4057143"/>
              <a:gd name="connsiteY9" fmla="*/ 0 h 5620176"/>
              <a:gd name="connsiteX0" fmla="*/ 1820968 w 4043846"/>
              <a:gd name="connsiteY0" fmla="*/ 0 h 5620176"/>
              <a:gd name="connsiteX1" fmla="*/ 3517637 w 4043846"/>
              <a:gd name="connsiteY1" fmla="*/ 1818 h 5620176"/>
              <a:gd name="connsiteX2" fmla="*/ 3942033 w 4043846"/>
              <a:gd name="connsiteY2" fmla="*/ 335077 h 5620176"/>
              <a:gd name="connsiteX3" fmla="*/ 3966192 w 4043846"/>
              <a:gd name="connsiteY3" fmla="*/ 4546011 h 5620176"/>
              <a:gd name="connsiteX4" fmla="*/ 2919142 w 4043846"/>
              <a:gd name="connsiteY4" fmla="*/ 5609255 h 5620176"/>
              <a:gd name="connsiteX5" fmla="*/ 232259 w 4043846"/>
              <a:gd name="connsiteY5" fmla="*/ 5620176 h 5620176"/>
              <a:gd name="connsiteX6" fmla="*/ 0 w 4043846"/>
              <a:gd name="connsiteY6" fmla="*/ 5388074 h 5620176"/>
              <a:gd name="connsiteX7" fmla="*/ 0 w 4043846"/>
              <a:gd name="connsiteY7" fmla="*/ 1383077 h 5620176"/>
              <a:gd name="connsiteX8" fmla="*/ 98758 w 4043846"/>
              <a:gd name="connsiteY8" fmla="*/ 1193072 h 5620176"/>
              <a:gd name="connsiteX9" fmla="*/ 1820968 w 4043846"/>
              <a:gd name="connsiteY9" fmla="*/ 0 h 5620176"/>
              <a:gd name="connsiteX0" fmla="*/ 1820968 w 4043847"/>
              <a:gd name="connsiteY0" fmla="*/ 96101 h 5716277"/>
              <a:gd name="connsiteX1" fmla="*/ 3517637 w 4043847"/>
              <a:gd name="connsiteY1" fmla="*/ 97919 h 5716277"/>
              <a:gd name="connsiteX2" fmla="*/ 3942033 w 4043847"/>
              <a:gd name="connsiteY2" fmla="*/ 431178 h 5716277"/>
              <a:gd name="connsiteX3" fmla="*/ 3966192 w 4043847"/>
              <a:gd name="connsiteY3" fmla="*/ 4642112 h 5716277"/>
              <a:gd name="connsiteX4" fmla="*/ 2919142 w 4043847"/>
              <a:gd name="connsiteY4" fmla="*/ 5705356 h 5716277"/>
              <a:gd name="connsiteX5" fmla="*/ 232259 w 4043847"/>
              <a:gd name="connsiteY5" fmla="*/ 5716277 h 5716277"/>
              <a:gd name="connsiteX6" fmla="*/ 0 w 4043847"/>
              <a:gd name="connsiteY6" fmla="*/ 5484175 h 5716277"/>
              <a:gd name="connsiteX7" fmla="*/ 0 w 4043847"/>
              <a:gd name="connsiteY7" fmla="*/ 1479178 h 5716277"/>
              <a:gd name="connsiteX8" fmla="*/ 98758 w 4043847"/>
              <a:gd name="connsiteY8" fmla="*/ 1289173 h 5716277"/>
              <a:gd name="connsiteX9" fmla="*/ 1820968 w 4043847"/>
              <a:gd name="connsiteY9" fmla="*/ 96101 h 5716277"/>
              <a:gd name="connsiteX0" fmla="*/ 1820968 w 4037989"/>
              <a:gd name="connsiteY0" fmla="*/ 0 h 5620176"/>
              <a:gd name="connsiteX1" fmla="*/ 3517637 w 4037989"/>
              <a:gd name="connsiteY1" fmla="*/ 1818 h 5620176"/>
              <a:gd name="connsiteX2" fmla="*/ 3942033 w 4037989"/>
              <a:gd name="connsiteY2" fmla="*/ 335077 h 5620176"/>
              <a:gd name="connsiteX3" fmla="*/ 3966192 w 4037989"/>
              <a:gd name="connsiteY3" fmla="*/ 4546011 h 5620176"/>
              <a:gd name="connsiteX4" fmla="*/ 2919142 w 4037989"/>
              <a:gd name="connsiteY4" fmla="*/ 5609255 h 5620176"/>
              <a:gd name="connsiteX5" fmla="*/ 232259 w 4037989"/>
              <a:gd name="connsiteY5" fmla="*/ 5620176 h 5620176"/>
              <a:gd name="connsiteX6" fmla="*/ 0 w 4037989"/>
              <a:gd name="connsiteY6" fmla="*/ 5388074 h 5620176"/>
              <a:gd name="connsiteX7" fmla="*/ 0 w 4037989"/>
              <a:gd name="connsiteY7" fmla="*/ 1383077 h 5620176"/>
              <a:gd name="connsiteX8" fmla="*/ 98758 w 4037989"/>
              <a:gd name="connsiteY8" fmla="*/ 1193072 h 5620176"/>
              <a:gd name="connsiteX9" fmla="*/ 1820968 w 4037989"/>
              <a:gd name="connsiteY9" fmla="*/ 0 h 5620176"/>
              <a:gd name="connsiteX0" fmla="*/ 1820968 w 4037989"/>
              <a:gd name="connsiteY0" fmla="*/ 0 h 5620176"/>
              <a:gd name="connsiteX1" fmla="*/ 3517637 w 4037989"/>
              <a:gd name="connsiteY1" fmla="*/ 1818 h 5620176"/>
              <a:gd name="connsiteX2" fmla="*/ 3942033 w 4037989"/>
              <a:gd name="connsiteY2" fmla="*/ 335077 h 5620176"/>
              <a:gd name="connsiteX3" fmla="*/ 3966192 w 4037989"/>
              <a:gd name="connsiteY3" fmla="*/ 4546011 h 5620176"/>
              <a:gd name="connsiteX4" fmla="*/ 2919142 w 4037989"/>
              <a:gd name="connsiteY4" fmla="*/ 5609255 h 5620176"/>
              <a:gd name="connsiteX5" fmla="*/ 232259 w 4037989"/>
              <a:gd name="connsiteY5" fmla="*/ 5620176 h 5620176"/>
              <a:gd name="connsiteX6" fmla="*/ 0 w 4037989"/>
              <a:gd name="connsiteY6" fmla="*/ 5388074 h 5620176"/>
              <a:gd name="connsiteX7" fmla="*/ 0 w 4037989"/>
              <a:gd name="connsiteY7" fmla="*/ 1383077 h 5620176"/>
              <a:gd name="connsiteX8" fmla="*/ 98758 w 4037989"/>
              <a:gd name="connsiteY8" fmla="*/ 1193072 h 5620176"/>
              <a:gd name="connsiteX9" fmla="*/ 1820968 w 4037989"/>
              <a:gd name="connsiteY9" fmla="*/ 0 h 5620176"/>
              <a:gd name="connsiteX0" fmla="*/ 1820968 w 3973157"/>
              <a:gd name="connsiteY0" fmla="*/ 0 h 5620176"/>
              <a:gd name="connsiteX1" fmla="*/ 3517637 w 3973157"/>
              <a:gd name="connsiteY1" fmla="*/ 1818 h 5620176"/>
              <a:gd name="connsiteX2" fmla="*/ 3942033 w 3973157"/>
              <a:gd name="connsiteY2" fmla="*/ 335077 h 5620176"/>
              <a:gd name="connsiteX3" fmla="*/ 3966192 w 3973157"/>
              <a:gd name="connsiteY3" fmla="*/ 4546011 h 5620176"/>
              <a:gd name="connsiteX4" fmla="*/ 2919142 w 3973157"/>
              <a:gd name="connsiteY4" fmla="*/ 5609255 h 5620176"/>
              <a:gd name="connsiteX5" fmla="*/ 232259 w 3973157"/>
              <a:gd name="connsiteY5" fmla="*/ 5620176 h 5620176"/>
              <a:gd name="connsiteX6" fmla="*/ 0 w 3973157"/>
              <a:gd name="connsiteY6" fmla="*/ 5388074 h 5620176"/>
              <a:gd name="connsiteX7" fmla="*/ 0 w 3973157"/>
              <a:gd name="connsiteY7" fmla="*/ 1383077 h 5620176"/>
              <a:gd name="connsiteX8" fmla="*/ 98758 w 3973157"/>
              <a:gd name="connsiteY8" fmla="*/ 1193072 h 5620176"/>
              <a:gd name="connsiteX9" fmla="*/ 1820968 w 3973157"/>
              <a:gd name="connsiteY9" fmla="*/ 0 h 5620176"/>
              <a:gd name="connsiteX0" fmla="*/ 1820968 w 4035310"/>
              <a:gd name="connsiteY0" fmla="*/ 0 h 5620176"/>
              <a:gd name="connsiteX1" fmla="*/ 3517637 w 4035310"/>
              <a:gd name="connsiteY1" fmla="*/ 1818 h 5620176"/>
              <a:gd name="connsiteX2" fmla="*/ 3933081 w 4035310"/>
              <a:gd name="connsiteY2" fmla="*/ 549916 h 5620176"/>
              <a:gd name="connsiteX3" fmla="*/ 3966192 w 4035310"/>
              <a:gd name="connsiteY3" fmla="*/ 4546011 h 5620176"/>
              <a:gd name="connsiteX4" fmla="*/ 2919142 w 4035310"/>
              <a:gd name="connsiteY4" fmla="*/ 5609255 h 5620176"/>
              <a:gd name="connsiteX5" fmla="*/ 232259 w 4035310"/>
              <a:gd name="connsiteY5" fmla="*/ 5620176 h 5620176"/>
              <a:gd name="connsiteX6" fmla="*/ 0 w 4035310"/>
              <a:gd name="connsiteY6" fmla="*/ 5388074 h 5620176"/>
              <a:gd name="connsiteX7" fmla="*/ 0 w 4035310"/>
              <a:gd name="connsiteY7" fmla="*/ 1383077 h 5620176"/>
              <a:gd name="connsiteX8" fmla="*/ 98758 w 4035310"/>
              <a:gd name="connsiteY8" fmla="*/ 1193072 h 5620176"/>
              <a:gd name="connsiteX9" fmla="*/ 1820968 w 4035310"/>
              <a:gd name="connsiteY9" fmla="*/ 0 h 5620176"/>
              <a:gd name="connsiteX0" fmla="*/ 1820968 w 4030291"/>
              <a:gd name="connsiteY0" fmla="*/ 0 h 5620176"/>
              <a:gd name="connsiteX1" fmla="*/ 3517637 w 4030291"/>
              <a:gd name="connsiteY1" fmla="*/ 1818 h 5620176"/>
              <a:gd name="connsiteX2" fmla="*/ 3915178 w 4030291"/>
              <a:gd name="connsiteY2" fmla="*/ 469353 h 5620176"/>
              <a:gd name="connsiteX3" fmla="*/ 3966192 w 4030291"/>
              <a:gd name="connsiteY3" fmla="*/ 4546011 h 5620176"/>
              <a:gd name="connsiteX4" fmla="*/ 2919142 w 4030291"/>
              <a:gd name="connsiteY4" fmla="*/ 5609255 h 5620176"/>
              <a:gd name="connsiteX5" fmla="*/ 232259 w 4030291"/>
              <a:gd name="connsiteY5" fmla="*/ 5620176 h 5620176"/>
              <a:gd name="connsiteX6" fmla="*/ 0 w 4030291"/>
              <a:gd name="connsiteY6" fmla="*/ 5388074 h 5620176"/>
              <a:gd name="connsiteX7" fmla="*/ 0 w 4030291"/>
              <a:gd name="connsiteY7" fmla="*/ 1383077 h 5620176"/>
              <a:gd name="connsiteX8" fmla="*/ 98758 w 4030291"/>
              <a:gd name="connsiteY8" fmla="*/ 1193072 h 5620176"/>
              <a:gd name="connsiteX9" fmla="*/ 1820968 w 4030291"/>
              <a:gd name="connsiteY9" fmla="*/ 0 h 5620176"/>
              <a:gd name="connsiteX0" fmla="*/ 1820968 w 4025909"/>
              <a:gd name="connsiteY0" fmla="*/ 0 h 5620176"/>
              <a:gd name="connsiteX1" fmla="*/ 3517637 w 4025909"/>
              <a:gd name="connsiteY1" fmla="*/ 1818 h 5620176"/>
              <a:gd name="connsiteX2" fmla="*/ 3915178 w 4025909"/>
              <a:gd name="connsiteY2" fmla="*/ 469353 h 5620176"/>
              <a:gd name="connsiteX3" fmla="*/ 3966192 w 4025909"/>
              <a:gd name="connsiteY3" fmla="*/ 4546011 h 5620176"/>
              <a:gd name="connsiteX4" fmla="*/ 2919142 w 4025909"/>
              <a:gd name="connsiteY4" fmla="*/ 5609255 h 5620176"/>
              <a:gd name="connsiteX5" fmla="*/ 232259 w 4025909"/>
              <a:gd name="connsiteY5" fmla="*/ 5620176 h 5620176"/>
              <a:gd name="connsiteX6" fmla="*/ 0 w 4025909"/>
              <a:gd name="connsiteY6" fmla="*/ 5388074 h 5620176"/>
              <a:gd name="connsiteX7" fmla="*/ 0 w 4025909"/>
              <a:gd name="connsiteY7" fmla="*/ 1383077 h 5620176"/>
              <a:gd name="connsiteX8" fmla="*/ 98758 w 4025909"/>
              <a:gd name="connsiteY8" fmla="*/ 1193072 h 5620176"/>
              <a:gd name="connsiteX9" fmla="*/ 1820968 w 4025909"/>
              <a:gd name="connsiteY9" fmla="*/ 0 h 5620176"/>
              <a:gd name="connsiteX0" fmla="*/ 1820968 w 4028866"/>
              <a:gd name="connsiteY0" fmla="*/ 0 h 5620176"/>
              <a:gd name="connsiteX1" fmla="*/ 3517637 w 4028866"/>
              <a:gd name="connsiteY1" fmla="*/ 1818 h 5620176"/>
              <a:gd name="connsiteX2" fmla="*/ 3915178 w 4028866"/>
              <a:gd name="connsiteY2" fmla="*/ 469353 h 5620176"/>
              <a:gd name="connsiteX3" fmla="*/ 3966192 w 4028866"/>
              <a:gd name="connsiteY3" fmla="*/ 4546011 h 5620176"/>
              <a:gd name="connsiteX4" fmla="*/ 2919142 w 4028866"/>
              <a:gd name="connsiteY4" fmla="*/ 5609255 h 5620176"/>
              <a:gd name="connsiteX5" fmla="*/ 232259 w 4028866"/>
              <a:gd name="connsiteY5" fmla="*/ 5620176 h 5620176"/>
              <a:gd name="connsiteX6" fmla="*/ 0 w 4028866"/>
              <a:gd name="connsiteY6" fmla="*/ 5388074 h 5620176"/>
              <a:gd name="connsiteX7" fmla="*/ 0 w 4028866"/>
              <a:gd name="connsiteY7" fmla="*/ 1383077 h 5620176"/>
              <a:gd name="connsiteX8" fmla="*/ 98758 w 4028866"/>
              <a:gd name="connsiteY8" fmla="*/ 1193072 h 5620176"/>
              <a:gd name="connsiteX9" fmla="*/ 1820968 w 4028866"/>
              <a:gd name="connsiteY9" fmla="*/ 0 h 5620176"/>
              <a:gd name="connsiteX0" fmla="*/ 1820968 w 4031247"/>
              <a:gd name="connsiteY0" fmla="*/ 0 h 5620176"/>
              <a:gd name="connsiteX1" fmla="*/ 3517637 w 4031247"/>
              <a:gd name="connsiteY1" fmla="*/ 1818 h 5620176"/>
              <a:gd name="connsiteX2" fmla="*/ 3924131 w 4031247"/>
              <a:gd name="connsiteY2" fmla="*/ 308224 h 5620176"/>
              <a:gd name="connsiteX3" fmla="*/ 3966192 w 4031247"/>
              <a:gd name="connsiteY3" fmla="*/ 4546011 h 5620176"/>
              <a:gd name="connsiteX4" fmla="*/ 2919142 w 4031247"/>
              <a:gd name="connsiteY4" fmla="*/ 5609255 h 5620176"/>
              <a:gd name="connsiteX5" fmla="*/ 232259 w 4031247"/>
              <a:gd name="connsiteY5" fmla="*/ 5620176 h 5620176"/>
              <a:gd name="connsiteX6" fmla="*/ 0 w 4031247"/>
              <a:gd name="connsiteY6" fmla="*/ 5388074 h 5620176"/>
              <a:gd name="connsiteX7" fmla="*/ 0 w 4031247"/>
              <a:gd name="connsiteY7" fmla="*/ 1383077 h 5620176"/>
              <a:gd name="connsiteX8" fmla="*/ 98758 w 4031247"/>
              <a:gd name="connsiteY8" fmla="*/ 1193072 h 5620176"/>
              <a:gd name="connsiteX9" fmla="*/ 1820968 w 4031247"/>
              <a:gd name="connsiteY9" fmla="*/ 0 h 5620176"/>
              <a:gd name="connsiteX0" fmla="*/ 1820968 w 4031456"/>
              <a:gd name="connsiteY0" fmla="*/ 0 h 5620176"/>
              <a:gd name="connsiteX1" fmla="*/ 3517637 w 4031456"/>
              <a:gd name="connsiteY1" fmla="*/ 1818 h 5620176"/>
              <a:gd name="connsiteX2" fmla="*/ 3924131 w 4031456"/>
              <a:gd name="connsiteY2" fmla="*/ 308224 h 5620176"/>
              <a:gd name="connsiteX3" fmla="*/ 3966192 w 4031456"/>
              <a:gd name="connsiteY3" fmla="*/ 4546011 h 5620176"/>
              <a:gd name="connsiteX4" fmla="*/ 2919142 w 4031456"/>
              <a:gd name="connsiteY4" fmla="*/ 5609255 h 5620176"/>
              <a:gd name="connsiteX5" fmla="*/ 232259 w 4031456"/>
              <a:gd name="connsiteY5" fmla="*/ 5620176 h 5620176"/>
              <a:gd name="connsiteX6" fmla="*/ 0 w 4031456"/>
              <a:gd name="connsiteY6" fmla="*/ 5388074 h 5620176"/>
              <a:gd name="connsiteX7" fmla="*/ 0 w 4031456"/>
              <a:gd name="connsiteY7" fmla="*/ 1383077 h 5620176"/>
              <a:gd name="connsiteX8" fmla="*/ 98758 w 4031456"/>
              <a:gd name="connsiteY8" fmla="*/ 1193072 h 5620176"/>
              <a:gd name="connsiteX9" fmla="*/ 1820968 w 4031456"/>
              <a:gd name="connsiteY9" fmla="*/ 0 h 5620176"/>
              <a:gd name="connsiteX0" fmla="*/ 1820968 w 4038829"/>
              <a:gd name="connsiteY0" fmla="*/ 104452 h 5724628"/>
              <a:gd name="connsiteX1" fmla="*/ 3723525 w 4038829"/>
              <a:gd name="connsiteY1" fmla="*/ 124173 h 5724628"/>
              <a:gd name="connsiteX2" fmla="*/ 3924131 w 4038829"/>
              <a:gd name="connsiteY2" fmla="*/ 412676 h 5724628"/>
              <a:gd name="connsiteX3" fmla="*/ 3966192 w 4038829"/>
              <a:gd name="connsiteY3" fmla="*/ 4650463 h 5724628"/>
              <a:gd name="connsiteX4" fmla="*/ 2919142 w 4038829"/>
              <a:gd name="connsiteY4" fmla="*/ 5713707 h 5724628"/>
              <a:gd name="connsiteX5" fmla="*/ 232259 w 4038829"/>
              <a:gd name="connsiteY5" fmla="*/ 5724628 h 5724628"/>
              <a:gd name="connsiteX6" fmla="*/ 0 w 4038829"/>
              <a:gd name="connsiteY6" fmla="*/ 5492526 h 5724628"/>
              <a:gd name="connsiteX7" fmla="*/ 0 w 4038829"/>
              <a:gd name="connsiteY7" fmla="*/ 1487529 h 5724628"/>
              <a:gd name="connsiteX8" fmla="*/ 98758 w 4038829"/>
              <a:gd name="connsiteY8" fmla="*/ 1297524 h 5724628"/>
              <a:gd name="connsiteX9" fmla="*/ 1820968 w 4038829"/>
              <a:gd name="connsiteY9" fmla="*/ 104452 h 5724628"/>
              <a:gd name="connsiteX0" fmla="*/ 1820968 w 4038829"/>
              <a:gd name="connsiteY0" fmla="*/ 124809 h 5744985"/>
              <a:gd name="connsiteX1" fmla="*/ 3723525 w 4038829"/>
              <a:gd name="connsiteY1" fmla="*/ 144530 h 5744985"/>
              <a:gd name="connsiteX2" fmla="*/ 3924131 w 4038829"/>
              <a:gd name="connsiteY2" fmla="*/ 433033 h 5744985"/>
              <a:gd name="connsiteX3" fmla="*/ 3966192 w 4038829"/>
              <a:gd name="connsiteY3" fmla="*/ 4670820 h 5744985"/>
              <a:gd name="connsiteX4" fmla="*/ 2919142 w 4038829"/>
              <a:gd name="connsiteY4" fmla="*/ 5734064 h 5744985"/>
              <a:gd name="connsiteX5" fmla="*/ 232259 w 4038829"/>
              <a:gd name="connsiteY5" fmla="*/ 5744985 h 5744985"/>
              <a:gd name="connsiteX6" fmla="*/ 0 w 4038829"/>
              <a:gd name="connsiteY6" fmla="*/ 5512883 h 5744985"/>
              <a:gd name="connsiteX7" fmla="*/ 0 w 4038829"/>
              <a:gd name="connsiteY7" fmla="*/ 1507886 h 5744985"/>
              <a:gd name="connsiteX8" fmla="*/ 98758 w 4038829"/>
              <a:gd name="connsiteY8" fmla="*/ 1317881 h 5744985"/>
              <a:gd name="connsiteX9" fmla="*/ 1820968 w 4038829"/>
              <a:gd name="connsiteY9" fmla="*/ 124809 h 5744985"/>
              <a:gd name="connsiteX0" fmla="*/ 1820968 w 4031921"/>
              <a:gd name="connsiteY0" fmla="*/ 0 h 5620176"/>
              <a:gd name="connsiteX1" fmla="*/ 3723525 w 4031921"/>
              <a:gd name="connsiteY1" fmla="*/ 19721 h 5620176"/>
              <a:gd name="connsiteX2" fmla="*/ 3924131 w 4031921"/>
              <a:gd name="connsiteY2" fmla="*/ 308224 h 5620176"/>
              <a:gd name="connsiteX3" fmla="*/ 3966192 w 4031921"/>
              <a:gd name="connsiteY3" fmla="*/ 4546011 h 5620176"/>
              <a:gd name="connsiteX4" fmla="*/ 2919142 w 4031921"/>
              <a:gd name="connsiteY4" fmla="*/ 5609255 h 5620176"/>
              <a:gd name="connsiteX5" fmla="*/ 232259 w 4031921"/>
              <a:gd name="connsiteY5" fmla="*/ 5620176 h 5620176"/>
              <a:gd name="connsiteX6" fmla="*/ 0 w 4031921"/>
              <a:gd name="connsiteY6" fmla="*/ 5388074 h 5620176"/>
              <a:gd name="connsiteX7" fmla="*/ 0 w 4031921"/>
              <a:gd name="connsiteY7" fmla="*/ 1383077 h 5620176"/>
              <a:gd name="connsiteX8" fmla="*/ 98758 w 4031921"/>
              <a:gd name="connsiteY8" fmla="*/ 1193072 h 5620176"/>
              <a:gd name="connsiteX9" fmla="*/ 1820968 w 4031921"/>
              <a:gd name="connsiteY9" fmla="*/ 0 h 5620176"/>
              <a:gd name="connsiteX0" fmla="*/ 1820968 w 3966823"/>
              <a:gd name="connsiteY0" fmla="*/ 0 h 5620176"/>
              <a:gd name="connsiteX1" fmla="*/ 3723525 w 3966823"/>
              <a:gd name="connsiteY1" fmla="*/ 19721 h 5620176"/>
              <a:gd name="connsiteX2" fmla="*/ 3924131 w 3966823"/>
              <a:gd name="connsiteY2" fmla="*/ 308224 h 5620176"/>
              <a:gd name="connsiteX3" fmla="*/ 3966192 w 3966823"/>
              <a:gd name="connsiteY3" fmla="*/ 4546011 h 5620176"/>
              <a:gd name="connsiteX4" fmla="*/ 2919142 w 3966823"/>
              <a:gd name="connsiteY4" fmla="*/ 5609255 h 5620176"/>
              <a:gd name="connsiteX5" fmla="*/ 232259 w 3966823"/>
              <a:gd name="connsiteY5" fmla="*/ 5620176 h 5620176"/>
              <a:gd name="connsiteX6" fmla="*/ 0 w 3966823"/>
              <a:gd name="connsiteY6" fmla="*/ 5388074 h 5620176"/>
              <a:gd name="connsiteX7" fmla="*/ 0 w 3966823"/>
              <a:gd name="connsiteY7" fmla="*/ 1383077 h 5620176"/>
              <a:gd name="connsiteX8" fmla="*/ 98758 w 3966823"/>
              <a:gd name="connsiteY8" fmla="*/ 1193072 h 5620176"/>
              <a:gd name="connsiteX9" fmla="*/ 1820968 w 3966823"/>
              <a:gd name="connsiteY9" fmla="*/ 0 h 5620176"/>
              <a:gd name="connsiteX0" fmla="*/ 1820968 w 4039827"/>
              <a:gd name="connsiteY0" fmla="*/ 0 h 5620176"/>
              <a:gd name="connsiteX1" fmla="*/ 3723525 w 4039827"/>
              <a:gd name="connsiteY1" fmla="*/ 19721 h 5620176"/>
              <a:gd name="connsiteX2" fmla="*/ 3950986 w 4039827"/>
              <a:gd name="connsiteY2" fmla="*/ 352982 h 5620176"/>
              <a:gd name="connsiteX3" fmla="*/ 3966192 w 4039827"/>
              <a:gd name="connsiteY3" fmla="*/ 4546011 h 5620176"/>
              <a:gd name="connsiteX4" fmla="*/ 2919142 w 4039827"/>
              <a:gd name="connsiteY4" fmla="*/ 5609255 h 5620176"/>
              <a:gd name="connsiteX5" fmla="*/ 232259 w 4039827"/>
              <a:gd name="connsiteY5" fmla="*/ 5620176 h 5620176"/>
              <a:gd name="connsiteX6" fmla="*/ 0 w 4039827"/>
              <a:gd name="connsiteY6" fmla="*/ 5388074 h 5620176"/>
              <a:gd name="connsiteX7" fmla="*/ 0 w 4039827"/>
              <a:gd name="connsiteY7" fmla="*/ 1383077 h 5620176"/>
              <a:gd name="connsiteX8" fmla="*/ 98758 w 4039827"/>
              <a:gd name="connsiteY8" fmla="*/ 1193072 h 5620176"/>
              <a:gd name="connsiteX9" fmla="*/ 1820968 w 4039827"/>
              <a:gd name="connsiteY9" fmla="*/ 0 h 5620176"/>
              <a:gd name="connsiteX0" fmla="*/ 1820968 w 4049324"/>
              <a:gd name="connsiteY0" fmla="*/ 109447 h 5729623"/>
              <a:gd name="connsiteX1" fmla="*/ 3687718 w 4049324"/>
              <a:gd name="connsiteY1" fmla="*/ 111265 h 5729623"/>
              <a:gd name="connsiteX2" fmla="*/ 3950986 w 4049324"/>
              <a:gd name="connsiteY2" fmla="*/ 462429 h 5729623"/>
              <a:gd name="connsiteX3" fmla="*/ 3966192 w 4049324"/>
              <a:gd name="connsiteY3" fmla="*/ 4655458 h 5729623"/>
              <a:gd name="connsiteX4" fmla="*/ 2919142 w 4049324"/>
              <a:gd name="connsiteY4" fmla="*/ 5718702 h 5729623"/>
              <a:gd name="connsiteX5" fmla="*/ 232259 w 4049324"/>
              <a:gd name="connsiteY5" fmla="*/ 5729623 h 5729623"/>
              <a:gd name="connsiteX6" fmla="*/ 0 w 4049324"/>
              <a:gd name="connsiteY6" fmla="*/ 5497521 h 5729623"/>
              <a:gd name="connsiteX7" fmla="*/ 0 w 4049324"/>
              <a:gd name="connsiteY7" fmla="*/ 1492524 h 5729623"/>
              <a:gd name="connsiteX8" fmla="*/ 98758 w 4049324"/>
              <a:gd name="connsiteY8" fmla="*/ 1302519 h 5729623"/>
              <a:gd name="connsiteX9" fmla="*/ 1820968 w 4049324"/>
              <a:gd name="connsiteY9" fmla="*/ 109447 h 5729623"/>
              <a:gd name="connsiteX0" fmla="*/ 1820968 w 4039210"/>
              <a:gd name="connsiteY0" fmla="*/ 0 h 5620176"/>
              <a:gd name="connsiteX1" fmla="*/ 3687718 w 4039210"/>
              <a:gd name="connsiteY1" fmla="*/ 1818 h 5620176"/>
              <a:gd name="connsiteX2" fmla="*/ 3950986 w 4039210"/>
              <a:gd name="connsiteY2" fmla="*/ 352982 h 5620176"/>
              <a:gd name="connsiteX3" fmla="*/ 3966192 w 4039210"/>
              <a:gd name="connsiteY3" fmla="*/ 4546011 h 5620176"/>
              <a:gd name="connsiteX4" fmla="*/ 2919142 w 4039210"/>
              <a:gd name="connsiteY4" fmla="*/ 5609255 h 5620176"/>
              <a:gd name="connsiteX5" fmla="*/ 232259 w 4039210"/>
              <a:gd name="connsiteY5" fmla="*/ 5620176 h 5620176"/>
              <a:gd name="connsiteX6" fmla="*/ 0 w 4039210"/>
              <a:gd name="connsiteY6" fmla="*/ 5388074 h 5620176"/>
              <a:gd name="connsiteX7" fmla="*/ 0 w 4039210"/>
              <a:gd name="connsiteY7" fmla="*/ 1383077 h 5620176"/>
              <a:gd name="connsiteX8" fmla="*/ 98758 w 4039210"/>
              <a:gd name="connsiteY8" fmla="*/ 1193072 h 5620176"/>
              <a:gd name="connsiteX9" fmla="*/ 1820968 w 4039210"/>
              <a:gd name="connsiteY9" fmla="*/ 0 h 5620176"/>
              <a:gd name="connsiteX0" fmla="*/ 1820968 w 3966352"/>
              <a:gd name="connsiteY0" fmla="*/ 0 h 5620176"/>
              <a:gd name="connsiteX1" fmla="*/ 3687718 w 3966352"/>
              <a:gd name="connsiteY1" fmla="*/ 1818 h 5620176"/>
              <a:gd name="connsiteX2" fmla="*/ 3950986 w 3966352"/>
              <a:gd name="connsiteY2" fmla="*/ 352982 h 5620176"/>
              <a:gd name="connsiteX3" fmla="*/ 3966192 w 3966352"/>
              <a:gd name="connsiteY3" fmla="*/ 4546011 h 5620176"/>
              <a:gd name="connsiteX4" fmla="*/ 2919142 w 3966352"/>
              <a:gd name="connsiteY4" fmla="*/ 5609255 h 5620176"/>
              <a:gd name="connsiteX5" fmla="*/ 232259 w 3966352"/>
              <a:gd name="connsiteY5" fmla="*/ 5620176 h 5620176"/>
              <a:gd name="connsiteX6" fmla="*/ 0 w 3966352"/>
              <a:gd name="connsiteY6" fmla="*/ 5388074 h 5620176"/>
              <a:gd name="connsiteX7" fmla="*/ 0 w 3966352"/>
              <a:gd name="connsiteY7" fmla="*/ 1383077 h 5620176"/>
              <a:gd name="connsiteX8" fmla="*/ 98758 w 3966352"/>
              <a:gd name="connsiteY8" fmla="*/ 1193072 h 5620176"/>
              <a:gd name="connsiteX9" fmla="*/ 1820968 w 3966352"/>
              <a:gd name="connsiteY9" fmla="*/ 0 h 5620176"/>
              <a:gd name="connsiteX0" fmla="*/ 1820968 w 3966491"/>
              <a:gd name="connsiteY0" fmla="*/ 0 h 5620176"/>
              <a:gd name="connsiteX1" fmla="*/ 3687718 w 3966491"/>
              <a:gd name="connsiteY1" fmla="*/ 1818 h 5620176"/>
              <a:gd name="connsiteX2" fmla="*/ 3950986 w 3966491"/>
              <a:gd name="connsiteY2" fmla="*/ 352982 h 5620176"/>
              <a:gd name="connsiteX3" fmla="*/ 3966192 w 3966491"/>
              <a:gd name="connsiteY3" fmla="*/ 4546011 h 5620176"/>
              <a:gd name="connsiteX4" fmla="*/ 2919142 w 3966491"/>
              <a:gd name="connsiteY4" fmla="*/ 5609255 h 5620176"/>
              <a:gd name="connsiteX5" fmla="*/ 232259 w 3966491"/>
              <a:gd name="connsiteY5" fmla="*/ 5620176 h 5620176"/>
              <a:gd name="connsiteX6" fmla="*/ 0 w 3966491"/>
              <a:gd name="connsiteY6" fmla="*/ 5388074 h 5620176"/>
              <a:gd name="connsiteX7" fmla="*/ 0 w 3966491"/>
              <a:gd name="connsiteY7" fmla="*/ 1383077 h 5620176"/>
              <a:gd name="connsiteX8" fmla="*/ 98758 w 3966491"/>
              <a:gd name="connsiteY8" fmla="*/ 1193072 h 5620176"/>
              <a:gd name="connsiteX9" fmla="*/ 1820968 w 3966491"/>
              <a:gd name="connsiteY9" fmla="*/ 0 h 5620176"/>
              <a:gd name="connsiteX0" fmla="*/ 1319679 w 3966490"/>
              <a:gd name="connsiteY0" fmla="*/ 17513 h 5619785"/>
              <a:gd name="connsiteX1" fmla="*/ 3687718 w 3966490"/>
              <a:gd name="connsiteY1" fmla="*/ 1427 h 5619785"/>
              <a:gd name="connsiteX2" fmla="*/ 3950986 w 3966490"/>
              <a:gd name="connsiteY2" fmla="*/ 352591 h 5619785"/>
              <a:gd name="connsiteX3" fmla="*/ 3966192 w 3966490"/>
              <a:gd name="connsiteY3" fmla="*/ 4545620 h 5619785"/>
              <a:gd name="connsiteX4" fmla="*/ 2919142 w 3966490"/>
              <a:gd name="connsiteY4" fmla="*/ 5608864 h 5619785"/>
              <a:gd name="connsiteX5" fmla="*/ 232259 w 3966490"/>
              <a:gd name="connsiteY5" fmla="*/ 5619785 h 5619785"/>
              <a:gd name="connsiteX6" fmla="*/ 0 w 3966490"/>
              <a:gd name="connsiteY6" fmla="*/ 5387683 h 5619785"/>
              <a:gd name="connsiteX7" fmla="*/ 0 w 3966490"/>
              <a:gd name="connsiteY7" fmla="*/ 1382686 h 5619785"/>
              <a:gd name="connsiteX8" fmla="*/ 98758 w 3966490"/>
              <a:gd name="connsiteY8" fmla="*/ 1192681 h 5619785"/>
              <a:gd name="connsiteX9" fmla="*/ 1319679 w 3966490"/>
              <a:gd name="connsiteY9" fmla="*/ 17513 h 5619785"/>
              <a:gd name="connsiteX0" fmla="*/ 1319679 w 3966490"/>
              <a:gd name="connsiteY0" fmla="*/ 17513 h 5619785"/>
              <a:gd name="connsiteX1" fmla="*/ 3687718 w 3966490"/>
              <a:gd name="connsiteY1" fmla="*/ 1427 h 5619785"/>
              <a:gd name="connsiteX2" fmla="*/ 3950986 w 3966490"/>
              <a:gd name="connsiteY2" fmla="*/ 352591 h 5619785"/>
              <a:gd name="connsiteX3" fmla="*/ 3966192 w 3966490"/>
              <a:gd name="connsiteY3" fmla="*/ 4545620 h 5619785"/>
              <a:gd name="connsiteX4" fmla="*/ 2919142 w 3966490"/>
              <a:gd name="connsiteY4" fmla="*/ 5608864 h 5619785"/>
              <a:gd name="connsiteX5" fmla="*/ 232259 w 3966490"/>
              <a:gd name="connsiteY5" fmla="*/ 5619785 h 5619785"/>
              <a:gd name="connsiteX6" fmla="*/ 0 w 3966490"/>
              <a:gd name="connsiteY6" fmla="*/ 5387683 h 5619785"/>
              <a:gd name="connsiteX7" fmla="*/ 0 w 3966490"/>
              <a:gd name="connsiteY7" fmla="*/ 1382686 h 5619785"/>
              <a:gd name="connsiteX8" fmla="*/ 116661 w 3966490"/>
              <a:gd name="connsiteY8" fmla="*/ 959939 h 5619785"/>
              <a:gd name="connsiteX9" fmla="*/ 1319679 w 3966490"/>
              <a:gd name="connsiteY9" fmla="*/ 17513 h 5619785"/>
              <a:gd name="connsiteX0" fmla="*/ 1337582 w 3984393"/>
              <a:gd name="connsiteY0" fmla="*/ 17513 h 5619785"/>
              <a:gd name="connsiteX1" fmla="*/ 3705621 w 3984393"/>
              <a:gd name="connsiteY1" fmla="*/ 1427 h 5619785"/>
              <a:gd name="connsiteX2" fmla="*/ 3968889 w 3984393"/>
              <a:gd name="connsiteY2" fmla="*/ 352591 h 5619785"/>
              <a:gd name="connsiteX3" fmla="*/ 3984095 w 3984393"/>
              <a:gd name="connsiteY3" fmla="*/ 4545620 h 5619785"/>
              <a:gd name="connsiteX4" fmla="*/ 2937045 w 3984393"/>
              <a:gd name="connsiteY4" fmla="*/ 5608864 h 5619785"/>
              <a:gd name="connsiteX5" fmla="*/ 250162 w 3984393"/>
              <a:gd name="connsiteY5" fmla="*/ 5619785 h 5619785"/>
              <a:gd name="connsiteX6" fmla="*/ 17903 w 3984393"/>
              <a:gd name="connsiteY6" fmla="*/ 5387683 h 5619785"/>
              <a:gd name="connsiteX7" fmla="*/ 0 w 3984393"/>
              <a:gd name="connsiteY7" fmla="*/ 1176799 h 5619785"/>
              <a:gd name="connsiteX8" fmla="*/ 134564 w 3984393"/>
              <a:gd name="connsiteY8" fmla="*/ 959939 h 5619785"/>
              <a:gd name="connsiteX9" fmla="*/ 1337582 w 3984393"/>
              <a:gd name="connsiteY9" fmla="*/ 17513 h 561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84393" h="5619785">
                <a:moveTo>
                  <a:pt x="1337582" y="17513"/>
                </a:moveTo>
                <a:lnTo>
                  <a:pt x="3705621" y="1427"/>
                </a:lnTo>
                <a:cubicBezTo>
                  <a:pt x="3710019" y="-5388"/>
                  <a:pt x="3967236" y="-1952"/>
                  <a:pt x="3968889" y="352591"/>
                </a:cubicBezTo>
                <a:cubicBezTo>
                  <a:pt x="3970542" y="707134"/>
                  <a:pt x="3977923" y="4540584"/>
                  <a:pt x="3984095" y="4545620"/>
                </a:cubicBezTo>
                <a:cubicBezTo>
                  <a:pt x="4004664" y="4562403"/>
                  <a:pt x="2956922" y="5608783"/>
                  <a:pt x="2937045" y="5608864"/>
                </a:cubicBezTo>
                <a:lnTo>
                  <a:pt x="250162" y="5619785"/>
                </a:lnTo>
                <a:cubicBezTo>
                  <a:pt x="121879" y="5619785"/>
                  <a:pt x="17903" y="5515879"/>
                  <a:pt x="17903" y="5387683"/>
                </a:cubicBezTo>
                <a:cubicBezTo>
                  <a:pt x="11935" y="3984055"/>
                  <a:pt x="5968" y="2580427"/>
                  <a:pt x="0" y="1176799"/>
                </a:cubicBezTo>
                <a:cubicBezTo>
                  <a:pt x="0" y="1101128"/>
                  <a:pt x="72713" y="1003434"/>
                  <a:pt x="134564" y="959939"/>
                </a:cubicBezTo>
                <a:lnTo>
                  <a:pt x="1337582" y="17513"/>
                </a:lnTo>
                <a:close/>
              </a:path>
            </a:pathLst>
          </a:custGeom>
        </p:spPr>
      </p:pic>
      <p:sp>
        <p:nvSpPr>
          <p:cNvPr id="8" name="TextBox 1">
            <a:extLst>
              <a:ext uri="{FF2B5EF4-FFF2-40B4-BE49-F238E27FC236}">
                <a16:creationId xmlns:a16="http://schemas.microsoft.com/office/drawing/2014/main" id="{6EA25B04-3674-CA47-885E-1852CF299ED7}"/>
              </a:ext>
            </a:extLst>
          </p:cNvPr>
          <p:cNvSpPr txBox="1"/>
          <p:nvPr/>
        </p:nvSpPr>
        <p:spPr>
          <a:xfrm>
            <a:off x="9394816" y="5540283"/>
            <a:ext cx="25365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atest Update: </a:t>
            </a:r>
            <a:r>
              <a:rPr kumimoji="0" lang="en-US" sz="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January 31, 2025</a:t>
            </a:r>
          </a:p>
        </p:txBody>
      </p:sp>
      <p:sp>
        <p:nvSpPr>
          <p:cNvPr id="11" name="TextBox 7">
            <a:extLst>
              <a:ext uri="{FF2B5EF4-FFF2-40B4-BE49-F238E27FC236}">
                <a16:creationId xmlns:a16="http://schemas.microsoft.com/office/drawing/2014/main" id="{BA55D190-DA68-B8FD-95F1-055D37188123}"/>
              </a:ext>
            </a:extLst>
          </p:cNvPr>
          <p:cNvSpPr txBox="1"/>
          <p:nvPr/>
        </p:nvSpPr>
        <p:spPr>
          <a:xfrm>
            <a:off x="4885008" y="5952596"/>
            <a:ext cx="69456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a:t>
            </a:r>
            <a:r>
              <a:rPr kumimoji="0" lang="en-US" sz="800" b="0" i="0" u="none" strike="noStrike" kern="1200" cap="none" spc="0" normalizeH="0" baseline="0" noProof="0" err="1">
                <a:ln>
                  <a:noFill/>
                </a:ln>
                <a:solidFill>
                  <a:prstClr val="white">
                    <a:lumMod val="65000"/>
                  </a:prstClr>
                </a:solidFill>
                <a:effectLst/>
                <a:uLnTx/>
                <a:uFillTx/>
                <a:latin typeface="Aptos" panose="020B0004020202020204" pitchFamily="34" charset="0"/>
                <a:ea typeface="+mn-ea"/>
                <a:cs typeface="+mn-cs"/>
              </a:rPr>
              <a:t>Quickserve</a:t>
            </a:r>
            <a:r>
              <a:rPr kumimoji="0" lang="en-US" sz="800" b="0" i="0" u="none" strike="noStrike" kern="1200" cap="none" spc="0" normalizeH="0" baseline="0" noProof="0">
                <a:ln>
                  <a:noFill/>
                </a:ln>
                <a:solidFill>
                  <a:prstClr val="white">
                    <a:lumMod val="65000"/>
                  </a:prstClr>
                </a:solidFill>
                <a:effectLst/>
                <a:uLnTx/>
                <a:uFillTx/>
                <a:latin typeface="Aptos" panose="020B0004020202020204" pitchFamily="34" charset="0"/>
                <a:ea typeface="+mn-ea"/>
                <a:cs typeface="+mn-cs"/>
              </a:rPr>
              <a:t> should be used for official maintenance schedule by ESN.     **Very dependent on oil pan size selected this is high capacity shown</a:t>
            </a:r>
          </a:p>
        </p:txBody>
      </p:sp>
      <p:sp>
        <p:nvSpPr>
          <p:cNvPr id="12" name="TextBox 137">
            <a:extLst>
              <a:ext uri="{FF2B5EF4-FFF2-40B4-BE49-F238E27FC236}">
                <a16:creationId xmlns:a16="http://schemas.microsoft.com/office/drawing/2014/main" id="{298D0752-3DAA-CDC3-034E-D46157764620}"/>
              </a:ext>
            </a:extLst>
          </p:cNvPr>
          <p:cNvSpPr txBox="1"/>
          <p:nvPr/>
        </p:nvSpPr>
        <p:spPr>
          <a:xfrm>
            <a:off x="5708119" y="1864221"/>
            <a:ext cx="5317844" cy="969496"/>
          </a:xfrm>
          <a:prstGeom prst="rect">
            <a:avLst/>
          </a:prstGeom>
          <a:noFill/>
        </p:spPr>
        <p:txBody>
          <a:bodyPr wrap="square" lIns="0" tIns="0" rIns="0" bIns="0" rtlCol="0" anchor="t">
            <a:spAutoFit/>
          </a:bodyPr>
          <a:lstStyle/>
          <a:p>
            <a:pPr marL="108000" marR="0" lvl="0" indent="-108000" algn="just"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mn-cs"/>
              </a:rPr>
              <a:t>Features a new cartridge-style filters that </a:t>
            </a:r>
            <a:r>
              <a:rPr kumimoji="0" lang="en-US" sz="1050" b="1" i="0" u="none" strike="noStrike" kern="1200" cap="none" spc="0" normalizeH="0" baseline="0" noProof="0">
                <a:ln>
                  <a:noFill/>
                </a:ln>
                <a:solidFill>
                  <a:prstClr val="black"/>
                </a:solidFill>
                <a:effectLst/>
                <a:uLnTx/>
                <a:uFillTx/>
                <a:latin typeface="Aptos" panose="020B0004020202020204" pitchFamily="34" charset="0"/>
                <a:ea typeface="+mn-ea"/>
                <a:cs typeface="+mn-cs"/>
              </a:rPr>
              <a:t>reduce costs by up to 30%, </a:t>
            </a: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mn-cs"/>
              </a:rPr>
              <a:t>by replacing only the filter media during maintenance versus traditional spin-on filters</a:t>
            </a:r>
          </a:p>
          <a:p>
            <a:pPr marL="108000" marR="0" lvl="0" indent="-108000" algn="just"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mn-cs"/>
              </a:rPr>
              <a:t>Designed to meet the latest emissions standards, the X10 will be </a:t>
            </a:r>
            <a:r>
              <a:rPr kumimoji="0" lang="en-US" sz="1050" b="1" i="0" u="none" strike="noStrike" kern="1200" cap="none" spc="0" normalizeH="0" baseline="0" noProof="0">
                <a:ln>
                  <a:noFill/>
                </a:ln>
                <a:solidFill>
                  <a:prstClr val="black"/>
                </a:solidFill>
                <a:effectLst/>
                <a:uLnTx/>
                <a:uFillTx/>
                <a:latin typeface="Aptos" panose="020B0004020202020204" pitchFamily="34" charset="0"/>
                <a:ea typeface="+mn-ea"/>
                <a:cs typeface="+mn-cs"/>
              </a:rPr>
              <a:t>EPA27 and CARB27 compliant</a:t>
            </a:r>
          </a:p>
          <a:p>
            <a:pPr marL="108000" marR="0" lvl="0" indent="-108000" algn="just"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erience Cummins integrated powertrain designed to deliver seamless performance, efficiency and durability</a:t>
            </a:r>
          </a:p>
        </p:txBody>
      </p:sp>
      <p:grpSp>
        <p:nvGrpSpPr>
          <p:cNvPr id="13" name="Group 493">
            <a:extLst>
              <a:ext uri="{FF2B5EF4-FFF2-40B4-BE49-F238E27FC236}">
                <a16:creationId xmlns:a16="http://schemas.microsoft.com/office/drawing/2014/main" id="{061850C3-A400-2C39-89FB-926FEB4ADF10}"/>
              </a:ext>
            </a:extLst>
          </p:cNvPr>
          <p:cNvGrpSpPr/>
          <p:nvPr/>
        </p:nvGrpSpPr>
        <p:grpSpPr>
          <a:xfrm>
            <a:off x="8963942" y="3250788"/>
            <a:ext cx="2115184" cy="601162"/>
            <a:chOff x="8629830" y="3957185"/>
            <a:chExt cx="2115184" cy="601162"/>
          </a:xfrm>
        </p:grpSpPr>
        <p:sp>
          <p:nvSpPr>
            <p:cNvPr id="14" name="TextBox 496">
              <a:extLst>
                <a:ext uri="{FF2B5EF4-FFF2-40B4-BE49-F238E27FC236}">
                  <a16:creationId xmlns:a16="http://schemas.microsoft.com/office/drawing/2014/main" id="{51B77E24-1769-B675-45BD-B9016B07D245}"/>
                </a:ext>
              </a:extLst>
            </p:cNvPr>
            <p:cNvSpPr txBox="1"/>
            <p:nvPr/>
          </p:nvSpPr>
          <p:spPr>
            <a:xfrm>
              <a:off x="8629830" y="3957185"/>
              <a:ext cx="86389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Value package</a:t>
              </a:r>
            </a:p>
          </p:txBody>
        </p:sp>
        <p:sp>
          <p:nvSpPr>
            <p:cNvPr id="15" name="TextBox 497">
              <a:extLst>
                <a:ext uri="{FF2B5EF4-FFF2-40B4-BE49-F238E27FC236}">
                  <a16:creationId xmlns:a16="http://schemas.microsoft.com/office/drawing/2014/main" id="{EC006248-1413-86DA-AEC0-7D25F8FEFF6C}"/>
                </a:ext>
              </a:extLst>
            </p:cNvPr>
            <p:cNvSpPr txBox="1"/>
            <p:nvPr/>
          </p:nvSpPr>
          <p:spPr>
            <a:xfrm>
              <a:off x="9339588" y="3958183"/>
              <a:ext cx="1405426" cy="600164"/>
            </a:xfrm>
            <a:prstGeom prst="rect">
              <a:avLst/>
            </a:prstGeom>
            <a:noFill/>
          </p:spPr>
          <p:txBody>
            <a:bodyPr wrap="square" rtlCol="0">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Fuel efficiency  </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Durabilit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Reliability </a:t>
              </a:r>
            </a:p>
          </p:txBody>
        </p:sp>
      </p:grpSp>
      <p:sp>
        <p:nvSpPr>
          <p:cNvPr id="16" name="CaixaDeTexto 15">
            <a:extLst>
              <a:ext uri="{FF2B5EF4-FFF2-40B4-BE49-F238E27FC236}">
                <a16:creationId xmlns:a16="http://schemas.microsoft.com/office/drawing/2014/main" id="{54F09E97-5A65-7B21-70CA-AF2F0CF4DE72}"/>
              </a:ext>
            </a:extLst>
          </p:cNvPr>
          <p:cNvSpPr txBox="1"/>
          <p:nvPr/>
        </p:nvSpPr>
        <p:spPr>
          <a:xfrm>
            <a:off x="5599170" y="1508356"/>
            <a:ext cx="21084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9281C"/>
                </a:solidFill>
                <a:effectLst/>
                <a:uLnTx/>
                <a:uFillTx/>
                <a:latin typeface="Aptos" panose="020B0004020202020204" pitchFamily="34" charset="0"/>
                <a:ea typeface="+mn-ea"/>
                <a:cs typeface="+mn-cs"/>
              </a:rPr>
              <a:t>Differentiators</a:t>
            </a:r>
          </a:p>
        </p:txBody>
      </p:sp>
      <p:sp>
        <p:nvSpPr>
          <p:cNvPr id="17" name="TextBox 506">
            <a:extLst>
              <a:ext uri="{FF2B5EF4-FFF2-40B4-BE49-F238E27FC236}">
                <a16:creationId xmlns:a16="http://schemas.microsoft.com/office/drawing/2014/main" id="{D53EE192-5371-89D3-06DC-8359E73A0105}"/>
              </a:ext>
            </a:extLst>
          </p:cNvPr>
          <p:cNvSpPr txBox="1"/>
          <p:nvPr/>
        </p:nvSpPr>
        <p:spPr>
          <a:xfrm>
            <a:off x="5618843" y="3232290"/>
            <a:ext cx="103713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Primary Applications</a:t>
            </a:r>
          </a:p>
        </p:txBody>
      </p:sp>
      <p:sp>
        <p:nvSpPr>
          <p:cNvPr id="50" name="TextBox 507">
            <a:extLst>
              <a:ext uri="{FF2B5EF4-FFF2-40B4-BE49-F238E27FC236}">
                <a16:creationId xmlns:a16="http://schemas.microsoft.com/office/drawing/2014/main" id="{CE5EF9B6-CDD1-34B9-C1CA-27A61BA78D3E}"/>
              </a:ext>
            </a:extLst>
          </p:cNvPr>
          <p:cNvSpPr txBox="1"/>
          <p:nvPr/>
        </p:nvSpPr>
        <p:spPr>
          <a:xfrm>
            <a:off x="6414685" y="3673902"/>
            <a:ext cx="1852683"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Regional haul</a:t>
            </a:r>
          </a:p>
        </p:txBody>
      </p:sp>
      <p:grpSp>
        <p:nvGrpSpPr>
          <p:cNvPr id="51" name="Group 1">
            <a:extLst>
              <a:ext uri="{FF2B5EF4-FFF2-40B4-BE49-F238E27FC236}">
                <a16:creationId xmlns:a16="http://schemas.microsoft.com/office/drawing/2014/main" id="{B38BF352-7BA6-F7AF-1CDC-063741EC5D7D}"/>
              </a:ext>
            </a:extLst>
          </p:cNvPr>
          <p:cNvGrpSpPr>
            <a:grpSpLocks noChangeAspect="1"/>
          </p:cNvGrpSpPr>
          <p:nvPr/>
        </p:nvGrpSpPr>
        <p:grpSpPr>
          <a:xfrm>
            <a:off x="6703300" y="3196466"/>
            <a:ext cx="1221413" cy="370470"/>
            <a:chOff x="4608602" y="5973878"/>
            <a:chExt cx="1850898" cy="561402"/>
          </a:xfrm>
          <a:solidFill>
            <a:schemeClr val="tx1"/>
          </a:solidFill>
        </p:grpSpPr>
        <p:sp>
          <p:nvSpPr>
            <p:cNvPr id="52" name="Freeform: Shape 1109">
              <a:extLst>
                <a:ext uri="{FF2B5EF4-FFF2-40B4-BE49-F238E27FC236}">
                  <a16:creationId xmlns:a16="http://schemas.microsoft.com/office/drawing/2014/main" id="{2308E767-EBC8-3D0E-EDA8-B19A29DE6930}"/>
                </a:ext>
              </a:extLst>
            </p:cNvPr>
            <p:cNvSpPr/>
            <p:nvPr/>
          </p:nvSpPr>
          <p:spPr>
            <a:xfrm>
              <a:off x="5939815" y="6064937"/>
              <a:ext cx="274510" cy="346805"/>
            </a:xfrm>
            <a:custGeom>
              <a:avLst/>
              <a:gdLst>
                <a:gd name="connsiteX0" fmla="*/ 7144 w 274510"/>
                <a:gd name="connsiteY0" fmla="*/ 346805 h 346805"/>
                <a:gd name="connsiteX1" fmla="*/ 0 w 274510"/>
                <a:gd name="connsiteY1" fmla="*/ 339662 h 346805"/>
                <a:gd name="connsiteX2" fmla="*/ 0 w 274510"/>
                <a:gd name="connsiteY2" fmla="*/ 22384 h 346805"/>
                <a:gd name="connsiteX3" fmla="*/ 22384 w 274510"/>
                <a:gd name="connsiteY3" fmla="*/ 0 h 346805"/>
                <a:gd name="connsiteX4" fmla="*/ 211550 w 274510"/>
                <a:gd name="connsiteY4" fmla="*/ 0 h 346805"/>
                <a:gd name="connsiteX5" fmla="*/ 274511 w 274510"/>
                <a:gd name="connsiteY5" fmla="*/ 62960 h 346805"/>
                <a:gd name="connsiteX6" fmla="*/ 267367 w 274510"/>
                <a:gd name="connsiteY6" fmla="*/ 70104 h 346805"/>
                <a:gd name="connsiteX7" fmla="*/ 244888 w 274510"/>
                <a:gd name="connsiteY7" fmla="*/ 70104 h 346805"/>
                <a:gd name="connsiteX8" fmla="*/ 237744 w 274510"/>
                <a:gd name="connsiteY8" fmla="*/ 62960 h 346805"/>
                <a:gd name="connsiteX9" fmla="*/ 244888 w 274510"/>
                <a:gd name="connsiteY9" fmla="*/ 55816 h 346805"/>
                <a:gd name="connsiteX10" fmla="*/ 259652 w 274510"/>
                <a:gd name="connsiteY10" fmla="*/ 55816 h 346805"/>
                <a:gd name="connsiteX11" fmla="*/ 211455 w 274510"/>
                <a:gd name="connsiteY11" fmla="*/ 14288 h 346805"/>
                <a:gd name="connsiteX12" fmla="*/ 22289 w 274510"/>
                <a:gd name="connsiteY12" fmla="*/ 14288 h 346805"/>
                <a:gd name="connsiteX13" fmla="*/ 14192 w 274510"/>
                <a:gd name="connsiteY13" fmla="*/ 22384 h 346805"/>
                <a:gd name="connsiteX14" fmla="*/ 14192 w 274510"/>
                <a:gd name="connsiteY14" fmla="*/ 339662 h 346805"/>
                <a:gd name="connsiteX15" fmla="*/ 7049 w 274510"/>
                <a:gd name="connsiteY15" fmla="*/ 346805 h 34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4510" h="346805">
                  <a:moveTo>
                    <a:pt x="7144" y="346805"/>
                  </a:moveTo>
                  <a:cubicBezTo>
                    <a:pt x="3239" y="346805"/>
                    <a:pt x="0" y="343567"/>
                    <a:pt x="0" y="339662"/>
                  </a:cubicBezTo>
                  <a:lnTo>
                    <a:pt x="0" y="22384"/>
                  </a:lnTo>
                  <a:cubicBezTo>
                    <a:pt x="0" y="10096"/>
                    <a:pt x="10001" y="0"/>
                    <a:pt x="22384" y="0"/>
                  </a:cubicBezTo>
                  <a:lnTo>
                    <a:pt x="211550" y="0"/>
                  </a:lnTo>
                  <a:cubicBezTo>
                    <a:pt x="246317" y="0"/>
                    <a:pt x="274511" y="28289"/>
                    <a:pt x="274511" y="62960"/>
                  </a:cubicBezTo>
                  <a:cubicBezTo>
                    <a:pt x="274511" y="66865"/>
                    <a:pt x="271272" y="70104"/>
                    <a:pt x="267367" y="70104"/>
                  </a:cubicBezTo>
                  <a:lnTo>
                    <a:pt x="244888" y="70104"/>
                  </a:lnTo>
                  <a:cubicBezTo>
                    <a:pt x="240983" y="70104"/>
                    <a:pt x="237744" y="66865"/>
                    <a:pt x="237744" y="62960"/>
                  </a:cubicBezTo>
                  <a:cubicBezTo>
                    <a:pt x="237744" y="59055"/>
                    <a:pt x="240983" y="55816"/>
                    <a:pt x="244888" y="55816"/>
                  </a:cubicBezTo>
                  <a:lnTo>
                    <a:pt x="259652" y="55816"/>
                  </a:lnTo>
                  <a:cubicBezTo>
                    <a:pt x="256223" y="32385"/>
                    <a:pt x="235934" y="14288"/>
                    <a:pt x="211455" y="14288"/>
                  </a:cubicBezTo>
                  <a:lnTo>
                    <a:pt x="22289" y="14288"/>
                  </a:lnTo>
                  <a:cubicBezTo>
                    <a:pt x="17812" y="14288"/>
                    <a:pt x="14192" y="17907"/>
                    <a:pt x="14192" y="22384"/>
                  </a:cubicBezTo>
                  <a:lnTo>
                    <a:pt x="14192" y="339662"/>
                  </a:lnTo>
                  <a:cubicBezTo>
                    <a:pt x="14192" y="343567"/>
                    <a:pt x="10954" y="346805"/>
                    <a:pt x="7049" y="346805"/>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Shape 1110">
              <a:extLst>
                <a:ext uri="{FF2B5EF4-FFF2-40B4-BE49-F238E27FC236}">
                  <a16:creationId xmlns:a16="http://schemas.microsoft.com/office/drawing/2014/main" id="{EEB5867A-790D-D93B-2D1E-DD90D9E0E716}"/>
                </a:ext>
              </a:extLst>
            </p:cNvPr>
            <p:cNvSpPr/>
            <p:nvPr/>
          </p:nvSpPr>
          <p:spPr>
            <a:xfrm>
              <a:off x="6051734" y="6120848"/>
              <a:ext cx="182914" cy="130397"/>
            </a:xfrm>
            <a:custGeom>
              <a:avLst/>
              <a:gdLst>
                <a:gd name="connsiteX0" fmla="*/ 175832 w 182914"/>
                <a:gd name="connsiteY0" fmla="*/ 130397 h 130397"/>
                <a:gd name="connsiteX1" fmla="*/ 42672 w 182914"/>
                <a:gd name="connsiteY1" fmla="*/ 130397 h 130397"/>
                <a:gd name="connsiteX2" fmla="*/ 0 w 182914"/>
                <a:gd name="connsiteY2" fmla="*/ 87725 h 130397"/>
                <a:gd name="connsiteX3" fmla="*/ 0 w 182914"/>
                <a:gd name="connsiteY3" fmla="*/ 7144 h 130397"/>
                <a:gd name="connsiteX4" fmla="*/ 7144 w 182914"/>
                <a:gd name="connsiteY4" fmla="*/ 0 h 130397"/>
                <a:gd name="connsiteX5" fmla="*/ 132874 w 182914"/>
                <a:gd name="connsiteY5" fmla="*/ 0 h 130397"/>
                <a:gd name="connsiteX6" fmla="*/ 139541 w 182914"/>
                <a:gd name="connsiteY6" fmla="*/ 4667 h 130397"/>
                <a:gd name="connsiteX7" fmla="*/ 182499 w 182914"/>
                <a:gd name="connsiteY7" fmla="*/ 120777 h 130397"/>
                <a:gd name="connsiteX8" fmla="*/ 181642 w 182914"/>
                <a:gd name="connsiteY8" fmla="*/ 127349 h 130397"/>
                <a:gd name="connsiteX9" fmla="*/ 175736 w 182914"/>
                <a:gd name="connsiteY9" fmla="*/ 130397 h 130397"/>
                <a:gd name="connsiteX10" fmla="*/ 14288 w 182914"/>
                <a:gd name="connsiteY10" fmla="*/ 14192 h 130397"/>
                <a:gd name="connsiteX11" fmla="*/ 14288 w 182914"/>
                <a:gd name="connsiteY11" fmla="*/ 87630 h 130397"/>
                <a:gd name="connsiteX12" fmla="*/ 42672 w 182914"/>
                <a:gd name="connsiteY12" fmla="*/ 116015 h 130397"/>
                <a:gd name="connsiteX13" fmla="*/ 165640 w 182914"/>
                <a:gd name="connsiteY13" fmla="*/ 116015 h 130397"/>
                <a:gd name="connsiteX14" fmla="*/ 128016 w 182914"/>
                <a:gd name="connsiteY14" fmla="*/ 14192 h 130397"/>
                <a:gd name="connsiteX15" fmla="*/ 14383 w 182914"/>
                <a:gd name="connsiteY15" fmla="*/ 14192 h 13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914" h="130397">
                  <a:moveTo>
                    <a:pt x="175832" y="130397"/>
                  </a:moveTo>
                  <a:lnTo>
                    <a:pt x="42672" y="130397"/>
                  </a:lnTo>
                  <a:cubicBezTo>
                    <a:pt x="19145" y="130397"/>
                    <a:pt x="0" y="111252"/>
                    <a:pt x="0" y="87725"/>
                  </a:cubicBezTo>
                  <a:lnTo>
                    <a:pt x="0" y="7144"/>
                  </a:lnTo>
                  <a:cubicBezTo>
                    <a:pt x="0" y="3239"/>
                    <a:pt x="3239" y="0"/>
                    <a:pt x="7144" y="0"/>
                  </a:cubicBezTo>
                  <a:lnTo>
                    <a:pt x="132874" y="0"/>
                  </a:lnTo>
                  <a:cubicBezTo>
                    <a:pt x="135827" y="0"/>
                    <a:pt x="138494" y="1905"/>
                    <a:pt x="139541" y="4667"/>
                  </a:cubicBezTo>
                  <a:lnTo>
                    <a:pt x="182499" y="120777"/>
                  </a:lnTo>
                  <a:cubicBezTo>
                    <a:pt x="183261" y="122968"/>
                    <a:pt x="182975" y="125444"/>
                    <a:pt x="181642" y="127349"/>
                  </a:cubicBezTo>
                  <a:cubicBezTo>
                    <a:pt x="180308" y="129254"/>
                    <a:pt x="178118" y="130397"/>
                    <a:pt x="175736" y="130397"/>
                  </a:cubicBezTo>
                  <a:close/>
                  <a:moveTo>
                    <a:pt x="14288" y="14192"/>
                  </a:moveTo>
                  <a:lnTo>
                    <a:pt x="14288" y="87630"/>
                  </a:lnTo>
                  <a:cubicBezTo>
                    <a:pt x="14288" y="103251"/>
                    <a:pt x="27051" y="116015"/>
                    <a:pt x="42672" y="116015"/>
                  </a:cubicBezTo>
                  <a:lnTo>
                    <a:pt x="165640" y="116015"/>
                  </a:lnTo>
                  <a:lnTo>
                    <a:pt x="128016" y="14192"/>
                  </a:lnTo>
                  <a:lnTo>
                    <a:pt x="14383" y="1419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Shape 1111">
              <a:extLst>
                <a:ext uri="{FF2B5EF4-FFF2-40B4-BE49-F238E27FC236}">
                  <a16:creationId xmlns:a16="http://schemas.microsoft.com/office/drawing/2014/main" id="{D2F3E969-807A-CD93-189A-7A30EE3D8EDD}"/>
                </a:ext>
              </a:extLst>
            </p:cNvPr>
            <p:cNvSpPr/>
            <p:nvPr/>
          </p:nvSpPr>
          <p:spPr>
            <a:xfrm>
              <a:off x="6066212" y="6279630"/>
              <a:ext cx="43529" cy="14287"/>
            </a:xfrm>
            <a:custGeom>
              <a:avLst/>
              <a:gdLst>
                <a:gd name="connsiteX0" fmla="*/ 36386 w 43529"/>
                <a:gd name="connsiteY0" fmla="*/ 14288 h 14287"/>
                <a:gd name="connsiteX1" fmla="*/ 7144 w 43529"/>
                <a:gd name="connsiteY1" fmla="*/ 14288 h 14287"/>
                <a:gd name="connsiteX2" fmla="*/ 0 w 43529"/>
                <a:gd name="connsiteY2" fmla="*/ 7144 h 14287"/>
                <a:gd name="connsiteX3" fmla="*/ 7144 w 43529"/>
                <a:gd name="connsiteY3" fmla="*/ 0 h 14287"/>
                <a:gd name="connsiteX4" fmla="*/ 36386 w 43529"/>
                <a:gd name="connsiteY4" fmla="*/ 0 h 14287"/>
                <a:gd name="connsiteX5" fmla="*/ 43529 w 43529"/>
                <a:gd name="connsiteY5" fmla="*/ 7144 h 14287"/>
                <a:gd name="connsiteX6" fmla="*/ 36386 w 4352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9" h="14287">
                  <a:moveTo>
                    <a:pt x="36386" y="14288"/>
                  </a:moveTo>
                  <a:lnTo>
                    <a:pt x="7144" y="14288"/>
                  </a:lnTo>
                  <a:cubicBezTo>
                    <a:pt x="3238" y="14288"/>
                    <a:pt x="0" y="11049"/>
                    <a:pt x="0" y="7144"/>
                  </a:cubicBezTo>
                  <a:cubicBezTo>
                    <a:pt x="0" y="3239"/>
                    <a:pt x="3238" y="0"/>
                    <a:pt x="7144" y="0"/>
                  </a:cubicBezTo>
                  <a:lnTo>
                    <a:pt x="36386" y="0"/>
                  </a:lnTo>
                  <a:cubicBezTo>
                    <a:pt x="40291" y="0"/>
                    <a:pt x="43529" y="3239"/>
                    <a:pt x="43529" y="7144"/>
                  </a:cubicBezTo>
                  <a:cubicBezTo>
                    <a:pt x="43529" y="11049"/>
                    <a:pt x="40291" y="14288"/>
                    <a:pt x="36386"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Shape 1112">
              <a:extLst>
                <a:ext uri="{FF2B5EF4-FFF2-40B4-BE49-F238E27FC236}">
                  <a16:creationId xmlns:a16="http://schemas.microsoft.com/office/drawing/2014/main" id="{7CA91003-FBD8-E8D2-894E-75F08547C285}"/>
                </a:ext>
              </a:extLst>
            </p:cNvPr>
            <p:cNvSpPr/>
            <p:nvPr/>
          </p:nvSpPr>
          <p:spPr>
            <a:xfrm>
              <a:off x="4697184" y="6257818"/>
              <a:ext cx="40004" cy="14287"/>
            </a:xfrm>
            <a:custGeom>
              <a:avLst/>
              <a:gdLst>
                <a:gd name="connsiteX0" fmla="*/ 32861 w 40004"/>
                <a:gd name="connsiteY0" fmla="*/ 14288 h 14287"/>
                <a:gd name="connsiteX1" fmla="*/ 7144 w 40004"/>
                <a:gd name="connsiteY1" fmla="*/ 14288 h 14287"/>
                <a:gd name="connsiteX2" fmla="*/ 0 w 40004"/>
                <a:gd name="connsiteY2" fmla="*/ 7144 h 14287"/>
                <a:gd name="connsiteX3" fmla="*/ 7144 w 40004"/>
                <a:gd name="connsiteY3" fmla="*/ 0 h 14287"/>
                <a:gd name="connsiteX4" fmla="*/ 32861 w 40004"/>
                <a:gd name="connsiteY4" fmla="*/ 0 h 14287"/>
                <a:gd name="connsiteX5" fmla="*/ 40005 w 40004"/>
                <a:gd name="connsiteY5" fmla="*/ 7144 h 14287"/>
                <a:gd name="connsiteX6" fmla="*/ 32861 w 4000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04" h="14287">
                  <a:moveTo>
                    <a:pt x="32861" y="14288"/>
                  </a:moveTo>
                  <a:lnTo>
                    <a:pt x="7144" y="14288"/>
                  </a:lnTo>
                  <a:cubicBezTo>
                    <a:pt x="3239" y="14288"/>
                    <a:pt x="0" y="11049"/>
                    <a:pt x="0" y="7144"/>
                  </a:cubicBezTo>
                  <a:cubicBezTo>
                    <a:pt x="0" y="3239"/>
                    <a:pt x="3239" y="0"/>
                    <a:pt x="7144" y="0"/>
                  </a:cubicBezTo>
                  <a:lnTo>
                    <a:pt x="32861" y="0"/>
                  </a:lnTo>
                  <a:cubicBezTo>
                    <a:pt x="36766" y="0"/>
                    <a:pt x="40005" y="3239"/>
                    <a:pt x="40005" y="7144"/>
                  </a:cubicBezTo>
                  <a:cubicBezTo>
                    <a:pt x="40005" y="11049"/>
                    <a:pt x="36766" y="14288"/>
                    <a:pt x="32861"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Shape 1113">
              <a:extLst>
                <a:ext uri="{FF2B5EF4-FFF2-40B4-BE49-F238E27FC236}">
                  <a16:creationId xmlns:a16="http://schemas.microsoft.com/office/drawing/2014/main" id="{06367EF6-1471-6EE4-F350-7246E6F681BB}"/>
                </a:ext>
              </a:extLst>
            </p:cNvPr>
            <p:cNvSpPr/>
            <p:nvPr/>
          </p:nvSpPr>
          <p:spPr>
            <a:xfrm>
              <a:off x="4947311" y="6257818"/>
              <a:ext cx="40004" cy="14287"/>
            </a:xfrm>
            <a:custGeom>
              <a:avLst/>
              <a:gdLst>
                <a:gd name="connsiteX0" fmla="*/ 32861 w 40004"/>
                <a:gd name="connsiteY0" fmla="*/ 14288 h 14287"/>
                <a:gd name="connsiteX1" fmla="*/ 7144 w 40004"/>
                <a:gd name="connsiteY1" fmla="*/ 14288 h 14287"/>
                <a:gd name="connsiteX2" fmla="*/ 0 w 40004"/>
                <a:gd name="connsiteY2" fmla="*/ 7144 h 14287"/>
                <a:gd name="connsiteX3" fmla="*/ 7144 w 40004"/>
                <a:gd name="connsiteY3" fmla="*/ 0 h 14287"/>
                <a:gd name="connsiteX4" fmla="*/ 32861 w 40004"/>
                <a:gd name="connsiteY4" fmla="*/ 0 h 14287"/>
                <a:gd name="connsiteX5" fmla="*/ 40005 w 40004"/>
                <a:gd name="connsiteY5" fmla="*/ 7144 h 14287"/>
                <a:gd name="connsiteX6" fmla="*/ 32861 w 4000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04" h="14287">
                  <a:moveTo>
                    <a:pt x="32861" y="14288"/>
                  </a:moveTo>
                  <a:lnTo>
                    <a:pt x="7144" y="14288"/>
                  </a:lnTo>
                  <a:cubicBezTo>
                    <a:pt x="3239" y="14288"/>
                    <a:pt x="0" y="11049"/>
                    <a:pt x="0" y="7144"/>
                  </a:cubicBezTo>
                  <a:cubicBezTo>
                    <a:pt x="0" y="3239"/>
                    <a:pt x="3239" y="0"/>
                    <a:pt x="7144" y="0"/>
                  </a:cubicBezTo>
                  <a:lnTo>
                    <a:pt x="32861" y="0"/>
                  </a:lnTo>
                  <a:cubicBezTo>
                    <a:pt x="36766" y="0"/>
                    <a:pt x="40005" y="3239"/>
                    <a:pt x="40005" y="7144"/>
                  </a:cubicBezTo>
                  <a:cubicBezTo>
                    <a:pt x="40005" y="11049"/>
                    <a:pt x="36766" y="14288"/>
                    <a:pt x="32861"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Shape 1114">
              <a:extLst>
                <a:ext uri="{FF2B5EF4-FFF2-40B4-BE49-F238E27FC236}">
                  <a16:creationId xmlns:a16="http://schemas.microsoft.com/office/drawing/2014/main" id="{F67F0DA2-0475-7166-3F42-33262E3AAE75}"/>
                </a:ext>
              </a:extLst>
            </p:cNvPr>
            <p:cNvSpPr/>
            <p:nvPr/>
          </p:nvSpPr>
          <p:spPr>
            <a:xfrm>
              <a:off x="5197437" y="6257818"/>
              <a:ext cx="40004" cy="14287"/>
            </a:xfrm>
            <a:custGeom>
              <a:avLst/>
              <a:gdLst>
                <a:gd name="connsiteX0" fmla="*/ 32861 w 40004"/>
                <a:gd name="connsiteY0" fmla="*/ 14288 h 14287"/>
                <a:gd name="connsiteX1" fmla="*/ 7144 w 40004"/>
                <a:gd name="connsiteY1" fmla="*/ 14288 h 14287"/>
                <a:gd name="connsiteX2" fmla="*/ 0 w 40004"/>
                <a:gd name="connsiteY2" fmla="*/ 7144 h 14287"/>
                <a:gd name="connsiteX3" fmla="*/ 7144 w 40004"/>
                <a:gd name="connsiteY3" fmla="*/ 0 h 14287"/>
                <a:gd name="connsiteX4" fmla="*/ 32861 w 40004"/>
                <a:gd name="connsiteY4" fmla="*/ 0 h 14287"/>
                <a:gd name="connsiteX5" fmla="*/ 40005 w 40004"/>
                <a:gd name="connsiteY5" fmla="*/ 7144 h 14287"/>
                <a:gd name="connsiteX6" fmla="*/ 32861 w 4000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04" h="14287">
                  <a:moveTo>
                    <a:pt x="32861" y="14288"/>
                  </a:moveTo>
                  <a:lnTo>
                    <a:pt x="7144" y="14288"/>
                  </a:lnTo>
                  <a:cubicBezTo>
                    <a:pt x="3239" y="14288"/>
                    <a:pt x="0" y="11049"/>
                    <a:pt x="0" y="7144"/>
                  </a:cubicBezTo>
                  <a:cubicBezTo>
                    <a:pt x="0" y="3239"/>
                    <a:pt x="3239" y="0"/>
                    <a:pt x="7144" y="0"/>
                  </a:cubicBezTo>
                  <a:lnTo>
                    <a:pt x="32861" y="0"/>
                  </a:lnTo>
                  <a:cubicBezTo>
                    <a:pt x="36767" y="0"/>
                    <a:pt x="40005" y="3239"/>
                    <a:pt x="40005" y="7144"/>
                  </a:cubicBezTo>
                  <a:cubicBezTo>
                    <a:pt x="40005" y="11049"/>
                    <a:pt x="36767" y="14288"/>
                    <a:pt x="32861"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Shape 1115">
              <a:extLst>
                <a:ext uri="{FF2B5EF4-FFF2-40B4-BE49-F238E27FC236}">
                  <a16:creationId xmlns:a16="http://schemas.microsoft.com/office/drawing/2014/main" id="{C179085A-004D-C9CC-CF9B-267FB3BB0433}"/>
                </a:ext>
              </a:extLst>
            </p:cNvPr>
            <p:cNvSpPr/>
            <p:nvPr/>
          </p:nvSpPr>
          <p:spPr>
            <a:xfrm>
              <a:off x="5447564" y="6257818"/>
              <a:ext cx="40004" cy="14287"/>
            </a:xfrm>
            <a:custGeom>
              <a:avLst/>
              <a:gdLst>
                <a:gd name="connsiteX0" fmla="*/ 32861 w 40004"/>
                <a:gd name="connsiteY0" fmla="*/ 14288 h 14287"/>
                <a:gd name="connsiteX1" fmla="*/ 7144 w 40004"/>
                <a:gd name="connsiteY1" fmla="*/ 14288 h 14287"/>
                <a:gd name="connsiteX2" fmla="*/ 0 w 40004"/>
                <a:gd name="connsiteY2" fmla="*/ 7144 h 14287"/>
                <a:gd name="connsiteX3" fmla="*/ 7144 w 40004"/>
                <a:gd name="connsiteY3" fmla="*/ 0 h 14287"/>
                <a:gd name="connsiteX4" fmla="*/ 32861 w 40004"/>
                <a:gd name="connsiteY4" fmla="*/ 0 h 14287"/>
                <a:gd name="connsiteX5" fmla="*/ 40005 w 40004"/>
                <a:gd name="connsiteY5" fmla="*/ 7144 h 14287"/>
                <a:gd name="connsiteX6" fmla="*/ 32861 w 4000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04" h="14287">
                  <a:moveTo>
                    <a:pt x="32861" y="14288"/>
                  </a:moveTo>
                  <a:lnTo>
                    <a:pt x="7144" y="14288"/>
                  </a:lnTo>
                  <a:cubicBezTo>
                    <a:pt x="3238" y="14288"/>
                    <a:pt x="0" y="11049"/>
                    <a:pt x="0" y="7144"/>
                  </a:cubicBezTo>
                  <a:cubicBezTo>
                    <a:pt x="0" y="3239"/>
                    <a:pt x="3238" y="0"/>
                    <a:pt x="7144" y="0"/>
                  </a:cubicBezTo>
                  <a:lnTo>
                    <a:pt x="32861" y="0"/>
                  </a:lnTo>
                  <a:cubicBezTo>
                    <a:pt x="36767" y="0"/>
                    <a:pt x="40005" y="3239"/>
                    <a:pt x="40005" y="7144"/>
                  </a:cubicBezTo>
                  <a:cubicBezTo>
                    <a:pt x="40005" y="11049"/>
                    <a:pt x="36767" y="14288"/>
                    <a:pt x="32861"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Shape 1116">
              <a:extLst>
                <a:ext uri="{FF2B5EF4-FFF2-40B4-BE49-F238E27FC236}">
                  <a16:creationId xmlns:a16="http://schemas.microsoft.com/office/drawing/2014/main" id="{C332B578-2746-83A1-C64A-487D8E91B35F}"/>
                </a:ext>
              </a:extLst>
            </p:cNvPr>
            <p:cNvSpPr/>
            <p:nvPr/>
          </p:nvSpPr>
          <p:spPr>
            <a:xfrm>
              <a:off x="5697690" y="6257818"/>
              <a:ext cx="40005" cy="14287"/>
            </a:xfrm>
            <a:custGeom>
              <a:avLst/>
              <a:gdLst>
                <a:gd name="connsiteX0" fmla="*/ 32861 w 40005"/>
                <a:gd name="connsiteY0" fmla="*/ 14288 h 14287"/>
                <a:gd name="connsiteX1" fmla="*/ 7144 w 40005"/>
                <a:gd name="connsiteY1" fmla="*/ 14288 h 14287"/>
                <a:gd name="connsiteX2" fmla="*/ 0 w 40005"/>
                <a:gd name="connsiteY2" fmla="*/ 7144 h 14287"/>
                <a:gd name="connsiteX3" fmla="*/ 7144 w 40005"/>
                <a:gd name="connsiteY3" fmla="*/ 0 h 14287"/>
                <a:gd name="connsiteX4" fmla="*/ 32861 w 40005"/>
                <a:gd name="connsiteY4" fmla="*/ 0 h 14287"/>
                <a:gd name="connsiteX5" fmla="*/ 40005 w 40005"/>
                <a:gd name="connsiteY5" fmla="*/ 7144 h 14287"/>
                <a:gd name="connsiteX6" fmla="*/ 32861 w 400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05" h="14287">
                  <a:moveTo>
                    <a:pt x="32861" y="14288"/>
                  </a:moveTo>
                  <a:lnTo>
                    <a:pt x="7144" y="14288"/>
                  </a:lnTo>
                  <a:cubicBezTo>
                    <a:pt x="3239" y="14288"/>
                    <a:pt x="0" y="11049"/>
                    <a:pt x="0" y="7144"/>
                  </a:cubicBezTo>
                  <a:cubicBezTo>
                    <a:pt x="0" y="3239"/>
                    <a:pt x="3239" y="0"/>
                    <a:pt x="7144" y="0"/>
                  </a:cubicBezTo>
                  <a:lnTo>
                    <a:pt x="32861" y="0"/>
                  </a:lnTo>
                  <a:cubicBezTo>
                    <a:pt x="36767" y="0"/>
                    <a:pt x="40005" y="3239"/>
                    <a:pt x="40005" y="7144"/>
                  </a:cubicBezTo>
                  <a:cubicBezTo>
                    <a:pt x="40005" y="11049"/>
                    <a:pt x="36767" y="14288"/>
                    <a:pt x="32861"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Shape 1117">
              <a:extLst>
                <a:ext uri="{FF2B5EF4-FFF2-40B4-BE49-F238E27FC236}">
                  <a16:creationId xmlns:a16="http://schemas.microsoft.com/office/drawing/2014/main" id="{F1B738CA-F7E0-C8D8-3AB3-BB3E716A336A}"/>
                </a:ext>
              </a:extLst>
            </p:cNvPr>
            <p:cNvSpPr/>
            <p:nvPr/>
          </p:nvSpPr>
          <p:spPr>
            <a:xfrm>
              <a:off x="6095454" y="6171902"/>
              <a:ext cx="14287" cy="79343"/>
            </a:xfrm>
            <a:custGeom>
              <a:avLst/>
              <a:gdLst>
                <a:gd name="connsiteX0" fmla="*/ 7144 w 14287"/>
                <a:gd name="connsiteY0" fmla="*/ 79343 h 79343"/>
                <a:gd name="connsiteX1" fmla="*/ 0 w 14287"/>
                <a:gd name="connsiteY1" fmla="*/ 72200 h 79343"/>
                <a:gd name="connsiteX2" fmla="*/ 0 w 14287"/>
                <a:gd name="connsiteY2" fmla="*/ 7144 h 79343"/>
                <a:gd name="connsiteX3" fmla="*/ 7144 w 14287"/>
                <a:gd name="connsiteY3" fmla="*/ 0 h 79343"/>
                <a:gd name="connsiteX4" fmla="*/ 14288 w 14287"/>
                <a:gd name="connsiteY4" fmla="*/ 7144 h 79343"/>
                <a:gd name="connsiteX5" fmla="*/ 14288 w 14287"/>
                <a:gd name="connsiteY5" fmla="*/ 72200 h 79343"/>
                <a:gd name="connsiteX6" fmla="*/ 7144 w 14287"/>
                <a:gd name="connsiteY6" fmla="*/ 79343 h 79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343">
                  <a:moveTo>
                    <a:pt x="7144" y="79343"/>
                  </a:moveTo>
                  <a:cubicBezTo>
                    <a:pt x="3238" y="79343"/>
                    <a:pt x="0" y="76105"/>
                    <a:pt x="0" y="72200"/>
                  </a:cubicBezTo>
                  <a:lnTo>
                    <a:pt x="0" y="7144"/>
                  </a:lnTo>
                  <a:cubicBezTo>
                    <a:pt x="0" y="3238"/>
                    <a:pt x="3238" y="0"/>
                    <a:pt x="7144" y="0"/>
                  </a:cubicBezTo>
                  <a:cubicBezTo>
                    <a:pt x="11049" y="0"/>
                    <a:pt x="14288" y="3238"/>
                    <a:pt x="14288" y="7144"/>
                  </a:cubicBezTo>
                  <a:lnTo>
                    <a:pt x="14288" y="72200"/>
                  </a:lnTo>
                  <a:cubicBezTo>
                    <a:pt x="14288" y="76105"/>
                    <a:pt x="11049" y="79343"/>
                    <a:pt x="7144" y="7934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Shape 1118">
              <a:extLst>
                <a:ext uri="{FF2B5EF4-FFF2-40B4-BE49-F238E27FC236}">
                  <a16:creationId xmlns:a16="http://schemas.microsoft.com/office/drawing/2014/main" id="{8FC57DE1-F0AD-3587-D0A8-640B117DD98A}"/>
                </a:ext>
              </a:extLst>
            </p:cNvPr>
            <p:cNvSpPr/>
            <p:nvPr/>
          </p:nvSpPr>
          <p:spPr>
            <a:xfrm>
              <a:off x="6179655" y="6362212"/>
              <a:ext cx="172974" cy="172973"/>
            </a:xfrm>
            <a:custGeom>
              <a:avLst/>
              <a:gdLst>
                <a:gd name="connsiteX0" fmla="*/ 86487 w 172974"/>
                <a:gd name="connsiteY0" fmla="*/ 172974 h 172973"/>
                <a:gd name="connsiteX1" fmla="*/ 0 w 172974"/>
                <a:gd name="connsiteY1" fmla="*/ 86487 h 172973"/>
                <a:gd name="connsiteX2" fmla="*/ 86487 w 172974"/>
                <a:gd name="connsiteY2" fmla="*/ 0 h 172973"/>
                <a:gd name="connsiteX3" fmla="*/ 172974 w 172974"/>
                <a:gd name="connsiteY3" fmla="*/ 86487 h 172973"/>
                <a:gd name="connsiteX4" fmla="*/ 86487 w 172974"/>
                <a:gd name="connsiteY4" fmla="*/ 172974 h 172973"/>
                <a:gd name="connsiteX5" fmla="*/ 86487 w 172974"/>
                <a:gd name="connsiteY5" fmla="*/ 14288 h 172973"/>
                <a:gd name="connsiteX6" fmla="*/ 14288 w 172974"/>
                <a:gd name="connsiteY6" fmla="*/ 86487 h 172973"/>
                <a:gd name="connsiteX7" fmla="*/ 86487 w 172974"/>
                <a:gd name="connsiteY7" fmla="*/ 158687 h 172973"/>
                <a:gd name="connsiteX8" fmla="*/ 158687 w 172974"/>
                <a:gd name="connsiteY8" fmla="*/ 86487 h 172973"/>
                <a:gd name="connsiteX9" fmla="*/ 86487 w 172974"/>
                <a:gd name="connsiteY9" fmla="*/ 14288 h 17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74" h="172973">
                  <a:moveTo>
                    <a:pt x="86487" y="172974"/>
                  </a:moveTo>
                  <a:cubicBezTo>
                    <a:pt x="38767" y="172974"/>
                    <a:pt x="0" y="134207"/>
                    <a:pt x="0" y="86487"/>
                  </a:cubicBezTo>
                  <a:cubicBezTo>
                    <a:pt x="0" y="38767"/>
                    <a:pt x="38767" y="0"/>
                    <a:pt x="86487" y="0"/>
                  </a:cubicBezTo>
                  <a:cubicBezTo>
                    <a:pt x="134207" y="0"/>
                    <a:pt x="172974" y="38767"/>
                    <a:pt x="172974" y="86487"/>
                  </a:cubicBezTo>
                  <a:cubicBezTo>
                    <a:pt x="172974" y="134207"/>
                    <a:pt x="134207" y="172974"/>
                    <a:pt x="86487" y="172974"/>
                  </a:cubicBezTo>
                  <a:close/>
                  <a:moveTo>
                    <a:pt x="86487" y="14288"/>
                  </a:moveTo>
                  <a:cubicBezTo>
                    <a:pt x="46672" y="14288"/>
                    <a:pt x="14288" y="46672"/>
                    <a:pt x="14288" y="86487"/>
                  </a:cubicBezTo>
                  <a:cubicBezTo>
                    <a:pt x="14288" y="126301"/>
                    <a:pt x="46672" y="158687"/>
                    <a:pt x="86487" y="158687"/>
                  </a:cubicBezTo>
                  <a:cubicBezTo>
                    <a:pt x="126301" y="158687"/>
                    <a:pt x="158687" y="126301"/>
                    <a:pt x="158687" y="86487"/>
                  </a:cubicBezTo>
                  <a:cubicBezTo>
                    <a:pt x="158687" y="46672"/>
                    <a:pt x="126301" y="14288"/>
                    <a:pt x="86487"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Shape 1119">
              <a:extLst>
                <a:ext uri="{FF2B5EF4-FFF2-40B4-BE49-F238E27FC236}">
                  <a16:creationId xmlns:a16="http://schemas.microsoft.com/office/drawing/2014/main" id="{9464F951-F6A5-ED4C-91AD-854EA33C2B30}"/>
                </a:ext>
              </a:extLst>
            </p:cNvPr>
            <p:cNvSpPr/>
            <p:nvPr/>
          </p:nvSpPr>
          <p:spPr>
            <a:xfrm>
              <a:off x="6222327" y="6404884"/>
              <a:ext cx="87629" cy="87630"/>
            </a:xfrm>
            <a:custGeom>
              <a:avLst/>
              <a:gdLst>
                <a:gd name="connsiteX0" fmla="*/ 43815 w 87629"/>
                <a:gd name="connsiteY0" fmla="*/ 87630 h 87630"/>
                <a:gd name="connsiteX1" fmla="*/ 0 w 87629"/>
                <a:gd name="connsiteY1" fmla="*/ 43815 h 87630"/>
                <a:gd name="connsiteX2" fmla="*/ 43815 w 87629"/>
                <a:gd name="connsiteY2" fmla="*/ 0 h 87630"/>
                <a:gd name="connsiteX3" fmla="*/ 87630 w 87629"/>
                <a:gd name="connsiteY3" fmla="*/ 43815 h 87630"/>
                <a:gd name="connsiteX4" fmla="*/ 43815 w 87629"/>
                <a:gd name="connsiteY4" fmla="*/ 87630 h 87630"/>
                <a:gd name="connsiteX5" fmla="*/ 43815 w 87629"/>
                <a:gd name="connsiteY5" fmla="*/ 14288 h 87630"/>
                <a:gd name="connsiteX6" fmla="*/ 14288 w 87629"/>
                <a:gd name="connsiteY6" fmla="*/ 43815 h 87630"/>
                <a:gd name="connsiteX7" fmla="*/ 43815 w 87629"/>
                <a:gd name="connsiteY7" fmla="*/ 73343 h 87630"/>
                <a:gd name="connsiteX8" fmla="*/ 73342 w 87629"/>
                <a:gd name="connsiteY8" fmla="*/ 43815 h 87630"/>
                <a:gd name="connsiteX9" fmla="*/ 43815 w 87629"/>
                <a:gd name="connsiteY9" fmla="*/ 14288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29" h="87630">
                  <a:moveTo>
                    <a:pt x="43815" y="87630"/>
                  </a:moveTo>
                  <a:cubicBezTo>
                    <a:pt x="19717" y="87630"/>
                    <a:pt x="0" y="68008"/>
                    <a:pt x="0" y="43815"/>
                  </a:cubicBezTo>
                  <a:cubicBezTo>
                    <a:pt x="0" y="19622"/>
                    <a:pt x="19621" y="0"/>
                    <a:pt x="43815" y="0"/>
                  </a:cubicBezTo>
                  <a:cubicBezTo>
                    <a:pt x="68008" y="0"/>
                    <a:pt x="87630" y="19622"/>
                    <a:pt x="87630" y="43815"/>
                  </a:cubicBezTo>
                  <a:cubicBezTo>
                    <a:pt x="87630" y="68008"/>
                    <a:pt x="68008" y="87630"/>
                    <a:pt x="43815" y="87630"/>
                  </a:cubicBezTo>
                  <a:close/>
                  <a:moveTo>
                    <a:pt x="43815" y="14288"/>
                  </a:moveTo>
                  <a:cubicBezTo>
                    <a:pt x="27527" y="14288"/>
                    <a:pt x="14288" y="27527"/>
                    <a:pt x="14288" y="43815"/>
                  </a:cubicBezTo>
                  <a:cubicBezTo>
                    <a:pt x="14288" y="60103"/>
                    <a:pt x="27527" y="73343"/>
                    <a:pt x="43815" y="73343"/>
                  </a:cubicBezTo>
                  <a:cubicBezTo>
                    <a:pt x="60103" y="73343"/>
                    <a:pt x="73342" y="60103"/>
                    <a:pt x="73342" y="43815"/>
                  </a:cubicBezTo>
                  <a:cubicBezTo>
                    <a:pt x="73342" y="27527"/>
                    <a:pt x="60103" y="14288"/>
                    <a:pt x="43815"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Shape 1120">
              <a:extLst>
                <a:ext uri="{FF2B5EF4-FFF2-40B4-BE49-F238E27FC236}">
                  <a16:creationId xmlns:a16="http://schemas.microsoft.com/office/drawing/2014/main" id="{3E1E7DD4-4157-0DDA-9019-36B1500FA1D1}"/>
                </a:ext>
              </a:extLst>
            </p:cNvPr>
            <p:cNvSpPr/>
            <p:nvPr/>
          </p:nvSpPr>
          <p:spPr>
            <a:xfrm>
              <a:off x="5630920" y="6362307"/>
              <a:ext cx="172973" cy="172973"/>
            </a:xfrm>
            <a:custGeom>
              <a:avLst/>
              <a:gdLst>
                <a:gd name="connsiteX0" fmla="*/ 86487 w 172973"/>
                <a:gd name="connsiteY0" fmla="*/ 172974 h 172973"/>
                <a:gd name="connsiteX1" fmla="*/ 0 w 172973"/>
                <a:gd name="connsiteY1" fmla="*/ 86487 h 172973"/>
                <a:gd name="connsiteX2" fmla="*/ 86487 w 172973"/>
                <a:gd name="connsiteY2" fmla="*/ 0 h 172973"/>
                <a:gd name="connsiteX3" fmla="*/ 172974 w 172973"/>
                <a:gd name="connsiteY3" fmla="*/ 86487 h 172973"/>
                <a:gd name="connsiteX4" fmla="*/ 86487 w 172973"/>
                <a:gd name="connsiteY4" fmla="*/ 172974 h 172973"/>
                <a:gd name="connsiteX5" fmla="*/ 86487 w 172973"/>
                <a:gd name="connsiteY5" fmla="*/ 14288 h 172973"/>
                <a:gd name="connsiteX6" fmla="*/ 14288 w 172973"/>
                <a:gd name="connsiteY6" fmla="*/ 86487 h 172973"/>
                <a:gd name="connsiteX7" fmla="*/ 86487 w 172973"/>
                <a:gd name="connsiteY7" fmla="*/ 158687 h 172973"/>
                <a:gd name="connsiteX8" fmla="*/ 158686 w 172973"/>
                <a:gd name="connsiteY8" fmla="*/ 86487 h 172973"/>
                <a:gd name="connsiteX9" fmla="*/ 86487 w 172973"/>
                <a:gd name="connsiteY9" fmla="*/ 14288 h 17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73" h="172973">
                  <a:moveTo>
                    <a:pt x="86487" y="172974"/>
                  </a:moveTo>
                  <a:cubicBezTo>
                    <a:pt x="38767" y="172974"/>
                    <a:pt x="0" y="134207"/>
                    <a:pt x="0" y="86487"/>
                  </a:cubicBezTo>
                  <a:cubicBezTo>
                    <a:pt x="0" y="38767"/>
                    <a:pt x="38767" y="0"/>
                    <a:pt x="86487" y="0"/>
                  </a:cubicBezTo>
                  <a:cubicBezTo>
                    <a:pt x="134207" y="0"/>
                    <a:pt x="172974" y="38767"/>
                    <a:pt x="172974" y="86487"/>
                  </a:cubicBezTo>
                  <a:cubicBezTo>
                    <a:pt x="172974" y="134207"/>
                    <a:pt x="134207" y="172974"/>
                    <a:pt x="86487" y="172974"/>
                  </a:cubicBezTo>
                  <a:close/>
                  <a:moveTo>
                    <a:pt x="86487" y="14288"/>
                  </a:moveTo>
                  <a:cubicBezTo>
                    <a:pt x="46673" y="14288"/>
                    <a:pt x="14288" y="46673"/>
                    <a:pt x="14288" y="86487"/>
                  </a:cubicBezTo>
                  <a:cubicBezTo>
                    <a:pt x="14288" y="126302"/>
                    <a:pt x="46673" y="158687"/>
                    <a:pt x="86487" y="158687"/>
                  </a:cubicBezTo>
                  <a:cubicBezTo>
                    <a:pt x="126301" y="158687"/>
                    <a:pt x="158686" y="126302"/>
                    <a:pt x="158686" y="86487"/>
                  </a:cubicBezTo>
                  <a:cubicBezTo>
                    <a:pt x="158686" y="46673"/>
                    <a:pt x="126301" y="14288"/>
                    <a:pt x="86487"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Shape 1121">
              <a:extLst>
                <a:ext uri="{FF2B5EF4-FFF2-40B4-BE49-F238E27FC236}">
                  <a16:creationId xmlns:a16="http://schemas.microsoft.com/office/drawing/2014/main" id="{542D2372-D4E0-0E02-148D-55D39F856947}"/>
                </a:ext>
              </a:extLst>
            </p:cNvPr>
            <p:cNvSpPr/>
            <p:nvPr/>
          </p:nvSpPr>
          <p:spPr>
            <a:xfrm>
              <a:off x="5673592" y="6404979"/>
              <a:ext cx="87630" cy="87630"/>
            </a:xfrm>
            <a:custGeom>
              <a:avLst/>
              <a:gdLst>
                <a:gd name="connsiteX0" fmla="*/ 43815 w 87630"/>
                <a:gd name="connsiteY0" fmla="*/ 87630 h 87630"/>
                <a:gd name="connsiteX1" fmla="*/ 0 w 87630"/>
                <a:gd name="connsiteY1" fmla="*/ 43815 h 87630"/>
                <a:gd name="connsiteX2" fmla="*/ 43815 w 87630"/>
                <a:gd name="connsiteY2" fmla="*/ 0 h 87630"/>
                <a:gd name="connsiteX3" fmla="*/ 87630 w 87630"/>
                <a:gd name="connsiteY3" fmla="*/ 43815 h 87630"/>
                <a:gd name="connsiteX4" fmla="*/ 43815 w 87630"/>
                <a:gd name="connsiteY4" fmla="*/ 87630 h 87630"/>
                <a:gd name="connsiteX5" fmla="*/ 43815 w 87630"/>
                <a:gd name="connsiteY5" fmla="*/ 14288 h 87630"/>
                <a:gd name="connsiteX6" fmla="*/ 14288 w 87630"/>
                <a:gd name="connsiteY6" fmla="*/ 43815 h 87630"/>
                <a:gd name="connsiteX7" fmla="*/ 43815 w 87630"/>
                <a:gd name="connsiteY7" fmla="*/ 73343 h 87630"/>
                <a:gd name="connsiteX8" fmla="*/ 73343 w 87630"/>
                <a:gd name="connsiteY8" fmla="*/ 43815 h 87630"/>
                <a:gd name="connsiteX9" fmla="*/ 43815 w 87630"/>
                <a:gd name="connsiteY9" fmla="*/ 14288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30" h="87630">
                  <a:moveTo>
                    <a:pt x="43815" y="87630"/>
                  </a:moveTo>
                  <a:cubicBezTo>
                    <a:pt x="19622" y="87630"/>
                    <a:pt x="0" y="68009"/>
                    <a:pt x="0" y="43815"/>
                  </a:cubicBezTo>
                  <a:cubicBezTo>
                    <a:pt x="0" y="19622"/>
                    <a:pt x="19622" y="0"/>
                    <a:pt x="43815" y="0"/>
                  </a:cubicBezTo>
                  <a:cubicBezTo>
                    <a:pt x="68008" y="0"/>
                    <a:pt x="87630" y="19622"/>
                    <a:pt x="87630" y="43815"/>
                  </a:cubicBezTo>
                  <a:cubicBezTo>
                    <a:pt x="87630" y="68009"/>
                    <a:pt x="68008" y="87630"/>
                    <a:pt x="43815" y="87630"/>
                  </a:cubicBezTo>
                  <a:close/>
                  <a:moveTo>
                    <a:pt x="43815" y="14288"/>
                  </a:moveTo>
                  <a:cubicBezTo>
                    <a:pt x="27527" y="14288"/>
                    <a:pt x="14288" y="27527"/>
                    <a:pt x="14288" y="43815"/>
                  </a:cubicBezTo>
                  <a:cubicBezTo>
                    <a:pt x="14288" y="60103"/>
                    <a:pt x="27527" y="73343"/>
                    <a:pt x="43815" y="73343"/>
                  </a:cubicBezTo>
                  <a:cubicBezTo>
                    <a:pt x="60103" y="73343"/>
                    <a:pt x="73343" y="60103"/>
                    <a:pt x="73343" y="43815"/>
                  </a:cubicBezTo>
                  <a:cubicBezTo>
                    <a:pt x="73343" y="27527"/>
                    <a:pt x="60103" y="14288"/>
                    <a:pt x="43815"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Shape 1122">
              <a:extLst>
                <a:ext uri="{FF2B5EF4-FFF2-40B4-BE49-F238E27FC236}">
                  <a16:creationId xmlns:a16="http://schemas.microsoft.com/office/drawing/2014/main" id="{F50478EB-61A8-8997-8BA7-69293D256CB6}"/>
                </a:ext>
              </a:extLst>
            </p:cNvPr>
            <p:cNvSpPr/>
            <p:nvPr/>
          </p:nvSpPr>
          <p:spPr>
            <a:xfrm>
              <a:off x="5436991" y="6362307"/>
              <a:ext cx="172973" cy="172973"/>
            </a:xfrm>
            <a:custGeom>
              <a:avLst/>
              <a:gdLst>
                <a:gd name="connsiteX0" fmla="*/ 86487 w 172973"/>
                <a:gd name="connsiteY0" fmla="*/ 172974 h 172973"/>
                <a:gd name="connsiteX1" fmla="*/ 0 w 172973"/>
                <a:gd name="connsiteY1" fmla="*/ 86487 h 172973"/>
                <a:gd name="connsiteX2" fmla="*/ 86487 w 172973"/>
                <a:gd name="connsiteY2" fmla="*/ 0 h 172973"/>
                <a:gd name="connsiteX3" fmla="*/ 172974 w 172973"/>
                <a:gd name="connsiteY3" fmla="*/ 86487 h 172973"/>
                <a:gd name="connsiteX4" fmla="*/ 86487 w 172973"/>
                <a:gd name="connsiteY4" fmla="*/ 172974 h 172973"/>
                <a:gd name="connsiteX5" fmla="*/ 86487 w 172973"/>
                <a:gd name="connsiteY5" fmla="*/ 14288 h 172973"/>
                <a:gd name="connsiteX6" fmla="*/ 14288 w 172973"/>
                <a:gd name="connsiteY6" fmla="*/ 86487 h 172973"/>
                <a:gd name="connsiteX7" fmla="*/ 86487 w 172973"/>
                <a:gd name="connsiteY7" fmla="*/ 158687 h 172973"/>
                <a:gd name="connsiteX8" fmla="*/ 158686 w 172973"/>
                <a:gd name="connsiteY8" fmla="*/ 86487 h 172973"/>
                <a:gd name="connsiteX9" fmla="*/ 86487 w 172973"/>
                <a:gd name="connsiteY9" fmla="*/ 14288 h 17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73" h="172973">
                  <a:moveTo>
                    <a:pt x="86487" y="172974"/>
                  </a:moveTo>
                  <a:cubicBezTo>
                    <a:pt x="38767" y="172974"/>
                    <a:pt x="0" y="134207"/>
                    <a:pt x="0" y="86487"/>
                  </a:cubicBezTo>
                  <a:cubicBezTo>
                    <a:pt x="0" y="38767"/>
                    <a:pt x="38767" y="0"/>
                    <a:pt x="86487" y="0"/>
                  </a:cubicBezTo>
                  <a:cubicBezTo>
                    <a:pt x="134207" y="0"/>
                    <a:pt x="172974" y="38767"/>
                    <a:pt x="172974" y="86487"/>
                  </a:cubicBezTo>
                  <a:cubicBezTo>
                    <a:pt x="172974" y="134207"/>
                    <a:pt x="134207" y="172974"/>
                    <a:pt x="86487" y="172974"/>
                  </a:cubicBezTo>
                  <a:close/>
                  <a:moveTo>
                    <a:pt x="86487" y="14288"/>
                  </a:moveTo>
                  <a:cubicBezTo>
                    <a:pt x="46673" y="14288"/>
                    <a:pt x="14288" y="46673"/>
                    <a:pt x="14288" y="86487"/>
                  </a:cubicBezTo>
                  <a:cubicBezTo>
                    <a:pt x="14288" y="126302"/>
                    <a:pt x="46673" y="158687"/>
                    <a:pt x="86487" y="158687"/>
                  </a:cubicBezTo>
                  <a:cubicBezTo>
                    <a:pt x="126302" y="158687"/>
                    <a:pt x="158686" y="126302"/>
                    <a:pt x="158686" y="86487"/>
                  </a:cubicBezTo>
                  <a:cubicBezTo>
                    <a:pt x="158686" y="46673"/>
                    <a:pt x="126302" y="14288"/>
                    <a:pt x="86487"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Shape 1123">
              <a:extLst>
                <a:ext uri="{FF2B5EF4-FFF2-40B4-BE49-F238E27FC236}">
                  <a16:creationId xmlns:a16="http://schemas.microsoft.com/office/drawing/2014/main" id="{8668EA29-40F5-FD2A-82E8-0EC1FC674A8A}"/>
                </a:ext>
              </a:extLst>
            </p:cNvPr>
            <p:cNvSpPr/>
            <p:nvPr/>
          </p:nvSpPr>
          <p:spPr>
            <a:xfrm>
              <a:off x="5479663" y="6404979"/>
              <a:ext cx="87630" cy="87630"/>
            </a:xfrm>
            <a:custGeom>
              <a:avLst/>
              <a:gdLst>
                <a:gd name="connsiteX0" fmla="*/ 43815 w 87630"/>
                <a:gd name="connsiteY0" fmla="*/ 87630 h 87630"/>
                <a:gd name="connsiteX1" fmla="*/ 0 w 87630"/>
                <a:gd name="connsiteY1" fmla="*/ 43815 h 87630"/>
                <a:gd name="connsiteX2" fmla="*/ 43815 w 87630"/>
                <a:gd name="connsiteY2" fmla="*/ 0 h 87630"/>
                <a:gd name="connsiteX3" fmla="*/ 87630 w 87630"/>
                <a:gd name="connsiteY3" fmla="*/ 43815 h 87630"/>
                <a:gd name="connsiteX4" fmla="*/ 43815 w 87630"/>
                <a:gd name="connsiteY4" fmla="*/ 87630 h 87630"/>
                <a:gd name="connsiteX5" fmla="*/ 43815 w 87630"/>
                <a:gd name="connsiteY5" fmla="*/ 14288 h 87630"/>
                <a:gd name="connsiteX6" fmla="*/ 14288 w 87630"/>
                <a:gd name="connsiteY6" fmla="*/ 43815 h 87630"/>
                <a:gd name="connsiteX7" fmla="*/ 43815 w 87630"/>
                <a:gd name="connsiteY7" fmla="*/ 73343 h 87630"/>
                <a:gd name="connsiteX8" fmla="*/ 73343 w 87630"/>
                <a:gd name="connsiteY8" fmla="*/ 43815 h 87630"/>
                <a:gd name="connsiteX9" fmla="*/ 43815 w 87630"/>
                <a:gd name="connsiteY9" fmla="*/ 14288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30" h="87630">
                  <a:moveTo>
                    <a:pt x="43815" y="87630"/>
                  </a:moveTo>
                  <a:cubicBezTo>
                    <a:pt x="19717" y="87630"/>
                    <a:pt x="0" y="68009"/>
                    <a:pt x="0" y="43815"/>
                  </a:cubicBezTo>
                  <a:cubicBezTo>
                    <a:pt x="0" y="19622"/>
                    <a:pt x="19622" y="0"/>
                    <a:pt x="43815" y="0"/>
                  </a:cubicBezTo>
                  <a:cubicBezTo>
                    <a:pt x="68008" y="0"/>
                    <a:pt x="87630" y="19622"/>
                    <a:pt x="87630" y="43815"/>
                  </a:cubicBezTo>
                  <a:cubicBezTo>
                    <a:pt x="87630" y="68009"/>
                    <a:pt x="68008" y="87630"/>
                    <a:pt x="43815" y="87630"/>
                  </a:cubicBezTo>
                  <a:close/>
                  <a:moveTo>
                    <a:pt x="43815" y="14288"/>
                  </a:moveTo>
                  <a:cubicBezTo>
                    <a:pt x="27527" y="14288"/>
                    <a:pt x="14288" y="27527"/>
                    <a:pt x="14288" y="43815"/>
                  </a:cubicBezTo>
                  <a:cubicBezTo>
                    <a:pt x="14288" y="60103"/>
                    <a:pt x="27527" y="73343"/>
                    <a:pt x="43815" y="73343"/>
                  </a:cubicBezTo>
                  <a:cubicBezTo>
                    <a:pt x="60103" y="73343"/>
                    <a:pt x="73343" y="60103"/>
                    <a:pt x="73343" y="43815"/>
                  </a:cubicBezTo>
                  <a:cubicBezTo>
                    <a:pt x="73343" y="27527"/>
                    <a:pt x="60103" y="14288"/>
                    <a:pt x="43815"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Shape 1124">
              <a:extLst>
                <a:ext uri="{FF2B5EF4-FFF2-40B4-BE49-F238E27FC236}">
                  <a16:creationId xmlns:a16="http://schemas.microsoft.com/office/drawing/2014/main" id="{F2E50293-79C0-4DA1-1FB4-83F5EBDBE679}"/>
                </a:ext>
              </a:extLst>
            </p:cNvPr>
            <p:cNvSpPr/>
            <p:nvPr/>
          </p:nvSpPr>
          <p:spPr>
            <a:xfrm>
              <a:off x="6382633" y="6397454"/>
              <a:ext cx="66579" cy="14287"/>
            </a:xfrm>
            <a:custGeom>
              <a:avLst/>
              <a:gdLst>
                <a:gd name="connsiteX0" fmla="*/ 59436 w 66579"/>
                <a:gd name="connsiteY0" fmla="*/ 14288 h 14287"/>
                <a:gd name="connsiteX1" fmla="*/ 7144 w 66579"/>
                <a:gd name="connsiteY1" fmla="*/ 14288 h 14287"/>
                <a:gd name="connsiteX2" fmla="*/ 0 w 66579"/>
                <a:gd name="connsiteY2" fmla="*/ 7144 h 14287"/>
                <a:gd name="connsiteX3" fmla="*/ 7144 w 66579"/>
                <a:gd name="connsiteY3" fmla="*/ 0 h 14287"/>
                <a:gd name="connsiteX4" fmla="*/ 59436 w 66579"/>
                <a:gd name="connsiteY4" fmla="*/ 0 h 14287"/>
                <a:gd name="connsiteX5" fmla="*/ 66580 w 66579"/>
                <a:gd name="connsiteY5" fmla="*/ 7144 h 14287"/>
                <a:gd name="connsiteX6" fmla="*/ 59436 w 6657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79" h="14287">
                  <a:moveTo>
                    <a:pt x="59436" y="14288"/>
                  </a:moveTo>
                  <a:lnTo>
                    <a:pt x="7144" y="14288"/>
                  </a:lnTo>
                  <a:cubicBezTo>
                    <a:pt x="3238" y="14288"/>
                    <a:pt x="0" y="11049"/>
                    <a:pt x="0" y="7144"/>
                  </a:cubicBezTo>
                  <a:cubicBezTo>
                    <a:pt x="0" y="3239"/>
                    <a:pt x="3238" y="0"/>
                    <a:pt x="7144" y="0"/>
                  </a:cubicBezTo>
                  <a:lnTo>
                    <a:pt x="59436" y="0"/>
                  </a:lnTo>
                  <a:cubicBezTo>
                    <a:pt x="63341" y="0"/>
                    <a:pt x="66580" y="3239"/>
                    <a:pt x="66580" y="7144"/>
                  </a:cubicBezTo>
                  <a:cubicBezTo>
                    <a:pt x="66580" y="11049"/>
                    <a:pt x="63341" y="14288"/>
                    <a:pt x="59436"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Shape 1125">
              <a:extLst>
                <a:ext uri="{FF2B5EF4-FFF2-40B4-BE49-F238E27FC236}">
                  <a16:creationId xmlns:a16="http://schemas.microsoft.com/office/drawing/2014/main" id="{0A2CEEE8-58F4-77A1-8F9B-FE30ED7FBC6D}"/>
                </a:ext>
              </a:extLst>
            </p:cNvPr>
            <p:cNvSpPr/>
            <p:nvPr/>
          </p:nvSpPr>
          <p:spPr>
            <a:xfrm>
              <a:off x="6365393" y="6397454"/>
              <a:ext cx="94107" cy="92297"/>
            </a:xfrm>
            <a:custGeom>
              <a:avLst/>
              <a:gdLst>
                <a:gd name="connsiteX0" fmla="*/ 79153 w 94107"/>
                <a:gd name="connsiteY0" fmla="*/ 92297 h 92297"/>
                <a:gd name="connsiteX1" fmla="*/ 10763 w 94107"/>
                <a:gd name="connsiteY1" fmla="*/ 92297 h 92297"/>
                <a:gd name="connsiteX2" fmla="*/ 3620 w 94107"/>
                <a:gd name="connsiteY2" fmla="*/ 85153 h 92297"/>
                <a:gd name="connsiteX3" fmla="*/ 10763 w 94107"/>
                <a:gd name="connsiteY3" fmla="*/ 78010 h 92297"/>
                <a:gd name="connsiteX4" fmla="*/ 79153 w 94107"/>
                <a:gd name="connsiteY4" fmla="*/ 78010 h 92297"/>
                <a:gd name="connsiteX5" fmla="*/ 79724 w 94107"/>
                <a:gd name="connsiteY5" fmla="*/ 14859 h 92297"/>
                <a:gd name="connsiteX6" fmla="*/ 7144 w 94107"/>
                <a:gd name="connsiteY6" fmla="*/ 14288 h 92297"/>
                <a:gd name="connsiteX7" fmla="*/ 0 w 94107"/>
                <a:gd name="connsiteY7" fmla="*/ 7144 h 92297"/>
                <a:gd name="connsiteX8" fmla="*/ 7144 w 94107"/>
                <a:gd name="connsiteY8" fmla="*/ 0 h 92297"/>
                <a:gd name="connsiteX9" fmla="*/ 79248 w 94107"/>
                <a:gd name="connsiteY9" fmla="*/ 0 h 92297"/>
                <a:gd name="connsiteX10" fmla="*/ 94107 w 94107"/>
                <a:gd name="connsiteY10" fmla="*/ 14859 h 92297"/>
                <a:gd name="connsiteX11" fmla="*/ 94107 w 94107"/>
                <a:gd name="connsiteY11" fmla="*/ 77438 h 92297"/>
                <a:gd name="connsiteX12" fmla="*/ 79248 w 94107"/>
                <a:gd name="connsiteY12" fmla="*/ 92297 h 9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107" h="92297">
                  <a:moveTo>
                    <a:pt x="79153" y="92297"/>
                  </a:moveTo>
                  <a:lnTo>
                    <a:pt x="10763" y="92297"/>
                  </a:lnTo>
                  <a:cubicBezTo>
                    <a:pt x="6858" y="92297"/>
                    <a:pt x="3620" y="89059"/>
                    <a:pt x="3620" y="85153"/>
                  </a:cubicBezTo>
                  <a:cubicBezTo>
                    <a:pt x="3620" y="81248"/>
                    <a:pt x="6858" y="78010"/>
                    <a:pt x="10763" y="78010"/>
                  </a:cubicBezTo>
                  <a:lnTo>
                    <a:pt x="79153" y="78010"/>
                  </a:lnTo>
                  <a:lnTo>
                    <a:pt x="79724" y="14859"/>
                  </a:lnTo>
                  <a:lnTo>
                    <a:pt x="7144" y="14288"/>
                  </a:lnTo>
                  <a:cubicBezTo>
                    <a:pt x="3238" y="14288"/>
                    <a:pt x="0" y="11049"/>
                    <a:pt x="0" y="7144"/>
                  </a:cubicBezTo>
                  <a:cubicBezTo>
                    <a:pt x="0" y="3239"/>
                    <a:pt x="3238" y="0"/>
                    <a:pt x="7144" y="0"/>
                  </a:cubicBezTo>
                  <a:lnTo>
                    <a:pt x="79248" y="0"/>
                  </a:lnTo>
                  <a:cubicBezTo>
                    <a:pt x="87439" y="0"/>
                    <a:pt x="94107" y="6667"/>
                    <a:pt x="94107" y="14859"/>
                  </a:cubicBezTo>
                  <a:lnTo>
                    <a:pt x="94107" y="77438"/>
                  </a:lnTo>
                  <a:cubicBezTo>
                    <a:pt x="94107" y="85630"/>
                    <a:pt x="87439" y="92297"/>
                    <a:pt x="79248" y="9229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Shape 1126">
              <a:extLst>
                <a:ext uri="{FF2B5EF4-FFF2-40B4-BE49-F238E27FC236}">
                  <a16:creationId xmlns:a16="http://schemas.microsoft.com/office/drawing/2014/main" id="{56C37398-0846-1F00-DBEF-521B9444B6BC}"/>
                </a:ext>
              </a:extLst>
            </p:cNvPr>
            <p:cNvSpPr/>
            <p:nvPr/>
          </p:nvSpPr>
          <p:spPr>
            <a:xfrm>
              <a:off x="6220422" y="6236911"/>
              <a:ext cx="217074" cy="174831"/>
            </a:xfrm>
            <a:custGeom>
              <a:avLst/>
              <a:gdLst>
                <a:gd name="connsiteX0" fmla="*/ 210026 w 217074"/>
                <a:gd name="connsiteY0" fmla="*/ 174831 h 174831"/>
                <a:gd name="connsiteX1" fmla="*/ 202883 w 217074"/>
                <a:gd name="connsiteY1" fmla="*/ 167687 h 174831"/>
                <a:gd name="connsiteX2" fmla="*/ 202883 w 217074"/>
                <a:gd name="connsiteY2" fmla="*/ 87106 h 174831"/>
                <a:gd name="connsiteX3" fmla="*/ 180594 w 217074"/>
                <a:gd name="connsiteY3" fmla="*/ 61103 h 174831"/>
                <a:gd name="connsiteX4" fmla="*/ 14288 w 217074"/>
                <a:gd name="connsiteY4" fmla="*/ 16526 h 174831"/>
                <a:gd name="connsiteX5" fmla="*/ 14288 w 217074"/>
                <a:gd name="connsiteY5" fmla="*/ 103298 h 174831"/>
                <a:gd name="connsiteX6" fmla="*/ 7144 w 217074"/>
                <a:gd name="connsiteY6" fmla="*/ 110442 h 174831"/>
                <a:gd name="connsiteX7" fmla="*/ 0 w 217074"/>
                <a:gd name="connsiteY7" fmla="*/ 103298 h 174831"/>
                <a:gd name="connsiteX8" fmla="*/ 0 w 217074"/>
                <a:gd name="connsiteY8" fmla="*/ 7191 h 174831"/>
                <a:gd name="connsiteX9" fmla="*/ 2762 w 217074"/>
                <a:gd name="connsiteY9" fmla="*/ 1476 h 174831"/>
                <a:gd name="connsiteX10" fmla="*/ 8954 w 217074"/>
                <a:gd name="connsiteY10" fmla="*/ 238 h 174831"/>
                <a:gd name="connsiteX11" fmla="*/ 183928 w 217074"/>
                <a:gd name="connsiteY11" fmla="*/ 47196 h 174831"/>
                <a:gd name="connsiteX12" fmla="*/ 217075 w 217074"/>
                <a:gd name="connsiteY12" fmla="*/ 87106 h 174831"/>
                <a:gd name="connsiteX13" fmla="*/ 217075 w 217074"/>
                <a:gd name="connsiteY13" fmla="*/ 167687 h 174831"/>
                <a:gd name="connsiteX14" fmla="*/ 209931 w 217074"/>
                <a:gd name="connsiteY14" fmla="*/ 174831 h 174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074" h="174831">
                  <a:moveTo>
                    <a:pt x="210026" y="174831"/>
                  </a:moveTo>
                  <a:cubicBezTo>
                    <a:pt x="206121" y="174831"/>
                    <a:pt x="202883" y="171593"/>
                    <a:pt x="202883" y="167687"/>
                  </a:cubicBezTo>
                  <a:lnTo>
                    <a:pt x="202883" y="87106"/>
                  </a:lnTo>
                  <a:cubicBezTo>
                    <a:pt x="202883" y="69675"/>
                    <a:pt x="195739" y="64817"/>
                    <a:pt x="180594" y="61103"/>
                  </a:cubicBezTo>
                  <a:cubicBezTo>
                    <a:pt x="166116" y="57483"/>
                    <a:pt x="48387" y="25765"/>
                    <a:pt x="14288" y="16526"/>
                  </a:cubicBezTo>
                  <a:lnTo>
                    <a:pt x="14288" y="103298"/>
                  </a:lnTo>
                  <a:cubicBezTo>
                    <a:pt x="14288" y="107204"/>
                    <a:pt x="11049" y="110442"/>
                    <a:pt x="7144" y="110442"/>
                  </a:cubicBezTo>
                  <a:cubicBezTo>
                    <a:pt x="3238" y="110442"/>
                    <a:pt x="0" y="107204"/>
                    <a:pt x="0" y="103298"/>
                  </a:cubicBezTo>
                  <a:lnTo>
                    <a:pt x="0" y="7191"/>
                  </a:lnTo>
                  <a:cubicBezTo>
                    <a:pt x="0" y="5000"/>
                    <a:pt x="1048" y="2905"/>
                    <a:pt x="2762" y="1476"/>
                  </a:cubicBezTo>
                  <a:cubicBezTo>
                    <a:pt x="4572" y="143"/>
                    <a:pt x="6858" y="-334"/>
                    <a:pt x="8954" y="238"/>
                  </a:cubicBezTo>
                  <a:cubicBezTo>
                    <a:pt x="10573" y="619"/>
                    <a:pt x="167545" y="43100"/>
                    <a:pt x="183928" y="47196"/>
                  </a:cubicBezTo>
                  <a:cubicBezTo>
                    <a:pt x="200311" y="51292"/>
                    <a:pt x="217075" y="59198"/>
                    <a:pt x="217075" y="87106"/>
                  </a:cubicBezTo>
                  <a:lnTo>
                    <a:pt x="217075" y="167687"/>
                  </a:lnTo>
                  <a:cubicBezTo>
                    <a:pt x="217075" y="171593"/>
                    <a:pt x="213836" y="174831"/>
                    <a:pt x="209931" y="174831"/>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Shape 1127">
              <a:extLst>
                <a:ext uri="{FF2B5EF4-FFF2-40B4-BE49-F238E27FC236}">
                  <a16:creationId xmlns:a16="http://schemas.microsoft.com/office/drawing/2014/main" id="{D4EE6B00-B7A9-24A5-1799-0FA3C6B4B1AD}"/>
                </a:ext>
              </a:extLst>
            </p:cNvPr>
            <p:cNvSpPr/>
            <p:nvPr/>
          </p:nvSpPr>
          <p:spPr>
            <a:xfrm>
              <a:off x="5816657" y="6397454"/>
              <a:ext cx="350234" cy="14287"/>
            </a:xfrm>
            <a:custGeom>
              <a:avLst/>
              <a:gdLst>
                <a:gd name="connsiteX0" fmla="*/ 343091 w 350234"/>
                <a:gd name="connsiteY0" fmla="*/ 14288 h 14287"/>
                <a:gd name="connsiteX1" fmla="*/ 7144 w 350234"/>
                <a:gd name="connsiteY1" fmla="*/ 14288 h 14287"/>
                <a:gd name="connsiteX2" fmla="*/ 0 w 350234"/>
                <a:gd name="connsiteY2" fmla="*/ 7144 h 14287"/>
                <a:gd name="connsiteX3" fmla="*/ 7144 w 350234"/>
                <a:gd name="connsiteY3" fmla="*/ 0 h 14287"/>
                <a:gd name="connsiteX4" fmla="*/ 343091 w 350234"/>
                <a:gd name="connsiteY4" fmla="*/ 0 h 14287"/>
                <a:gd name="connsiteX5" fmla="*/ 350234 w 350234"/>
                <a:gd name="connsiteY5" fmla="*/ 7144 h 14287"/>
                <a:gd name="connsiteX6" fmla="*/ 343091 w 35023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234" h="14287">
                  <a:moveTo>
                    <a:pt x="343091" y="14288"/>
                  </a:moveTo>
                  <a:lnTo>
                    <a:pt x="7144" y="14288"/>
                  </a:lnTo>
                  <a:cubicBezTo>
                    <a:pt x="3238" y="14288"/>
                    <a:pt x="0" y="11049"/>
                    <a:pt x="0" y="7144"/>
                  </a:cubicBezTo>
                  <a:cubicBezTo>
                    <a:pt x="0" y="3239"/>
                    <a:pt x="3238" y="0"/>
                    <a:pt x="7144" y="0"/>
                  </a:cubicBezTo>
                  <a:lnTo>
                    <a:pt x="343091" y="0"/>
                  </a:lnTo>
                  <a:cubicBezTo>
                    <a:pt x="346996" y="0"/>
                    <a:pt x="350234" y="3239"/>
                    <a:pt x="350234" y="7144"/>
                  </a:cubicBezTo>
                  <a:cubicBezTo>
                    <a:pt x="350234" y="11049"/>
                    <a:pt x="346996" y="14288"/>
                    <a:pt x="343091"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Shape 1128">
              <a:extLst>
                <a:ext uri="{FF2B5EF4-FFF2-40B4-BE49-F238E27FC236}">
                  <a16:creationId xmlns:a16="http://schemas.microsoft.com/office/drawing/2014/main" id="{80DDBC66-9EC2-711D-AF62-22E249A2FEF3}"/>
                </a:ext>
              </a:extLst>
            </p:cNvPr>
            <p:cNvSpPr/>
            <p:nvPr/>
          </p:nvSpPr>
          <p:spPr>
            <a:xfrm>
              <a:off x="5820372" y="6475464"/>
              <a:ext cx="342804" cy="14287"/>
            </a:xfrm>
            <a:custGeom>
              <a:avLst/>
              <a:gdLst>
                <a:gd name="connsiteX0" fmla="*/ 335661 w 342804"/>
                <a:gd name="connsiteY0" fmla="*/ 14288 h 14287"/>
                <a:gd name="connsiteX1" fmla="*/ 7144 w 342804"/>
                <a:gd name="connsiteY1" fmla="*/ 14288 h 14287"/>
                <a:gd name="connsiteX2" fmla="*/ 0 w 342804"/>
                <a:gd name="connsiteY2" fmla="*/ 7144 h 14287"/>
                <a:gd name="connsiteX3" fmla="*/ 7144 w 342804"/>
                <a:gd name="connsiteY3" fmla="*/ 0 h 14287"/>
                <a:gd name="connsiteX4" fmla="*/ 335661 w 342804"/>
                <a:gd name="connsiteY4" fmla="*/ 0 h 14287"/>
                <a:gd name="connsiteX5" fmla="*/ 342805 w 342804"/>
                <a:gd name="connsiteY5" fmla="*/ 7144 h 14287"/>
                <a:gd name="connsiteX6" fmla="*/ 335661 w 34280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804" h="14287">
                  <a:moveTo>
                    <a:pt x="335661" y="14288"/>
                  </a:moveTo>
                  <a:lnTo>
                    <a:pt x="7144" y="14288"/>
                  </a:lnTo>
                  <a:cubicBezTo>
                    <a:pt x="3238" y="14288"/>
                    <a:pt x="0" y="11049"/>
                    <a:pt x="0" y="7144"/>
                  </a:cubicBezTo>
                  <a:cubicBezTo>
                    <a:pt x="0" y="3239"/>
                    <a:pt x="3238" y="0"/>
                    <a:pt x="7144" y="0"/>
                  </a:cubicBezTo>
                  <a:lnTo>
                    <a:pt x="335661" y="0"/>
                  </a:lnTo>
                  <a:cubicBezTo>
                    <a:pt x="339566" y="0"/>
                    <a:pt x="342805" y="3239"/>
                    <a:pt x="342805" y="7144"/>
                  </a:cubicBezTo>
                  <a:cubicBezTo>
                    <a:pt x="342805" y="11049"/>
                    <a:pt x="339566" y="14288"/>
                    <a:pt x="335661"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Shape 1129">
              <a:extLst>
                <a:ext uri="{FF2B5EF4-FFF2-40B4-BE49-F238E27FC236}">
                  <a16:creationId xmlns:a16="http://schemas.microsoft.com/office/drawing/2014/main" id="{9E9A7DAB-1DD9-7189-E25B-582EA5617BF2}"/>
                </a:ext>
              </a:extLst>
            </p:cNvPr>
            <p:cNvSpPr/>
            <p:nvPr/>
          </p:nvSpPr>
          <p:spPr>
            <a:xfrm>
              <a:off x="5874284" y="5973878"/>
              <a:ext cx="227989" cy="437959"/>
            </a:xfrm>
            <a:custGeom>
              <a:avLst/>
              <a:gdLst>
                <a:gd name="connsiteX0" fmla="*/ 7144 w 227989"/>
                <a:gd name="connsiteY0" fmla="*/ 437864 h 437959"/>
                <a:gd name="connsiteX1" fmla="*/ 0 w 227989"/>
                <a:gd name="connsiteY1" fmla="*/ 430721 h 437959"/>
                <a:gd name="connsiteX2" fmla="*/ 0 w 227989"/>
                <a:gd name="connsiteY2" fmla="*/ 7144 h 437959"/>
                <a:gd name="connsiteX3" fmla="*/ 2096 w 227989"/>
                <a:gd name="connsiteY3" fmla="*/ 2096 h 437959"/>
                <a:gd name="connsiteX4" fmla="*/ 7239 w 227989"/>
                <a:gd name="connsiteY4" fmla="*/ 0 h 437959"/>
                <a:gd name="connsiteX5" fmla="*/ 227362 w 227989"/>
                <a:gd name="connsiteY5" fmla="*/ 95345 h 437959"/>
                <a:gd name="connsiteX6" fmla="*/ 223742 w 227989"/>
                <a:gd name="connsiteY6" fmla="*/ 104775 h 437959"/>
                <a:gd name="connsiteX7" fmla="*/ 214313 w 227989"/>
                <a:gd name="connsiteY7" fmla="*/ 101156 h 437959"/>
                <a:gd name="connsiteX8" fmla="*/ 174212 w 227989"/>
                <a:gd name="connsiteY8" fmla="*/ 58769 h 437959"/>
                <a:gd name="connsiteX9" fmla="*/ 14383 w 227989"/>
                <a:gd name="connsiteY9" fmla="*/ 14478 h 437959"/>
                <a:gd name="connsiteX10" fmla="*/ 14383 w 227989"/>
                <a:gd name="connsiteY10" fmla="*/ 430816 h 437959"/>
                <a:gd name="connsiteX11" fmla="*/ 7239 w 227989"/>
                <a:gd name="connsiteY11" fmla="*/ 437960 h 437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989" h="437959">
                  <a:moveTo>
                    <a:pt x="7144" y="437864"/>
                  </a:moveTo>
                  <a:cubicBezTo>
                    <a:pt x="3238" y="437864"/>
                    <a:pt x="0" y="434626"/>
                    <a:pt x="0" y="430721"/>
                  </a:cubicBezTo>
                  <a:lnTo>
                    <a:pt x="0" y="7144"/>
                  </a:lnTo>
                  <a:cubicBezTo>
                    <a:pt x="0" y="5239"/>
                    <a:pt x="762" y="3429"/>
                    <a:pt x="2096" y="2096"/>
                  </a:cubicBezTo>
                  <a:cubicBezTo>
                    <a:pt x="3429" y="762"/>
                    <a:pt x="5239" y="95"/>
                    <a:pt x="7239" y="0"/>
                  </a:cubicBezTo>
                  <a:cubicBezTo>
                    <a:pt x="183737" y="2477"/>
                    <a:pt x="225647" y="91535"/>
                    <a:pt x="227362" y="95345"/>
                  </a:cubicBezTo>
                  <a:cubicBezTo>
                    <a:pt x="228981" y="98965"/>
                    <a:pt x="227362" y="103156"/>
                    <a:pt x="223742" y="104775"/>
                  </a:cubicBezTo>
                  <a:cubicBezTo>
                    <a:pt x="220123" y="106394"/>
                    <a:pt x="215932" y="104775"/>
                    <a:pt x="214313" y="101156"/>
                  </a:cubicBezTo>
                  <a:cubicBezTo>
                    <a:pt x="214217" y="100870"/>
                    <a:pt x="204311" y="79820"/>
                    <a:pt x="174212" y="58769"/>
                  </a:cubicBezTo>
                  <a:cubicBezTo>
                    <a:pt x="146971" y="39719"/>
                    <a:pt x="97346" y="16859"/>
                    <a:pt x="14383" y="14478"/>
                  </a:cubicBezTo>
                  <a:lnTo>
                    <a:pt x="14383" y="430816"/>
                  </a:lnTo>
                  <a:cubicBezTo>
                    <a:pt x="14383" y="434721"/>
                    <a:pt x="11144" y="437960"/>
                    <a:pt x="7239" y="43796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Shape 1130">
              <a:extLst>
                <a:ext uri="{FF2B5EF4-FFF2-40B4-BE49-F238E27FC236}">
                  <a16:creationId xmlns:a16="http://schemas.microsoft.com/office/drawing/2014/main" id="{CA6CD0A0-92A2-8D36-37AE-9B4E3CB8A41F}"/>
                </a:ext>
              </a:extLst>
            </p:cNvPr>
            <p:cNvSpPr/>
            <p:nvPr/>
          </p:nvSpPr>
          <p:spPr>
            <a:xfrm>
              <a:off x="5939720" y="6120753"/>
              <a:ext cx="70199" cy="14287"/>
            </a:xfrm>
            <a:custGeom>
              <a:avLst/>
              <a:gdLst>
                <a:gd name="connsiteX0" fmla="*/ 63055 w 70199"/>
                <a:gd name="connsiteY0" fmla="*/ 14288 h 14287"/>
                <a:gd name="connsiteX1" fmla="*/ 7144 w 70199"/>
                <a:gd name="connsiteY1" fmla="*/ 14288 h 14287"/>
                <a:gd name="connsiteX2" fmla="*/ 0 w 70199"/>
                <a:gd name="connsiteY2" fmla="*/ 7144 h 14287"/>
                <a:gd name="connsiteX3" fmla="*/ 7144 w 70199"/>
                <a:gd name="connsiteY3" fmla="*/ 0 h 14287"/>
                <a:gd name="connsiteX4" fmla="*/ 63055 w 70199"/>
                <a:gd name="connsiteY4" fmla="*/ 0 h 14287"/>
                <a:gd name="connsiteX5" fmla="*/ 70199 w 70199"/>
                <a:gd name="connsiteY5" fmla="*/ 7144 h 14287"/>
                <a:gd name="connsiteX6" fmla="*/ 63055 w 7019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99" h="14287">
                  <a:moveTo>
                    <a:pt x="63055" y="14288"/>
                  </a:moveTo>
                  <a:lnTo>
                    <a:pt x="7144" y="14288"/>
                  </a:lnTo>
                  <a:cubicBezTo>
                    <a:pt x="3238" y="14288"/>
                    <a:pt x="0" y="11049"/>
                    <a:pt x="0" y="7144"/>
                  </a:cubicBezTo>
                  <a:cubicBezTo>
                    <a:pt x="0" y="3239"/>
                    <a:pt x="3238" y="0"/>
                    <a:pt x="7144" y="0"/>
                  </a:cubicBezTo>
                  <a:lnTo>
                    <a:pt x="63055" y="0"/>
                  </a:lnTo>
                  <a:cubicBezTo>
                    <a:pt x="66961" y="0"/>
                    <a:pt x="70199" y="3239"/>
                    <a:pt x="70199" y="7144"/>
                  </a:cubicBezTo>
                  <a:cubicBezTo>
                    <a:pt x="70199" y="11049"/>
                    <a:pt x="66961" y="14288"/>
                    <a:pt x="63055"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Shape 1131">
              <a:extLst>
                <a:ext uri="{FF2B5EF4-FFF2-40B4-BE49-F238E27FC236}">
                  <a16:creationId xmlns:a16="http://schemas.microsoft.com/office/drawing/2014/main" id="{7EF2C893-98EC-14B2-B83B-D875210869B1}"/>
                </a:ext>
              </a:extLst>
            </p:cNvPr>
            <p:cNvSpPr/>
            <p:nvPr/>
          </p:nvSpPr>
          <p:spPr>
            <a:xfrm>
              <a:off x="5939720" y="6279630"/>
              <a:ext cx="70199" cy="14287"/>
            </a:xfrm>
            <a:custGeom>
              <a:avLst/>
              <a:gdLst>
                <a:gd name="connsiteX0" fmla="*/ 63055 w 70199"/>
                <a:gd name="connsiteY0" fmla="*/ 14288 h 14287"/>
                <a:gd name="connsiteX1" fmla="*/ 7144 w 70199"/>
                <a:gd name="connsiteY1" fmla="*/ 14288 h 14287"/>
                <a:gd name="connsiteX2" fmla="*/ 0 w 70199"/>
                <a:gd name="connsiteY2" fmla="*/ 7144 h 14287"/>
                <a:gd name="connsiteX3" fmla="*/ 7144 w 70199"/>
                <a:gd name="connsiteY3" fmla="*/ 0 h 14287"/>
                <a:gd name="connsiteX4" fmla="*/ 63055 w 70199"/>
                <a:gd name="connsiteY4" fmla="*/ 0 h 14287"/>
                <a:gd name="connsiteX5" fmla="*/ 70199 w 70199"/>
                <a:gd name="connsiteY5" fmla="*/ 7144 h 14287"/>
                <a:gd name="connsiteX6" fmla="*/ 63055 w 7019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99" h="14287">
                  <a:moveTo>
                    <a:pt x="63055" y="14288"/>
                  </a:moveTo>
                  <a:lnTo>
                    <a:pt x="7144" y="14288"/>
                  </a:lnTo>
                  <a:cubicBezTo>
                    <a:pt x="3238" y="14288"/>
                    <a:pt x="0" y="11049"/>
                    <a:pt x="0" y="7144"/>
                  </a:cubicBezTo>
                  <a:cubicBezTo>
                    <a:pt x="0" y="3239"/>
                    <a:pt x="3238" y="0"/>
                    <a:pt x="7144" y="0"/>
                  </a:cubicBezTo>
                  <a:lnTo>
                    <a:pt x="63055" y="0"/>
                  </a:lnTo>
                  <a:cubicBezTo>
                    <a:pt x="66961" y="0"/>
                    <a:pt x="70199" y="3239"/>
                    <a:pt x="70199" y="7144"/>
                  </a:cubicBezTo>
                  <a:cubicBezTo>
                    <a:pt x="70199" y="11049"/>
                    <a:pt x="66961" y="14288"/>
                    <a:pt x="63055"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Shape 1132">
              <a:extLst>
                <a:ext uri="{FF2B5EF4-FFF2-40B4-BE49-F238E27FC236}">
                  <a16:creationId xmlns:a16="http://schemas.microsoft.com/office/drawing/2014/main" id="{F0D71785-3BBF-23C3-3832-4CE641924CD8}"/>
                </a:ext>
              </a:extLst>
            </p:cNvPr>
            <p:cNvSpPr/>
            <p:nvPr/>
          </p:nvSpPr>
          <p:spPr>
            <a:xfrm>
              <a:off x="4936833" y="6362307"/>
              <a:ext cx="172973" cy="172973"/>
            </a:xfrm>
            <a:custGeom>
              <a:avLst/>
              <a:gdLst>
                <a:gd name="connsiteX0" fmla="*/ 86487 w 172973"/>
                <a:gd name="connsiteY0" fmla="*/ 172974 h 172973"/>
                <a:gd name="connsiteX1" fmla="*/ 0 w 172973"/>
                <a:gd name="connsiteY1" fmla="*/ 86487 h 172973"/>
                <a:gd name="connsiteX2" fmla="*/ 86487 w 172973"/>
                <a:gd name="connsiteY2" fmla="*/ 0 h 172973"/>
                <a:gd name="connsiteX3" fmla="*/ 172974 w 172973"/>
                <a:gd name="connsiteY3" fmla="*/ 86487 h 172973"/>
                <a:gd name="connsiteX4" fmla="*/ 86487 w 172973"/>
                <a:gd name="connsiteY4" fmla="*/ 172974 h 172973"/>
                <a:gd name="connsiteX5" fmla="*/ 86487 w 172973"/>
                <a:gd name="connsiteY5" fmla="*/ 14288 h 172973"/>
                <a:gd name="connsiteX6" fmla="*/ 14288 w 172973"/>
                <a:gd name="connsiteY6" fmla="*/ 86487 h 172973"/>
                <a:gd name="connsiteX7" fmla="*/ 86487 w 172973"/>
                <a:gd name="connsiteY7" fmla="*/ 158687 h 172973"/>
                <a:gd name="connsiteX8" fmla="*/ 158687 w 172973"/>
                <a:gd name="connsiteY8" fmla="*/ 86487 h 172973"/>
                <a:gd name="connsiteX9" fmla="*/ 86487 w 172973"/>
                <a:gd name="connsiteY9" fmla="*/ 14288 h 17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73" h="172973">
                  <a:moveTo>
                    <a:pt x="86487" y="172974"/>
                  </a:moveTo>
                  <a:cubicBezTo>
                    <a:pt x="38767" y="172974"/>
                    <a:pt x="0" y="134207"/>
                    <a:pt x="0" y="86487"/>
                  </a:cubicBezTo>
                  <a:cubicBezTo>
                    <a:pt x="0" y="38767"/>
                    <a:pt x="38767" y="0"/>
                    <a:pt x="86487" y="0"/>
                  </a:cubicBezTo>
                  <a:cubicBezTo>
                    <a:pt x="134207" y="0"/>
                    <a:pt x="172974" y="38767"/>
                    <a:pt x="172974" y="86487"/>
                  </a:cubicBezTo>
                  <a:cubicBezTo>
                    <a:pt x="172974" y="134207"/>
                    <a:pt x="134207" y="172974"/>
                    <a:pt x="86487" y="172974"/>
                  </a:cubicBezTo>
                  <a:close/>
                  <a:moveTo>
                    <a:pt x="86487" y="14288"/>
                  </a:moveTo>
                  <a:cubicBezTo>
                    <a:pt x="46673" y="14288"/>
                    <a:pt x="14288" y="46673"/>
                    <a:pt x="14288" y="86487"/>
                  </a:cubicBezTo>
                  <a:cubicBezTo>
                    <a:pt x="14288" y="126302"/>
                    <a:pt x="46673" y="158687"/>
                    <a:pt x="86487" y="158687"/>
                  </a:cubicBezTo>
                  <a:cubicBezTo>
                    <a:pt x="126302" y="158687"/>
                    <a:pt x="158687" y="126302"/>
                    <a:pt x="158687" y="86487"/>
                  </a:cubicBezTo>
                  <a:cubicBezTo>
                    <a:pt x="158687" y="46673"/>
                    <a:pt x="126302" y="14288"/>
                    <a:pt x="86487"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Shape 1133">
              <a:extLst>
                <a:ext uri="{FF2B5EF4-FFF2-40B4-BE49-F238E27FC236}">
                  <a16:creationId xmlns:a16="http://schemas.microsoft.com/office/drawing/2014/main" id="{CCA169BB-8863-C4BE-2D12-45FA73E92979}"/>
                </a:ext>
              </a:extLst>
            </p:cNvPr>
            <p:cNvSpPr/>
            <p:nvPr/>
          </p:nvSpPr>
          <p:spPr>
            <a:xfrm>
              <a:off x="4979505" y="6404979"/>
              <a:ext cx="87630" cy="87630"/>
            </a:xfrm>
            <a:custGeom>
              <a:avLst/>
              <a:gdLst>
                <a:gd name="connsiteX0" fmla="*/ 43815 w 87630"/>
                <a:gd name="connsiteY0" fmla="*/ 87630 h 87630"/>
                <a:gd name="connsiteX1" fmla="*/ 0 w 87630"/>
                <a:gd name="connsiteY1" fmla="*/ 43815 h 87630"/>
                <a:gd name="connsiteX2" fmla="*/ 43815 w 87630"/>
                <a:gd name="connsiteY2" fmla="*/ 0 h 87630"/>
                <a:gd name="connsiteX3" fmla="*/ 87630 w 87630"/>
                <a:gd name="connsiteY3" fmla="*/ 43815 h 87630"/>
                <a:gd name="connsiteX4" fmla="*/ 43815 w 87630"/>
                <a:gd name="connsiteY4" fmla="*/ 87630 h 87630"/>
                <a:gd name="connsiteX5" fmla="*/ 43815 w 87630"/>
                <a:gd name="connsiteY5" fmla="*/ 14288 h 87630"/>
                <a:gd name="connsiteX6" fmla="*/ 14288 w 87630"/>
                <a:gd name="connsiteY6" fmla="*/ 43815 h 87630"/>
                <a:gd name="connsiteX7" fmla="*/ 43815 w 87630"/>
                <a:gd name="connsiteY7" fmla="*/ 73343 h 87630"/>
                <a:gd name="connsiteX8" fmla="*/ 73343 w 87630"/>
                <a:gd name="connsiteY8" fmla="*/ 43815 h 87630"/>
                <a:gd name="connsiteX9" fmla="*/ 43815 w 87630"/>
                <a:gd name="connsiteY9" fmla="*/ 14288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30" h="87630">
                  <a:moveTo>
                    <a:pt x="43815" y="87630"/>
                  </a:moveTo>
                  <a:cubicBezTo>
                    <a:pt x="19717" y="87630"/>
                    <a:pt x="0" y="68009"/>
                    <a:pt x="0" y="43815"/>
                  </a:cubicBezTo>
                  <a:cubicBezTo>
                    <a:pt x="0" y="19622"/>
                    <a:pt x="19622" y="0"/>
                    <a:pt x="43815" y="0"/>
                  </a:cubicBezTo>
                  <a:cubicBezTo>
                    <a:pt x="68009" y="0"/>
                    <a:pt x="87630" y="19622"/>
                    <a:pt x="87630" y="43815"/>
                  </a:cubicBezTo>
                  <a:cubicBezTo>
                    <a:pt x="87630" y="68009"/>
                    <a:pt x="68009" y="87630"/>
                    <a:pt x="43815" y="87630"/>
                  </a:cubicBezTo>
                  <a:close/>
                  <a:moveTo>
                    <a:pt x="43815" y="14288"/>
                  </a:moveTo>
                  <a:cubicBezTo>
                    <a:pt x="27527" y="14288"/>
                    <a:pt x="14288" y="27527"/>
                    <a:pt x="14288" y="43815"/>
                  </a:cubicBezTo>
                  <a:cubicBezTo>
                    <a:pt x="14288" y="60103"/>
                    <a:pt x="27527" y="73343"/>
                    <a:pt x="43815" y="73343"/>
                  </a:cubicBezTo>
                  <a:cubicBezTo>
                    <a:pt x="60103" y="73343"/>
                    <a:pt x="73343" y="60103"/>
                    <a:pt x="73343" y="43815"/>
                  </a:cubicBezTo>
                  <a:cubicBezTo>
                    <a:pt x="73343" y="27527"/>
                    <a:pt x="60103" y="14288"/>
                    <a:pt x="43815"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Shape 1134">
              <a:extLst>
                <a:ext uri="{FF2B5EF4-FFF2-40B4-BE49-F238E27FC236}">
                  <a16:creationId xmlns:a16="http://schemas.microsoft.com/office/drawing/2014/main" id="{AB93E101-030B-BF13-39E6-9E6443D4422E}"/>
                </a:ext>
              </a:extLst>
            </p:cNvPr>
            <p:cNvSpPr/>
            <p:nvPr/>
          </p:nvSpPr>
          <p:spPr>
            <a:xfrm>
              <a:off x="4742809" y="6362307"/>
              <a:ext cx="172973" cy="172973"/>
            </a:xfrm>
            <a:custGeom>
              <a:avLst/>
              <a:gdLst>
                <a:gd name="connsiteX0" fmla="*/ 86487 w 172973"/>
                <a:gd name="connsiteY0" fmla="*/ 172974 h 172973"/>
                <a:gd name="connsiteX1" fmla="*/ 0 w 172973"/>
                <a:gd name="connsiteY1" fmla="*/ 86487 h 172973"/>
                <a:gd name="connsiteX2" fmla="*/ 86487 w 172973"/>
                <a:gd name="connsiteY2" fmla="*/ 0 h 172973"/>
                <a:gd name="connsiteX3" fmla="*/ 172974 w 172973"/>
                <a:gd name="connsiteY3" fmla="*/ 86487 h 172973"/>
                <a:gd name="connsiteX4" fmla="*/ 86487 w 172973"/>
                <a:gd name="connsiteY4" fmla="*/ 172974 h 172973"/>
                <a:gd name="connsiteX5" fmla="*/ 86487 w 172973"/>
                <a:gd name="connsiteY5" fmla="*/ 14288 h 172973"/>
                <a:gd name="connsiteX6" fmla="*/ 14288 w 172973"/>
                <a:gd name="connsiteY6" fmla="*/ 86487 h 172973"/>
                <a:gd name="connsiteX7" fmla="*/ 86487 w 172973"/>
                <a:gd name="connsiteY7" fmla="*/ 158687 h 172973"/>
                <a:gd name="connsiteX8" fmla="*/ 158687 w 172973"/>
                <a:gd name="connsiteY8" fmla="*/ 86487 h 172973"/>
                <a:gd name="connsiteX9" fmla="*/ 86487 w 172973"/>
                <a:gd name="connsiteY9" fmla="*/ 14288 h 17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73" h="172973">
                  <a:moveTo>
                    <a:pt x="86487" y="172974"/>
                  </a:moveTo>
                  <a:cubicBezTo>
                    <a:pt x="38767" y="172974"/>
                    <a:pt x="0" y="134207"/>
                    <a:pt x="0" y="86487"/>
                  </a:cubicBezTo>
                  <a:cubicBezTo>
                    <a:pt x="0" y="38767"/>
                    <a:pt x="38767" y="0"/>
                    <a:pt x="86487" y="0"/>
                  </a:cubicBezTo>
                  <a:cubicBezTo>
                    <a:pt x="134207" y="0"/>
                    <a:pt x="172974" y="38767"/>
                    <a:pt x="172974" y="86487"/>
                  </a:cubicBezTo>
                  <a:cubicBezTo>
                    <a:pt x="172974" y="134207"/>
                    <a:pt x="134207" y="172974"/>
                    <a:pt x="86487" y="172974"/>
                  </a:cubicBezTo>
                  <a:close/>
                  <a:moveTo>
                    <a:pt x="86487" y="14288"/>
                  </a:moveTo>
                  <a:cubicBezTo>
                    <a:pt x="46672" y="14288"/>
                    <a:pt x="14288" y="46673"/>
                    <a:pt x="14288" y="86487"/>
                  </a:cubicBezTo>
                  <a:cubicBezTo>
                    <a:pt x="14288" y="126302"/>
                    <a:pt x="46672" y="158687"/>
                    <a:pt x="86487" y="158687"/>
                  </a:cubicBezTo>
                  <a:cubicBezTo>
                    <a:pt x="126302" y="158687"/>
                    <a:pt x="158687" y="126302"/>
                    <a:pt x="158687" y="86487"/>
                  </a:cubicBezTo>
                  <a:cubicBezTo>
                    <a:pt x="158687" y="46673"/>
                    <a:pt x="126302" y="14288"/>
                    <a:pt x="86487"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Shape 1135">
              <a:extLst>
                <a:ext uri="{FF2B5EF4-FFF2-40B4-BE49-F238E27FC236}">
                  <a16:creationId xmlns:a16="http://schemas.microsoft.com/office/drawing/2014/main" id="{DFE148AB-4975-9BA5-1989-1198F65158CC}"/>
                </a:ext>
              </a:extLst>
            </p:cNvPr>
            <p:cNvSpPr/>
            <p:nvPr/>
          </p:nvSpPr>
          <p:spPr>
            <a:xfrm>
              <a:off x="4785481" y="6404979"/>
              <a:ext cx="87630" cy="87630"/>
            </a:xfrm>
            <a:custGeom>
              <a:avLst/>
              <a:gdLst>
                <a:gd name="connsiteX0" fmla="*/ 43815 w 87630"/>
                <a:gd name="connsiteY0" fmla="*/ 87630 h 87630"/>
                <a:gd name="connsiteX1" fmla="*/ 0 w 87630"/>
                <a:gd name="connsiteY1" fmla="*/ 43815 h 87630"/>
                <a:gd name="connsiteX2" fmla="*/ 43815 w 87630"/>
                <a:gd name="connsiteY2" fmla="*/ 0 h 87630"/>
                <a:gd name="connsiteX3" fmla="*/ 87630 w 87630"/>
                <a:gd name="connsiteY3" fmla="*/ 43815 h 87630"/>
                <a:gd name="connsiteX4" fmla="*/ 43815 w 87630"/>
                <a:gd name="connsiteY4" fmla="*/ 87630 h 87630"/>
                <a:gd name="connsiteX5" fmla="*/ 43815 w 87630"/>
                <a:gd name="connsiteY5" fmla="*/ 14288 h 87630"/>
                <a:gd name="connsiteX6" fmla="*/ 14288 w 87630"/>
                <a:gd name="connsiteY6" fmla="*/ 43815 h 87630"/>
                <a:gd name="connsiteX7" fmla="*/ 43815 w 87630"/>
                <a:gd name="connsiteY7" fmla="*/ 73343 h 87630"/>
                <a:gd name="connsiteX8" fmla="*/ 73343 w 87630"/>
                <a:gd name="connsiteY8" fmla="*/ 43815 h 87630"/>
                <a:gd name="connsiteX9" fmla="*/ 43815 w 87630"/>
                <a:gd name="connsiteY9" fmla="*/ 14288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30" h="87630">
                  <a:moveTo>
                    <a:pt x="43815" y="87630"/>
                  </a:moveTo>
                  <a:cubicBezTo>
                    <a:pt x="19621" y="87630"/>
                    <a:pt x="0" y="68009"/>
                    <a:pt x="0" y="43815"/>
                  </a:cubicBezTo>
                  <a:cubicBezTo>
                    <a:pt x="0" y="19622"/>
                    <a:pt x="19621" y="0"/>
                    <a:pt x="43815" y="0"/>
                  </a:cubicBezTo>
                  <a:cubicBezTo>
                    <a:pt x="68008" y="0"/>
                    <a:pt x="87630" y="19622"/>
                    <a:pt x="87630" y="43815"/>
                  </a:cubicBezTo>
                  <a:cubicBezTo>
                    <a:pt x="87630" y="68009"/>
                    <a:pt x="68008" y="87630"/>
                    <a:pt x="43815" y="87630"/>
                  </a:cubicBezTo>
                  <a:close/>
                  <a:moveTo>
                    <a:pt x="43815" y="14288"/>
                  </a:moveTo>
                  <a:cubicBezTo>
                    <a:pt x="27527" y="14288"/>
                    <a:pt x="14288" y="27527"/>
                    <a:pt x="14288" y="43815"/>
                  </a:cubicBezTo>
                  <a:cubicBezTo>
                    <a:pt x="14288" y="60103"/>
                    <a:pt x="27527" y="73343"/>
                    <a:pt x="43815" y="73343"/>
                  </a:cubicBezTo>
                  <a:cubicBezTo>
                    <a:pt x="60103" y="73343"/>
                    <a:pt x="73343" y="60103"/>
                    <a:pt x="73343" y="43815"/>
                  </a:cubicBezTo>
                  <a:cubicBezTo>
                    <a:pt x="73343" y="27527"/>
                    <a:pt x="60103" y="14288"/>
                    <a:pt x="43815"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Shape 1136">
              <a:extLst>
                <a:ext uri="{FF2B5EF4-FFF2-40B4-BE49-F238E27FC236}">
                  <a16:creationId xmlns:a16="http://schemas.microsoft.com/office/drawing/2014/main" id="{095726BB-23F0-207C-4C99-B1C3CEFCB0C8}"/>
                </a:ext>
              </a:extLst>
            </p:cNvPr>
            <p:cNvSpPr/>
            <p:nvPr/>
          </p:nvSpPr>
          <p:spPr>
            <a:xfrm>
              <a:off x="5088281" y="6351925"/>
              <a:ext cx="370236" cy="14287"/>
            </a:xfrm>
            <a:custGeom>
              <a:avLst/>
              <a:gdLst>
                <a:gd name="connsiteX0" fmla="*/ 363093 w 370236"/>
                <a:gd name="connsiteY0" fmla="*/ 14288 h 14287"/>
                <a:gd name="connsiteX1" fmla="*/ 7144 w 370236"/>
                <a:gd name="connsiteY1" fmla="*/ 14288 h 14287"/>
                <a:gd name="connsiteX2" fmla="*/ 0 w 370236"/>
                <a:gd name="connsiteY2" fmla="*/ 7144 h 14287"/>
                <a:gd name="connsiteX3" fmla="*/ 7144 w 370236"/>
                <a:gd name="connsiteY3" fmla="*/ 0 h 14287"/>
                <a:gd name="connsiteX4" fmla="*/ 363093 w 370236"/>
                <a:gd name="connsiteY4" fmla="*/ 0 h 14287"/>
                <a:gd name="connsiteX5" fmla="*/ 370237 w 370236"/>
                <a:gd name="connsiteY5" fmla="*/ 7144 h 14287"/>
                <a:gd name="connsiteX6" fmla="*/ 363093 w 37023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236" h="14287">
                  <a:moveTo>
                    <a:pt x="363093" y="14288"/>
                  </a:moveTo>
                  <a:lnTo>
                    <a:pt x="7144" y="14288"/>
                  </a:lnTo>
                  <a:cubicBezTo>
                    <a:pt x="3239" y="14288"/>
                    <a:pt x="0" y="11049"/>
                    <a:pt x="0" y="7144"/>
                  </a:cubicBezTo>
                  <a:cubicBezTo>
                    <a:pt x="0" y="3239"/>
                    <a:pt x="3239" y="0"/>
                    <a:pt x="7144" y="0"/>
                  </a:cubicBezTo>
                  <a:lnTo>
                    <a:pt x="363093" y="0"/>
                  </a:lnTo>
                  <a:cubicBezTo>
                    <a:pt x="366998" y="0"/>
                    <a:pt x="370237" y="3239"/>
                    <a:pt x="370237" y="7144"/>
                  </a:cubicBezTo>
                  <a:cubicBezTo>
                    <a:pt x="370237" y="11049"/>
                    <a:pt x="366998" y="14288"/>
                    <a:pt x="363093" y="1428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Shape 1137">
              <a:extLst>
                <a:ext uri="{FF2B5EF4-FFF2-40B4-BE49-F238E27FC236}">
                  <a16:creationId xmlns:a16="http://schemas.microsoft.com/office/drawing/2014/main" id="{A5E9E1D6-1B8A-4DFB-1B21-0E2F91BCBA32}"/>
                </a:ext>
              </a:extLst>
            </p:cNvPr>
            <p:cNvSpPr/>
            <p:nvPr/>
          </p:nvSpPr>
          <p:spPr>
            <a:xfrm>
              <a:off x="4608602" y="5973878"/>
              <a:ext cx="1217675" cy="392334"/>
            </a:xfrm>
            <a:custGeom>
              <a:avLst/>
              <a:gdLst>
                <a:gd name="connsiteX0" fmla="*/ 148590 w 1217675"/>
                <a:gd name="connsiteY0" fmla="*/ 392335 h 392334"/>
                <a:gd name="connsiteX1" fmla="*/ 7144 w 1217675"/>
                <a:gd name="connsiteY1" fmla="*/ 392335 h 392334"/>
                <a:gd name="connsiteX2" fmla="*/ 0 w 1217675"/>
                <a:gd name="connsiteY2" fmla="*/ 385191 h 392334"/>
                <a:gd name="connsiteX3" fmla="*/ 0 w 1217675"/>
                <a:gd name="connsiteY3" fmla="*/ 7144 h 392334"/>
                <a:gd name="connsiteX4" fmla="*/ 7144 w 1217675"/>
                <a:gd name="connsiteY4" fmla="*/ 0 h 392334"/>
                <a:gd name="connsiteX5" fmla="*/ 1210532 w 1217675"/>
                <a:gd name="connsiteY5" fmla="*/ 0 h 392334"/>
                <a:gd name="connsiteX6" fmla="*/ 1217676 w 1217675"/>
                <a:gd name="connsiteY6" fmla="*/ 7144 h 392334"/>
                <a:gd name="connsiteX7" fmla="*/ 1217676 w 1217675"/>
                <a:gd name="connsiteY7" fmla="*/ 330041 h 392334"/>
                <a:gd name="connsiteX8" fmla="*/ 1210532 w 1217675"/>
                <a:gd name="connsiteY8" fmla="*/ 337185 h 392334"/>
                <a:gd name="connsiteX9" fmla="*/ 14288 w 1217675"/>
                <a:gd name="connsiteY9" fmla="*/ 337185 h 392334"/>
                <a:gd name="connsiteX10" fmla="*/ 14288 w 1217675"/>
                <a:gd name="connsiteY10" fmla="*/ 378047 h 392334"/>
                <a:gd name="connsiteX11" fmla="*/ 148590 w 1217675"/>
                <a:gd name="connsiteY11" fmla="*/ 378047 h 392334"/>
                <a:gd name="connsiteX12" fmla="*/ 155734 w 1217675"/>
                <a:gd name="connsiteY12" fmla="*/ 385191 h 392334"/>
                <a:gd name="connsiteX13" fmla="*/ 148590 w 1217675"/>
                <a:gd name="connsiteY13" fmla="*/ 392335 h 392334"/>
                <a:gd name="connsiteX14" fmla="*/ 14288 w 1217675"/>
                <a:gd name="connsiteY14" fmla="*/ 322898 h 392334"/>
                <a:gd name="connsiteX15" fmla="*/ 1203389 w 1217675"/>
                <a:gd name="connsiteY15" fmla="*/ 322898 h 392334"/>
                <a:gd name="connsiteX16" fmla="*/ 1203389 w 1217675"/>
                <a:gd name="connsiteY16" fmla="*/ 14288 h 392334"/>
                <a:gd name="connsiteX17" fmla="*/ 14288 w 1217675"/>
                <a:gd name="connsiteY17" fmla="*/ 14288 h 392334"/>
                <a:gd name="connsiteX18" fmla="*/ 14288 w 1217675"/>
                <a:gd name="connsiteY18" fmla="*/ 322898 h 39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7675" h="392334">
                  <a:moveTo>
                    <a:pt x="148590" y="392335"/>
                  </a:moveTo>
                  <a:lnTo>
                    <a:pt x="7144" y="392335"/>
                  </a:lnTo>
                  <a:cubicBezTo>
                    <a:pt x="3239" y="392335"/>
                    <a:pt x="0" y="389192"/>
                    <a:pt x="0" y="385191"/>
                  </a:cubicBezTo>
                  <a:lnTo>
                    <a:pt x="0" y="7144"/>
                  </a:lnTo>
                  <a:cubicBezTo>
                    <a:pt x="0" y="3239"/>
                    <a:pt x="3239" y="0"/>
                    <a:pt x="7144" y="0"/>
                  </a:cubicBezTo>
                  <a:lnTo>
                    <a:pt x="1210532" y="0"/>
                  </a:lnTo>
                  <a:cubicBezTo>
                    <a:pt x="1214438" y="0"/>
                    <a:pt x="1217676" y="3239"/>
                    <a:pt x="1217676" y="7144"/>
                  </a:cubicBezTo>
                  <a:lnTo>
                    <a:pt x="1217676" y="330041"/>
                  </a:lnTo>
                  <a:cubicBezTo>
                    <a:pt x="1217676" y="333947"/>
                    <a:pt x="1214438" y="337185"/>
                    <a:pt x="1210532" y="337185"/>
                  </a:cubicBezTo>
                  <a:lnTo>
                    <a:pt x="14288" y="337185"/>
                  </a:lnTo>
                  <a:lnTo>
                    <a:pt x="14288" y="378047"/>
                  </a:lnTo>
                  <a:lnTo>
                    <a:pt x="148590" y="378047"/>
                  </a:lnTo>
                  <a:cubicBezTo>
                    <a:pt x="152495" y="378047"/>
                    <a:pt x="155734" y="381286"/>
                    <a:pt x="155734" y="385191"/>
                  </a:cubicBezTo>
                  <a:cubicBezTo>
                    <a:pt x="155734" y="389096"/>
                    <a:pt x="152495" y="392335"/>
                    <a:pt x="148590" y="392335"/>
                  </a:cubicBezTo>
                  <a:close/>
                  <a:moveTo>
                    <a:pt x="14288" y="322898"/>
                  </a:moveTo>
                  <a:lnTo>
                    <a:pt x="1203389" y="322898"/>
                  </a:lnTo>
                  <a:lnTo>
                    <a:pt x="1203389" y="14288"/>
                  </a:lnTo>
                  <a:lnTo>
                    <a:pt x="14288" y="14288"/>
                  </a:lnTo>
                  <a:lnTo>
                    <a:pt x="14288" y="32289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Shape 1138">
              <a:extLst>
                <a:ext uri="{FF2B5EF4-FFF2-40B4-BE49-F238E27FC236}">
                  <a16:creationId xmlns:a16="http://schemas.microsoft.com/office/drawing/2014/main" id="{62556107-1C75-1FBB-1983-F9E4C488BB26}"/>
                </a:ext>
              </a:extLst>
            </p:cNvPr>
            <p:cNvSpPr/>
            <p:nvPr/>
          </p:nvSpPr>
          <p:spPr>
            <a:xfrm>
              <a:off x="4665561" y="6351925"/>
              <a:ext cx="14287" cy="98774"/>
            </a:xfrm>
            <a:custGeom>
              <a:avLst/>
              <a:gdLst>
                <a:gd name="connsiteX0" fmla="*/ 7144 w 14287"/>
                <a:gd name="connsiteY0" fmla="*/ 98774 h 98774"/>
                <a:gd name="connsiteX1" fmla="*/ 0 w 14287"/>
                <a:gd name="connsiteY1" fmla="*/ 91631 h 98774"/>
                <a:gd name="connsiteX2" fmla="*/ 0 w 14287"/>
                <a:gd name="connsiteY2" fmla="*/ 7144 h 98774"/>
                <a:gd name="connsiteX3" fmla="*/ 7144 w 14287"/>
                <a:gd name="connsiteY3" fmla="*/ 0 h 98774"/>
                <a:gd name="connsiteX4" fmla="*/ 14288 w 14287"/>
                <a:gd name="connsiteY4" fmla="*/ 7144 h 98774"/>
                <a:gd name="connsiteX5" fmla="*/ 14288 w 14287"/>
                <a:gd name="connsiteY5" fmla="*/ 91631 h 98774"/>
                <a:gd name="connsiteX6" fmla="*/ 7144 w 14287"/>
                <a:gd name="connsiteY6" fmla="*/ 98774 h 9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8774">
                  <a:moveTo>
                    <a:pt x="7144" y="98774"/>
                  </a:moveTo>
                  <a:cubicBezTo>
                    <a:pt x="3239" y="98774"/>
                    <a:pt x="0" y="95536"/>
                    <a:pt x="0" y="91631"/>
                  </a:cubicBezTo>
                  <a:lnTo>
                    <a:pt x="0" y="7144"/>
                  </a:lnTo>
                  <a:cubicBezTo>
                    <a:pt x="0" y="3239"/>
                    <a:pt x="3239" y="0"/>
                    <a:pt x="7144" y="0"/>
                  </a:cubicBezTo>
                  <a:cubicBezTo>
                    <a:pt x="11049" y="0"/>
                    <a:pt x="14288" y="3239"/>
                    <a:pt x="14288" y="7144"/>
                  </a:cubicBezTo>
                  <a:lnTo>
                    <a:pt x="14288" y="91631"/>
                  </a:lnTo>
                  <a:cubicBezTo>
                    <a:pt x="14288" y="95536"/>
                    <a:pt x="11049" y="98774"/>
                    <a:pt x="7144" y="987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82" name="Table 12">
            <a:extLst>
              <a:ext uri="{FF2B5EF4-FFF2-40B4-BE49-F238E27FC236}">
                <a16:creationId xmlns:a16="http://schemas.microsoft.com/office/drawing/2014/main" id="{559E9051-BF6E-FD1D-738C-5AEB69AB1197}"/>
              </a:ext>
            </a:extLst>
          </p:cNvPr>
          <p:cNvGraphicFramePr>
            <a:graphicFrameLocks noGrp="1"/>
          </p:cNvGraphicFramePr>
          <p:nvPr/>
        </p:nvGraphicFramePr>
        <p:xfrm>
          <a:off x="5888754" y="4165068"/>
          <a:ext cx="4998987" cy="1230864"/>
        </p:xfrm>
        <a:graphic>
          <a:graphicData uri="http://schemas.openxmlformats.org/drawingml/2006/table">
            <a:tbl>
              <a:tblPr>
                <a:tableStyleId>{9D7B26C5-4107-4FEC-AEDC-1716B250A1EF}</a:tableStyleId>
              </a:tblPr>
              <a:tblGrid>
                <a:gridCol w="1666329">
                  <a:extLst>
                    <a:ext uri="{9D8B030D-6E8A-4147-A177-3AD203B41FA5}">
                      <a16:colId xmlns:a16="http://schemas.microsoft.com/office/drawing/2014/main" val="1584487396"/>
                    </a:ext>
                  </a:extLst>
                </a:gridCol>
                <a:gridCol w="1666329">
                  <a:extLst>
                    <a:ext uri="{9D8B030D-6E8A-4147-A177-3AD203B41FA5}">
                      <a16:colId xmlns:a16="http://schemas.microsoft.com/office/drawing/2014/main" val="1073477736"/>
                    </a:ext>
                  </a:extLst>
                </a:gridCol>
                <a:gridCol w="1666329">
                  <a:extLst>
                    <a:ext uri="{9D8B030D-6E8A-4147-A177-3AD203B41FA5}">
                      <a16:colId xmlns:a16="http://schemas.microsoft.com/office/drawing/2014/main" val="833806050"/>
                    </a:ext>
                  </a:extLst>
                </a:gridCol>
              </a:tblGrid>
              <a:tr h="182880">
                <a:tc>
                  <a:txBody>
                    <a:bodyPr/>
                    <a:lstStyle/>
                    <a:p>
                      <a:pPr algn="ctr" rtl="0" fontAlgn="ctr">
                        <a:spcBef>
                          <a:spcPts val="0"/>
                        </a:spcBef>
                        <a:spcAft>
                          <a:spcPts val="0"/>
                        </a:spcAft>
                      </a:pPr>
                      <a:r>
                        <a:rPr lang="en-US" sz="1000" b="1" u="none" strike="noStrike" noProof="0">
                          <a:solidFill>
                            <a:schemeClr val="bg1"/>
                          </a:solidFill>
                          <a:effectLst/>
                        </a:rPr>
                        <a:t>Maintenance Event*</a:t>
                      </a:r>
                      <a:endParaRPr lang="en-US" sz="10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B w="3175" cap="flat" cmpd="sng" algn="ctr">
                      <a:solidFill>
                        <a:srgbClr val="A9A8A6"/>
                      </a:solidFill>
                      <a:prstDash val="solid"/>
                      <a:round/>
                      <a:headEnd type="none" w="med" len="med"/>
                      <a:tailEnd type="none" w="med" len="med"/>
                    </a:lnB>
                    <a:solidFill>
                      <a:schemeClr val="tx1"/>
                    </a:solidFill>
                  </a:tcPr>
                </a:tc>
                <a:tc>
                  <a:txBody>
                    <a:bodyPr/>
                    <a:lstStyle/>
                    <a:p>
                      <a:pPr algn="ctr" rtl="0" fontAlgn="ctr">
                        <a:spcBef>
                          <a:spcPts val="0"/>
                        </a:spcBef>
                        <a:spcAft>
                          <a:spcPts val="0"/>
                        </a:spcAft>
                      </a:pPr>
                      <a:r>
                        <a:rPr lang="en-US" sz="1000" b="1" noProof="0">
                          <a:solidFill>
                            <a:schemeClr val="bg1"/>
                          </a:solidFill>
                          <a:effectLst/>
                        </a:rPr>
                        <a:t>MHD Target</a:t>
                      </a:r>
                      <a:endParaRPr lang="en-US" sz="10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B w="3175" cap="flat" cmpd="sng" algn="ctr">
                      <a:solidFill>
                        <a:srgbClr val="A9A8A6"/>
                      </a:solidFill>
                      <a:prstDash val="solid"/>
                      <a:round/>
                      <a:headEnd type="none" w="med" len="med"/>
                      <a:tailEnd type="none" w="med" len="med"/>
                    </a:lnB>
                    <a:solidFill>
                      <a:schemeClr val="tx1"/>
                    </a:solidFill>
                  </a:tcPr>
                </a:tc>
                <a:tc>
                  <a:txBody>
                    <a:bodyPr/>
                    <a:lstStyle/>
                    <a:p>
                      <a:pPr algn="ctr" rtl="0" fontAlgn="ctr">
                        <a:spcBef>
                          <a:spcPts val="0"/>
                        </a:spcBef>
                        <a:spcAft>
                          <a:spcPts val="0"/>
                        </a:spcAft>
                      </a:pPr>
                      <a:r>
                        <a:rPr lang="en-US" sz="1000" b="1" noProof="0">
                          <a:solidFill>
                            <a:schemeClr val="bg1"/>
                          </a:solidFill>
                          <a:effectLst/>
                        </a:rPr>
                        <a:t>HHD Target</a:t>
                      </a:r>
                      <a:endParaRPr lang="en-US" sz="1000" b="0" i="0" noProof="0">
                        <a:solidFill>
                          <a:schemeClr val="bg1"/>
                        </a:solidFill>
                        <a:effectLst/>
                        <a:latin typeface="Aptos" panose="020B0004020202020204" pitchFamily="34" charset="0"/>
                        <a:cs typeface="Arial" panose="020B0604020202020204" pitchFamily="34" charset="0"/>
                      </a:endParaRPr>
                    </a:p>
                  </a:txBody>
                  <a:tcPr marL="52743" marR="52743" marT="26372" marB="26372" anchor="ctr">
                    <a:lnB w="3175" cap="flat" cmpd="sng" algn="ctr">
                      <a:solidFill>
                        <a:srgbClr val="A9A8A6"/>
                      </a:solidFill>
                      <a:prstDash val="solid"/>
                      <a:round/>
                      <a:headEnd type="none" w="med" len="med"/>
                      <a:tailEnd type="none" w="med" len="med"/>
                    </a:lnB>
                    <a:solidFill>
                      <a:schemeClr val="tx1"/>
                    </a:solidFill>
                  </a:tcPr>
                </a:tc>
                <a:extLst>
                  <a:ext uri="{0D108BD9-81ED-4DB2-BD59-A6C34878D82A}">
                    <a16:rowId xmlns:a16="http://schemas.microsoft.com/office/drawing/2014/main" val="3460064979"/>
                  </a:ext>
                </a:extLst>
              </a:tr>
              <a:tr h="182880">
                <a:tc>
                  <a:txBody>
                    <a:bodyPr/>
                    <a:lstStyle/>
                    <a:p>
                      <a:pPr algn="ctr" rtl="0" fontAlgn="ctr">
                        <a:spcBef>
                          <a:spcPts val="0"/>
                        </a:spcBef>
                        <a:spcAft>
                          <a:spcPts val="0"/>
                        </a:spcAft>
                      </a:pPr>
                      <a:r>
                        <a:rPr lang="en-US" sz="1000" b="0" u="none" strike="noStrike" noProof="0">
                          <a:solidFill>
                            <a:srgbClr val="000000"/>
                          </a:solidFill>
                          <a:effectLst/>
                        </a:rPr>
                        <a:t>Oil and filter**</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000" noProof="0">
                          <a:effectLst/>
                        </a:rPr>
                        <a:t>Up to 50k mi / 2500 </a:t>
                      </a:r>
                      <a:r>
                        <a:rPr lang="en-US" sz="1000" noProof="0" err="1">
                          <a:effectLst/>
                        </a:rPr>
                        <a:t>hr</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marL="0" marR="0" lvl="0" indent="0" algn="ctr" defTabSz="914379" rtl="0" eaLnBrk="1" fontAlgn="ctr" latinLnBrk="0" hangingPunct="1">
                        <a:lnSpc>
                          <a:spcPct val="100000"/>
                        </a:lnSpc>
                        <a:spcBef>
                          <a:spcPts val="0"/>
                        </a:spcBef>
                        <a:spcAft>
                          <a:spcPts val="0"/>
                        </a:spcAft>
                        <a:buClrTx/>
                        <a:buSzTx/>
                        <a:buFontTx/>
                        <a:buNone/>
                        <a:tabLst/>
                        <a:defRPr/>
                      </a:pPr>
                      <a:r>
                        <a:rPr lang="en-US" sz="1000" noProof="0">
                          <a:effectLst/>
                        </a:rPr>
                        <a:t>Up to 75k mi / 2500 </a:t>
                      </a:r>
                      <a:r>
                        <a:rPr lang="en-US" sz="1000" noProof="0" err="1">
                          <a:effectLst/>
                        </a:rPr>
                        <a:t>hr</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4101482269"/>
                  </a:ext>
                </a:extLst>
              </a:tr>
              <a:tr h="182880">
                <a:tc>
                  <a:txBody>
                    <a:bodyPr/>
                    <a:lstStyle/>
                    <a:p>
                      <a:pPr algn="ctr" rtl="0" fontAlgn="ctr">
                        <a:spcBef>
                          <a:spcPts val="0"/>
                        </a:spcBef>
                        <a:spcAft>
                          <a:spcPts val="0"/>
                        </a:spcAft>
                      </a:pPr>
                      <a:r>
                        <a:rPr lang="en-US" sz="1000" b="0" u="none" strike="noStrike" noProof="0">
                          <a:solidFill>
                            <a:srgbClr val="000000"/>
                          </a:solidFill>
                          <a:effectLst/>
                        </a:rPr>
                        <a:t>Valve lash adjustment</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000" noProof="0">
                          <a:effectLst/>
                        </a:rPr>
                        <a:t>300k mi</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marL="0" marR="0" lvl="0" indent="0" algn="ctr" defTabSz="914379" rtl="0" eaLnBrk="1" fontAlgn="ctr" latinLnBrk="0" hangingPunct="1">
                        <a:lnSpc>
                          <a:spcPct val="100000"/>
                        </a:lnSpc>
                        <a:spcBef>
                          <a:spcPts val="0"/>
                        </a:spcBef>
                        <a:spcAft>
                          <a:spcPts val="0"/>
                        </a:spcAft>
                        <a:buClrTx/>
                        <a:buSzTx/>
                        <a:buFontTx/>
                        <a:buNone/>
                        <a:tabLst/>
                        <a:defRPr/>
                      </a:pPr>
                      <a:r>
                        <a:rPr lang="en-US" sz="1000" noProof="0">
                          <a:effectLst/>
                        </a:rPr>
                        <a:t>300k mi</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496193975"/>
                  </a:ext>
                </a:extLst>
              </a:tr>
              <a:tr h="182880">
                <a:tc>
                  <a:txBody>
                    <a:bodyPr/>
                    <a:lstStyle/>
                    <a:p>
                      <a:pPr algn="ctr" rtl="0" fontAlgn="ctr">
                        <a:spcBef>
                          <a:spcPts val="0"/>
                        </a:spcBef>
                        <a:spcAft>
                          <a:spcPts val="0"/>
                        </a:spcAft>
                      </a:pPr>
                      <a:r>
                        <a:rPr lang="en-US" sz="1000" b="0" u="none" strike="noStrike" noProof="0">
                          <a:solidFill>
                            <a:srgbClr val="000000"/>
                          </a:solidFill>
                          <a:effectLst/>
                        </a:rPr>
                        <a:t>DPF clean</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000" noProof="0">
                          <a:effectLst/>
                        </a:rPr>
                        <a:t>225k mi</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000" noProof="0">
                          <a:effectLst/>
                        </a:rPr>
                        <a:t>up to 800k mi</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70473948"/>
                  </a:ext>
                </a:extLst>
              </a:tr>
              <a:tr h="182880">
                <a:tc>
                  <a:txBody>
                    <a:bodyPr/>
                    <a:lstStyle/>
                    <a:p>
                      <a:pPr algn="ctr" rtl="0" fontAlgn="ctr">
                        <a:spcBef>
                          <a:spcPts val="0"/>
                        </a:spcBef>
                        <a:spcAft>
                          <a:spcPts val="0"/>
                        </a:spcAft>
                      </a:pPr>
                      <a:r>
                        <a:rPr lang="en-US" sz="1000" b="0" u="none" strike="noStrike" noProof="0">
                          <a:solidFill>
                            <a:srgbClr val="000000"/>
                          </a:solidFill>
                          <a:effectLst/>
                        </a:rPr>
                        <a:t>DEF filter</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000" noProof="0">
                          <a:effectLst/>
                        </a:rPr>
                        <a:t>300k mi</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marL="0" marR="0" lvl="0" indent="0" algn="ctr" defTabSz="914379" rtl="0" eaLnBrk="1" fontAlgn="ctr" latinLnBrk="0" hangingPunct="1">
                        <a:lnSpc>
                          <a:spcPct val="100000"/>
                        </a:lnSpc>
                        <a:spcBef>
                          <a:spcPts val="0"/>
                        </a:spcBef>
                        <a:spcAft>
                          <a:spcPts val="0"/>
                        </a:spcAft>
                        <a:buClrTx/>
                        <a:buSzTx/>
                        <a:buFontTx/>
                        <a:buNone/>
                        <a:tabLst/>
                        <a:defRPr/>
                      </a:pPr>
                      <a:r>
                        <a:rPr lang="en-US" sz="1000" noProof="0">
                          <a:effectLst/>
                        </a:rPr>
                        <a:t>300k mi</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2003982871"/>
                  </a:ext>
                </a:extLst>
              </a:tr>
              <a:tr h="182880">
                <a:tc>
                  <a:txBody>
                    <a:bodyPr/>
                    <a:lstStyle/>
                    <a:p>
                      <a:pPr algn="ctr" rtl="0" fontAlgn="ctr">
                        <a:spcBef>
                          <a:spcPts val="0"/>
                        </a:spcBef>
                        <a:spcAft>
                          <a:spcPts val="0"/>
                        </a:spcAft>
                      </a:pPr>
                      <a:r>
                        <a:rPr lang="en-US" sz="1000" b="0" noProof="0">
                          <a:effectLst/>
                        </a:rPr>
                        <a:t>Base warranty</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algn="ctr" rtl="0" fontAlgn="ctr">
                        <a:spcBef>
                          <a:spcPts val="0"/>
                        </a:spcBef>
                        <a:spcAft>
                          <a:spcPts val="0"/>
                        </a:spcAft>
                      </a:pPr>
                      <a:r>
                        <a:rPr lang="en-US" sz="1000" noProof="0">
                          <a:effectLst/>
                        </a:rPr>
                        <a:t>2 yr / 250k mi</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tc>
                  <a:txBody>
                    <a:bodyPr/>
                    <a:lstStyle/>
                    <a:p>
                      <a:pPr marL="0" marR="0" lvl="0" indent="0" algn="ctr" defTabSz="914379" rtl="0" eaLnBrk="1" fontAlgn="ctr" latinLnBrk="0" hangingPunct="1">
                        <a:lnSpc>
                          <a:spcPct val="100000"/>
                        </a:lnSpc>
                        <a:spcBef>
                          <a:spcPts val="0"/>
                        </a:spcBef>
                        <a:spcAft>
                          <a:spcPts val="0"/>
                        </a:spcAft>
                        <a:buClrTx/>
                        <a:buSzTx/>
                        <a:buFontTx/>
                        <a:buNone/>
                        <a:tabLst/>
                        <a:defRPr/>
                      </a:pPr>
                      <a:r>
                        <a:rPr lang="en-US" sz="1000" noProof="0">
                          <a:effectLst/>
                        </a:rPr>
                        <a:t>2 yr / 250k mi</a:t>
                      </a:r>
                      <a:endParaRPr lang="en-US" sz="1000" b="0" i="0" noProof="0">
                        <a:effectLst/>
                        <a:latin typeface="Aptos" panose="020B0004020202020204" pitchFamily="34" charset="0"/>
                        <a:cs typeface="Arial" panose="020B0604020202020204" pitchFamily="34" charset="0"/>
                      </a:endParaRPr>
                    </a:p>
                  </a:txBody>
                  <a:tcPr marL="52743" marR="52743" marT="26372" marB="26372" anchor="ctr">
                    <a:lnT w="3175" cap="flat" cmpd="sng" algn="ctr">
                      <a:solidFill>
                        <a:srgbClr val="A9A8A6"/>
                      </a:solidFill>
                      <a:prstDash val="solid"/>
                      <a:round/>
                      <a:headEnd type="none" w="med" len="med"/>
                      <a:tailEnd type="none" w="med" len="med"/>
                    </a:lnT>
                    <a:lnB w="3175" cap="flat" cmpd="sng" algn="ctr">
                      <a:solidFill>
                        <a:srgbClr val="A9A8A6"/>
                      </a:solidFill>
                      <a:prstDash val="solid"/>
                      <a:round/>
                      <a:headEnd type="none" w="med" len="med"/>
                      <a:tailEnd type="none" w="med" len="med"/>
                    </a:lnB>
                  </a:tcPr>
                </a:tc>
                <a:extLst>
                  <a:ext uri="{0D108BD9-81ED-4DB2-BD59-A6C34878D82A}">
                    <a16:rowId xmlns:a16="http://schemas.microsoft.com/office/drawing/2014/main" val="3065924489"/>
                  </a:ext>
                </a:extLst>
              </a:tr>
            </a:tbl>
          </a:graphicData>
        </a:graphic>
      </p:graphicFrame>
      <p:sp>
        <p:nvSpPr>
          <p:cNvPr id="85" name="Espaço Reservado para Conteúdo 84">
            <a:extLst>
              <a:ext uri="{FF2B5EF4-FFF2-40B4-BE49-F238E27FC236}">
                <a16:creationId xmlns:a16="http://schemas.microsoft.com/office/drawing/2014/main" id="{EABB5C21-048A-2B4C-19E8-0563748B06AF}"/>
              </a:ext>
            </a:extLst>
          </p:cNvPr>
          <p:cNvSpPr>
            <a:spLocks noGrp="1"/>
          </p:cNvSpPr>
          <p:nvPr>
            <p:ph idx="1"/>
          </p:nvPr>
        </p:nvSpPr>
        <p:spPr/>
        <p:txBody>
          <a:bodyPr/>
          <a:lstStyle/>
          <a:p>
            <a:r>
              <a:rPr kumimoji="0" lang="en-US" sz="2400" u="none" strike="noStrike" kern="1200" cap="none" normalizeH="0" baseline="0" noProof="0">
                <a:ln>
                  <a:noFill/>
                </a:ln>
                <a:solidFill>
                  <a:schemeClr val="accent1"/>
                </a:solidFill>
                <a:effectLst/>
                <a:uLnTx/>
                <a:uFillTx/>
                <a:latin typeface="Aptos" panose="020B0004020202020204" pitchFamily="34" charset="0"/>
                <a:ea typeface="+mn-ea"/>
                <a:cs typeface="Arial" panose="020B0604020202020204" pitchFamily="34" charset="0"/>
              </a:rPr>
              <a:t>Regional Haul Application</a:t>
            </a:r>
          </a:p>
        </p:txBody>
      </p:sp>
      <p:sp>
        <p:nvSpPr>
          <p:cNvPr id="4" name="Rounded Rectangle 56">
            <a:extLst>
              <a:ext uri="{FF2B5EF4-FFF2-40B4-BE49-F238E27FC236}">
                <a16:creationId xmlns:a16="http://schemas.microsoft.com/office/drawing/2014/main" id="{34325D57-DD46-147C-B21A-D9F2AF9A3646}"/>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19" name="Conector Reto 31">
            <a:extLst>
              <a:ext uri="{FF2B5EF4-FFF2-40B4-BE49-F238E27FC236}">
                <a16:creationId xmlns:a16="http://schemas.microsoft.com/office/drawing/2014/main" id="{FEF00FC9-80E7-B03A-1918-20C395D94CBA}"/>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75">
            <a:extLst>
              <a:ext uri="{FF2B5EF4-FFF2-40B4-BE49-F238E27FC236}">
                <a16:creationId xmlns:a16="http://schemas.microsoft.com/office/drawing/2014/main" id="{807C6E27-DDFF-72B9-0A25-3AA76E2EDE08}"/>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31">
            <a:extLst>
              <a:ext uri="{FF2B5EF4-FFF2-40B4-BE49-F238E27FC236}">
                <a16:creationId xmlns:a16="http://schemas.microsoft.com/office/drawing/2014/main" id="{F6D5484A-34F6-E37D-C805-3D8FE06B60FD}"/>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Conector Reto 31">
            <a:extLst>
              <a:ext uri="{FF2B5EF4-FFF2-40B4-BE49-F238E27FC236}">
                <a16:creationId xmlns:a16="http://schemas.microsoft.com/office/drawing/2014/main" id="{A091C96C-ACF2-C6DA-945B-E0C43788F35C}"/>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Conector Reto 78">
            <a:extLst>
              <a:ext uri="{FF2B5EF4-FFF2-40B4-BE49-F238E27FC236}">
                <a16:creationId xmlns:a16="http://schemas.microsoft.com/office/drawing/2014/main" id="{E78372C6-8FB2-28DD-B1B8-8C2587C74011}"/>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Conector Reto 31">
            <a:extLst>
              <a:ext uri="{FF2B5EF4-FFF2-40B4-BE49-F238E27FC236}">
                <a16:creationId xmlns:a16="http://schemas.microsoft.com/office/drawing/2014/main" id="{0D1AAB35-7E03-31C8-1BC9-CB3A35194C25}"/>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7" name="CaixaDeTexto 80">
            <a:extLst>
              <a:ext uri="{FF2B5EF4-FFF2-40B4-BE49-F238E27FC236}">
                <a16:creationId xmlns:a16="http://schemas.microsoft.com/office/drawing/2014/main" id="{82921FB9-DB43-8CA3-88D4-0A0864304AF3}"/>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28" name="CaixaDeTexto 81">
            <a:extLst>
              <a:ext uri="{FF2B5EF4-FFF2-40B4-BE49-F238E27FC236}">
                <a16:creationId xmlns:a16="http://schemas.microsoft.com/office/drawing/2014/main" id="{27EBBD94-83B7-0078-BA26-A422F92DA303}"/>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29" name="CaixaDeTexto 82">
            <a:extLst>
              <a:ext uri="{FF2B5EF4-FFF2-40B4-BE49-F238E27FC236}">
                <a16:creationId xmlns:a16="http://schemas.microsoft.com/office/drawing/2014/main" id="{3B8BF8A8-84B8-EA9F-75F2-80C96847273F}"/>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30" name="CaixaDeTexto 83">
            <a:extLst>
              <a:ext uri="{FF2B5EF4-FFF2-40B4-BE49-F238E27FC236}">
                <a16:creationId xmlns:a16="http://schemas.microsoft.com/office/drawing/2014/main" id="{46EE5F7D-CA23-B8E4-5FC4-22A774EAA234}"/>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31" name="CaixaDeTexto 84">
            <a:extLst>
              <a:ext uri="{FF2B5EF4-FFF2-40B4-BE49-F238E27FC236}">
                <a16:creationId xmlns:a16="http://schemas.microsoft.com/office/drawing/2014/main" id="{D8BD43D1-501F-B1EB-C955-63D9ED93B161}"/>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pplications</a:t>
            </a:r>
          </a:p>
        </p:txBody>
      </p:sp>
      <p:sp>
        <p:nvSpPr>
          <p:cNvPr id="32" name="CaixaDeTexto 85">
            <a:extLst>
              <a:ext uri="{FF2B5EF4-FFF2-40B4-BE49-F238E27FC236}">
                <a16:creationId xmlns:a16="http://schemas.microsoft.com/office/drawing/2014/main" id="{5391E58B-A97D-5784-ECC5-65FB11FCCCA1}"/>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33" name="CaixaDeTexto 86">
            <a:extLst>
              <a:ext uri="{FF2B5EF4-FFF2-40B4-BE49-F238E27FC236}">
                <a16:creationId xmlns:a16="http://schemas.microsoft.com/office/drawing/2014/main" id="{06E4F236-3FBC-25E7-97EB-9262A87A67CF}"/>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34" name="CaixaDeTexto 87">
            <a:extLst>
              <a:ext uri="{FF2B5EF4-FFF2-40B4-BE49-F238E27FC236}">
                <a16:creationId xmlns:a16="http://schemas.microsoft.com/office/drawing/2014/main" id="{E6907D4D-6955-5494-6A0D-825D715DC08C}"/>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35" name="Conector Reto 31">
            <a:extLst>
              <a:ext uri="{FF2B5EF4-FFF2-40B4-BE49-F238E27FC236}">
                <a16:creationId xmlns:a16="http://schemas.microsoft.com/office/drawing/2014/main" id="{A12C1CA2-1794-D30C-3077-9EC691886A3E}"/>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3" name="Conector Reto 31">
            <a:extLst>
              <a:ext uri="{FF2B5EF4-FFF2-40B4-BE49-F238E27FC236}">
                <a16:creationId xmlns:a16="http://schemas.microsoft.com/office/drawing/2014/main" id="{732FBAEB-99DF-E434-DCDD-AF32DF072678}"/>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4" name="Conector Reto 17">
            <a:extLst>
              <a:ext uri="{FF2B5EF4-FFF2-40B4-BE49-F238E27FC236}">
                <a16:creationId xmlns:a16="http://schemas.microsoft.com/office/drawing/2014/main" id="{EBF2AA15-4547-9A1D-B302-E1D1B68F1967}"/>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45" name="Rounded Rectangle 141">
            <a:extLst>
              <a:ext uri="{FF2B5EF4-FFF2-40B4-BE49-F238E27FC236}">
                <a16:creationId xmlns:a16="http://schemas.microsoft.com/office/drawing/2014/main" id="{6E2D6520-FB58-E1B4-0451-BDFCC86C6D02}"/>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46" name="CaixaDeTexto 89">
            <a:extLst>
              <a:ext uri="{FF2B5EF4-FFF2-40B4-BE49-F238E27FC236}">
                <a16:creationId xmlns:a16="http://schemas.microsoft.com/office/drawing/2014/main" id="{3C940772-63CE-607E-F2D1-E8E1E3ED37FF}"/>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47" name="Retângulo Arredondado 128">
            <a:extLst>
              <a:ext uri="{FF2B5EF4-FFF2-40B4-BE49-F238E27FC236}">
                <a16:creationId xmlns:a16="http://schemas.microsoft.com/office/drawing/2014/main" id="{83E81EE1-F7F3-94CA-2F1A-C2DCEC3748C9}"/>
              </a:ext>
            </a:extLst>
          </p:cNvPr>
          <p:cNvSpPr/>
          <p:nvPr/>
        </p:nvSpPr>
        <p:spPr>
          <a:xfrm>
            <a:off x="8783064"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49" name="TextBox 60">
            <a:extLst>
              <a:ext uri="{FF2B5EF4-FFF2-40B4-BE49-F238E27FC236}">
                <a16:creationId xmlns:a16="http://schemas.microsoft.com/office/drawing/2014/main" id="{B8F412D8-2C8B-5D50-6D00-18817D247BE7}"/>
              </a:ext>
            </a:extLst>
          </p:cNvPr>
          <p:cNvSpPr txBox="1"/>
          <p:nvPr/>
        </p:nvSpPr>
        <p:spPr>
          <a:xfrm>
            <a:off x="8723924"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6/6</a:t>
            </a:r>
          </a:p>
        </p:txBody>
      </p:sp>
      <p:pic>
        <p:nvPicPr>
          <p:cNvPr id="90" name="Gráfico 131" descr="Acento Circunflexo à Direita com preenchimento sólido">
            <a:extLst>
              <a:ext uri="{FF2B5EF4-FFF2-40B4-BE49-F238E27FC236}">
                <a16:creationId xmlns:a16="http://schemas.microsoft.com/office/drawing/2014/main" id="{9B83BDD6-0282-F43D-3049-96883F3D52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647109" y="6546689"/>
            <a:ext cx="156462" cy="156462"/>
          </a:xfrm>
          <a:prstGeom prst="rect">
            <a:avLst/>
          </a:prstGeom>
        </p:spPr>
      </p:pic>
    </p:spTree>
    <p:extLst>
      <p:ext uri="{BB962C8B-B14F-4D97-AF65-F5344CB8AC3E}">
        <p14:creationId xmlns:p14="http://schemas.microsoft.com/office/powerpoint/2010/main" val="22652951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5C09748-E008-5FAE-5944-D122691D6909}"/>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24BEC366-5C55-E644-901F-74E8DD29976C}"/>
              </a:ext>
            </a:extLst>
          </p:cNvPr>
          <p:cNvSpPr/>
          <p:nvPr/>
        </p:nvSpPr>
        <p:spPr>
          <a:xfrm>
            <a:off x="1389888" y="1247695"/>
            <a:ext cx="10014971"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8" name="Picture 2" descr="A red and black machine&#10;&#10;Description automatically generated">
            <a:extLst>
              <a:ext uri="{FF2B5EF4-FFF2-40B4-BE49-F238E27FC236}">
                <a16:creationId xmlns:a16="http://schemas.microsoft.com/office/drawing/2014/main" id="{D5DC01C6-CAB3-A49C-9EBE-D107EAE0785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34522" y="2026971"/>
            <a:ext cx="2624387" cy="2624389"/>
          </a:xfrm>
          <a:prstGeom prst="rect">
            <a:avLst/>
          </a:prstGeom>
        </p:spPr>
      </p:pic>
      <p:pic>
        <p:nvPicPr>
          <p:cNvPr id="11" name="Picture 23">
            <a:extLst>
              <a:ext uri="{FF2B5EF4-FFF2-40B4-BE49-F238E27FC236}">
                <a16:creationId xmlns:a16="http://schemas.microsoft.com/office/drawing/2014/main" id="{3D8F2295-0650-10D7-850E-EC3B76373030}"/>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351511" y="4682505"/>
            <a:ext cx="1132943" cy="409299"/>
          </a:xfrm>
          <a:prstGeom prst="rect">
            <a:avLst/>
          </a:prstGeom>
        </p:spPr>
      </p:pic>
      <p:sp>
        <p:nvSpPr>
          <p:cNvPr id="12" name="Retângulo com Canto Diagonal Aparado 11">
            <a:extLst>
              <a:ext uri="{FF2B5EF4-FFF2-40B4-BE49-F238E27FC236}">
                <a16:creationId xmlns:a16="http://schemas.microsoft.com/office/drawing/2014/main" id="{F7EC3852-ED6F-8117-42E6-72FD9029EED7}"/>
              </a:ext>
            </a:extLst>
          </p:cNvPr>
          <p:cNvSpPr/>
          <p:nvPr/>
        </p:nvSpPr>
        <p:spPr>
          <a:xfrm>
            <a:off x="4778984" y="2274152"/>
            <a:ext cx="5979950" cy="1681728"/>
          </a:xfrm>
          <a:prstGeom prst="snip2DiagRect">
            <a:avLst/>
          </a:prstGeom>
          <a:solidFill>
            <a:srgbClr val="F4F4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3" name="Rectangle 2">
            <a:extLst>
              <a:ext uri="{FF2B5EF4-FFF2-40B4-BE49-F238E27FC236}">
                <a16:creationId xmlns:a16="http://schemas.microsoft.com/office/drawing/2014/main" id="{6050CB8E-53D8-3AAB-F928-B9CCBCE2C466}"/>
              </a:ext>
            </a:extLst>
          </p:cNvPr>
          <p:cNvSpPr/>
          <p:nvPr/>
        </p:nvSpPr>
        <p:spPr>
          <a:xfrm>
            <a:off x="6769112" y="2373580"/>
            <a:ext cx="325979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rPr>
              <a:t>54,500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rPr>
              <a:t>hours</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endParaRPr>
          </a:p>
        </p:txBody>
      </p:sp>
      <p:sp>
        <p:nvSpPr>
          <p:cNvPr id="14" name="Rectangle 3">
            <a:extLst>
              <a:ext uri="{FF2B5EF4-FFF2-40B4-BE49-F238E27FC236}">
                <a16:creationId xmlns:a16="http://schemas.microsoft.com/office/drawing/2014/main" id="{AF85FF6D-224D-3497-953C-A35BA7C9400D}"/>
              </a:ext>
            </a:extLst>
          </p:cNvPr>
          <p:cNvSpPr/>
          <p:nvPr/>
        </p:nvSpPr>
        <p:spPr>
          <a:xfrm>
            <a:off x="8946273" y="2372077"/>
            <a:ext cx="1584061"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rPr>
              <a:t>8.8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rPr>
              <a:t>million mi</a:t>
            </a:r>
          </a:p>
        </p:txBody>
      </p:sp>
      <p:sp>
        <p:nvSpPr>
          <p:cNvPr id="15" name="Rectangle 7">
            <a:extLst>
              <a:ext uri="{FF2B5EF4-FFF2-40B4-BE49-F238E27FC236}">
                <a16:creationId xmlns:a16="http://schemas.microsoft.com/office/drawing/2014/main" id="{CDDF3A4E-3F0E-8E4B-A83B-86C7DAAC659F}"/>
              </a:ext>
            </a:extLst>
          </p:cNvPr>
          <p:cNvSpPr/>
          <p:nvPr/>
        </p:nvSpPr>
        <p:spPr>
          <a:xfrm>
            <a:off x="4910087" y="2396570"/>
            <a:ext cx="2370131"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rPr>
              <a:t>6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rPr>
              <a:t>years</a:t>
            </a:r>
            <a:endParaRPr kumimoji="0" lang="en-US" sz="105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endParaRPr>
          </a:p>
        </p:txBody>
      </p:sp>
      <p:sp>
        <p:nvSpPr>
          <p:cNvPr id="16" name="Rectangle 8">
            <a:extLst>
              <a:ext uri="{FF2B5EF4-FFF2-40B4-BE49-F238E27FC236}">
                <a16:creationId xmlns:a16="http://schemas.microsoft.com/office/drawing/2014/main" id="{4DFAB8E1-AC41-245B-5EA6-2491DD03B70F}"/>
              </a:ext>
            </a:extLst>
          </p:cNvPr>
          <p:cNvSpPr/>
          <p:nvPr/>
        </p:nvSpPr>
        <p:spPr>
          <a:xfrm>
            <a:off x="4778983" y="3210778"/>
            <a:ext cx="5979951" cy="584775"/>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黑体"/>
                <a:cs typeface="Arial" panose="020B0604020202020204" pitchFamily="34" charset="0"/>
              </a:rPr>
              <a:t>Global Production </a:t>
            </a:r>
            <a:r>
              <a:rPr kumimoji="0" lang="en-US" sz="3200" b="0" i="0" u="none" strike="noStrike" kern="1200" cap="none" spc="0" normalizeH="0" baseline="0" noProof="0">
                <a:ln>
                  <a:noFill/>
                </a:ln>
                <a:solidFill>
                  <a:prstClr val="black"/>
                </a:solidFill>
                <a:effectLst/>
                <a:uLnTx/>
                <a:uFillTx/>
                <a:latin typeface="Aptos" panose="020B0004020202020204" pitchFamily="34" charset="0"/>
                <a:ea typeface="黑体"/>
                <a:cs typeface="Arial" panose="020B0604020202020204" pitchFamily="34" charset="0"/>
              </a:rPr>
              <a:t>3,000+</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黑体"/>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黑体"/>
                <a:cs typeface="Arial" panose="020B0604020202020204" pitchFamily="34" charset="0"/>
              </a:rPr>
              <a:t>engines</a:t>
            </a:r>
            <a:endParaRPr kumimoji="0" lang="en-US" sz="1050" b="0" i="0" u="none" strike="noStrike" kern="1200" cap="none" spc="0" normalizeH="0" baseline="0" noProof="0">
              <a:ln>
                <a:noFill/>
              </a:ln>
              <a:solidFill>
                <a:prstClr val="black"/>
              </a:solidFill>
              <a:effectLst/>
              <a:uLnTx/>
              <a:uFillTx/>
              <a:latin typeface="Aptos" panose="020B0004020202020204" pitchFamily="34" charset="0"/>
              <a:ea typeface="黑体"/>
              <a:cs typeface="Arial" panose="020B0604020202020204" pitchFamily="34" charset="0"/>
            </a:endParaRPr>
          </a:p>
        </p:txBody>
      </p:sp>
      <p:sp>
        <p:nvSpPr>
          <p:cNvPr id="17" name="Retângulo com Canto Diagonal Aparado 16">
            <a:extLst>
              <a:ext uri="{FF2B5EF4-FFF2-40B4-BE49-F238E27FC236}">
                <a16:creationId xmlns:a16="http://schemas.microsoft.com/office/drawing/2014/main" id="{52A6C6AB-C7AD-E2A2-EF6C-4840893F5EDF}"/>
              </a:ext>
            </a:extLst>
          </p:cNvPr>
          <p:cNvSpPr/>
          <p:nvPr/>
        </p:nvSpPr>
        <p:spPr>
          <a:xfrm>
            <a:off x="4778984" y="4320408"/>
            <a:ext cx="5979950" cy="811859"/>
          </a:xfrm>
          <a:prstGeom prst="snip2DiagRect">
            <a:avLst/>
          </a:prstGeom>
          <a:solidFill>
            <a:srgbClr val="D92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8" name="Rectangle 9">
            <a:extLst>
              <a:ext uri="{FF2B5EF4-FFF2-40B4-BE49-F238E27FC236}">
                <a16:creationId xmlns:a16="http://schemas.microsoft.com/office/drawing/2014/main" id="{85AB7F77-41D0-782E-54BF-E9917CDE2608}"/>
              </a:ext>
            </a:extLst>
          </p:cNvPr>
          <p:cNvSpPr/>
          <p:nvPr/>
        </p:nvSpPr>
        <p:spPr>
          <a:xfrm>
            <a:off x="6726080" y="4420524"/>
            <a:ext cx="2928682"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12,620 </a:t>
            </a: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hours</a:t>
            </a:r>
            <a:endParaRPr kumimoji="0" lang="en-US" sz="14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endParaRPr>
          </a:p>
        </p:txBody>
      </p:sp>
      <p:sp>
        <p:nvSpPr>
          <p:cNvPr id="19" name="Rectangle 10">
            <a:extLst>
              <a:ext uri="{FF2B5EF4-FFF2-40B4-BE49-F238E27FC236}">
                <a16:creationId xmlns:a16="http://schemas.microsoft.com/office/drawing/2014/main" id="{B5245B3D-929C-8DFC-39ED-EB6CB7CFD1E0}"/>
              </a:ext>
            </a:extLst>
          </p:cNvPr>
          <p:cNvSpPr/>
          <p:nvPr/>
        </p:nvSpPr>
        <p:spPr>
          <a:xfrm>
            <a:off x="8933600" y="4401196"/>
            <a:ext cx="2271699"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2.5 </a:t>
            </a: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million mi</a:t>
            </a:r>
          </a:p>
        </p:txBody>
      </p:sp>
      <p:sp>
        <p:nvSpPr>
          <p:cNvPr id="25" name="Rectangle 11">
            <a:extLst>
              <a:ext uri="{FF2B5EF4-FFF2-40B4-BE49-F238E27FC236}">
                <a16:creationId xmlns:a16="http://schemas.microsoft.com/office/drawing/2014/main" id="{BF85987F-E78E-4875-C7BB-F68963B2A5EA}"/>
              </a:ext>
            </a:extLst>
          </p:cNvPr>
          <p:cNvSpPr/>
          <p:nvPr/>
        </p:nvSpPr>
        <p:spPr>
          <a:xfrm>
            <a:off x="4921565" y="4392999"/>
            <a:ext cx="227169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4</a:t>
            </a:r>
            <a:r>
              <a:rPr kumimoji="0" lang="en-US" sz="28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 </a:t>
            </a: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years</a:t>
            </a:r>
          </a:p>
        </p:txBody>
      </p:sp>
      <p:sp>
        <p:nvSpPr>
          <p:cNvPr id="26" name="Retângulo 25">
            <a:extLst>
              <a:ext uri="{FF2B5EF4-FFF2-40B4-BE49-F238E27FC236}">
                <a16:creationId xmlns:a16="http://schemas.microsoft.com/office/drawing/2014/main" id="{2F56D855-6946-489B-F71E-32A6A0592CC0}"/>
              </a:ext>
            </a:extLst>
          </p:cNvPr>
          <p:cNvSpPr/>
          <p:nvPr/>
        </p:nvSpPr>
        <p:spPr>
          <a:xfrm>
            <a:off x="4894261" y="4092424"/>
            <a:ext cx="2322483" cy="27817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7" name="CaixaDeTexto 26">
            <a:extLst>
              <a:ext uri="{FF2B5EF4-FFF2-40B4-BE49-F238E27FC236}">
                <a16:creationId xmlns:a16="http://schemas.microsoft.com/office/drawing/2014/main" id="{003F171E-D15D-6F1D-842A-9105A62A9B03}"/>
              </a:ext>
            </a:extLst>
          </p:cNvPr>
          <p:cNvSpPr txBox="1"/>
          <p:nvPr/>
        </p:nvSpPr>
        <p:spPr>
          <a:xfrm>
            <a:off x="4882686" y="4101521"/>
            <a:ext cx="234789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ptos" panose="020B0004020202020204" pitchFamily="34" charset="0"/>
                <a:ea typeface="+mn-ea"/>
                <a:cs typeface="+mn-cs"/>
              </a:rPr>
              <a:t>Planned Validation For X10</a:t>
            </a:r>
          </a:p>
        </p:txBody>
      </p:sp>
      <p:sp>
        <p:nvSpPr>
          <p:cNvPr id="28" name="Rectangle 11">
            <a:extLst>
              <a:ext uri="{FF2B5EF4-FFF2-40B4-BE49-F238E27FC236}">
                <a16:creationId xmlns:a16="http://schemas.microsoft.com/office/drawing/2014/main" id="{1B1EE3D6-C144-2BCD-783F-45F608491561}"/>
              </a:ext>
            </a:extLst>
          </p:cNvPr>
          <p:cNvSpPr/>
          <p:nvPr/>
        </p:nvSpPr>
        <p:spPr>
          <a:xfrm>
            <a:off x="4959303" y="4834339"/>
            <a:ext cx="2271698"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research &amp; development</a:t>
            </a:r>
          </a:p>
        </p:txBody>
      </p:sp>
      <p:sp>
        <p:nvSpPr>
          <p:cNvPr id="29" name="Rectangle 11">
            <a:extLst>
              <a:ext uri="{FF2B5EF4-FFF2-40B4-BE49-F238E27FC236}">
                <a16:creationId xmlns:a16="http://schemas.microsoft.com/office/drawing/2014/main" id="{A5762F95-84BD-0C57-FCBA-6C932D1CAC93}"/>
              </a:ext>
            </a:extLst>
          </p:cNvPr>
          <p:cNvSpPr/>
          <p:nvPr/>
        </p:nvSpPr>
        <p:spPr>
          <a:xfrm>
            <a:off x="6798350" y="4851928"/>
            <a:ext cx="2271698"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in-house and overload testing </a:t>
            </a:r>
          </a:p>
        </p:txBody>
      </p:sp>
      <p:sp>
        <p:nvSpPr>
          <p:cNvPr id="30" name="Rectangle 11">
            <a:extLst>
              <a:ext uri="{FF2B5EF4-FFF2-40B4-BE49-F238E27FC236}">
                <a16:creationId xmlns:a16="http://schemas.microsoft.com/office/drawing/2014/main" id="{1D161CC0-EAF8-EB5F-0FAB-676C27B8C52F}"/>
              </a:ext>
            </a:extLst>
          </p:cNvPr>
          <p:cNvSpPr/>
          <p:nvPr/>
        </p:nvSpPr>
        <p:spPr>
          <a:xfrm>
            <a:off x="8912899" y="4851928"/>
            <a:ext cx="2271698"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黑体" panose="02010609060101010101" pitchFamily="49" charset="-122"/>
                <a:cs typeface="Arial" panose="020B0604020202020204" pitchFamily="34" charset="0"/>
              </a:rPr>
              <a:t> on-road testing</a:t>
            </a:r>
          </a:p>
        </p:txBody>
      </p:sp>
      <p:sp>
        <p:nvSpPr>
          <p:cNvPr id="31" name="CaixaDeTexto 30">
            <a:extLst>
              <a:ext uri="{FF2B5EF4-FFF2-40B4-BE49-F238E27FC236}">
                <a16:creationId xmlns:a16="http://schemas.microsoft.com/office/drawing/2014/main" id="{7DBC6B7E-17EC-A184-BD81-B74F52D4E63F}"/>
              </a:ext>
            </a:extLst>
          </p:cNvPr>
          <p:cNvSpPr txBox="1"/>
          <p:nvPr/>
        </p:nvSpPr>
        <p:spPr>
          <a:xfrm>
            <a:off x="4921565" y="2839535"/>
            <a:ext cx="163768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rPr>
              <a:t>research &amp; development</a:t>
            </a:r>
          </a:p>
        </p:txBody>
      </p:sp>
      <p:sp>
        <p:nvSpPr>
          <p:cNvPr id="32" name="CaixaDeTexto 31">
            <a:extLst>
              <a:ext uri="{FF2B5EF4-FFF2-40B4-BE49-F238E27FC236}">
                <a16:creationId xmlns:a16="http://schemas.microsoft.com/office/drawing/2014/main" id="{3203E2B8-BFA7-37F1-0681-F38581DF55F7}"/>
              </a:ext>
            </a:extLst>
          </p:cNvPr>
          <p:cNvSpPr txBox="1"/>
          <p:nvPr/>
        </p:nvSpPr>
        <p:spPr>
          <a:xfrm>
            <a:off x="6774858" y="2839535"/>
            <a:ext cx="2040976"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rPr>
              <a:t>in-house and overload testing</a:t>
            </a:r>
          </a:p>
        </p:txBody>
      </p:sp>
      <p:sp>
        <p:nvSpPr>
          <p:cNvPr id="33" name="CaixaDeTexto 32">
            <a:extLst>
              <a:ext uri="{FF2B5EF4-FFF2-40B4-BE49-F238E27FC236}">
                <a16:creationId xmlns:a16="http://schemas.microsoft.com/office/drawing/2014/main" id="{2E4777AA-E00E-2041-6F3E-0A1D6E147EE7}"/>
              </a:ext>
            </a:extLst>
          </p:cNvPr>
          <p:cNvSpPr txBox="1"/>
          <p:nvPr/>
        </p:nvSpPr>
        <p:spPr>
          <a:xfrm>
            <a:off x="8933600" y="2839535"/>
            <a:ext cx="2040976"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ptos" panose="020B0004020202020204" pitchFamily="34" charset="0"/>
                <a:ea typeface="黑体" panose="02010609060101010101" pitchFamily="49" charset="-122"/>
                <a:cs typeface="Arial" panose="020B0604020202020204" pitchFamily="34" charset="0"/>
              </a:rPr>
              <a:t> on-road testing</a:t>
            </a:r>
          </a:p>
        </p:txBody>
      </p:sp>
      <p:sp>
        <p:nvSpPr>
          <p:cNvPr id="34" name="Retângulo 33">
            <a:extLst>
              <a:ext uri="{FF2B5EF4-FFF2-40B4-BE49-F238E27FC236}">
                <a16:creationId xmlns:a16="http://schemas.microsoft.com/office/drawing/2014/main" id="{8DF61A05-8082-A04D-B6F2-06ECD86D3639}"/>
              </a:ext>
            </a:extLst>
          </p:cNvPr>
          <p:cNvSpPr/>
          <p:nvPr/>
        </p:nvSpPr>
        <p:spPr>
          <a:xfrm>
            <a:off x="4894261" y="2059517"/>
            <a:ext cx="2322483" cy="27817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35" name="CaixaDeTexto 34">
            <a:extLst>
              <a:ext uri="{FF2B5EF4-FFF2-40B4-BE49-F238E27FC236}">
                <a16:creationId xmlns:a16="http://schemas.microsoft.com/office/drawing/2014/main" id="{26AB5623-C0B8-C2B9-55E8-8D6380F35E61}"/>
              </a:ext>
            </a:extLst>
          </p:cNvPr>
          <p:cNvSpPr txBox="1"/>
          <p:nvPr/>
        </p:nvSpPr>
        <p:spPr>
          <a:xfrm>
            <a:off x="4882686" y="2076778"/>
            <a:ext cx="234789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ptos" panose="020B0004020202020204" pitchFamily="34" charset="0"/>
                <a:ea typeface="+mn-ea"/>
                <a:cs typeface="+mn-cs"/>
              </a:rPr>
              <a:t>Global Platform Validation</a:t>
            </a:r>
          </a:p>
        </p:txBody>
      </p:sp>
      <p:sp>
        <p:nvSpPr>
          <p:cNvPr id="83" name="Espaço Reservado para Conteúdo 82">
            <a:extLst>
              <a:ext uri="{FF2B5EF4-FFF2-40B4-BE49-F238E27FC236}">
                <a16:creationId xmlns:a16="http://schemas.microsoft.com/office/drawing/2014/main" id="{017414A5-84C8-6805-6DE2-F87C7A1D756F}"/>
              </a:ext>
            </a:extLst>
          </p:cNvPr>
          <p:cNvSpPr>
            <a:spLocks noGrp="1"/>
          </p:cNvSpPr>
          <p:nvPr>
            <p:ph idx="1"/>
          </p:nvPr>
        </p:nvSpPr>
        <p:spPr/>
        <p:txBody>
          <a:bodyPr/>
          <a:lstStyle/>
          <a:p>
            <a:r>
              <a:rPr lang="en-US" sz="2400" b="1" noProof="0">
                <a:solidFill>
                  <a:srgbClr val="D9281C"/>
                </a:solidFill>
                <a:latin typeface="Aptos" panose="020B0004020202020204" pitchFamily="34" charset="0"/>
              </a:rPr>
              <a:t>Global Platform Validation</a:t>
            </a:r>
          </a:p>
        </p:txBody>
      </p:sp>
      <p:pic>
        <p:nvPicPr>
          <p:cNvPr id="6" name="Picture 48" descr="A red and black logo&#10;&#10;Description automatically generated">
            <a:extLst>
              <a:ext uri="{FF2B5EF4-FFF2-40B4-BE49-F238E27FC236}">
                <a16:creationId xmlns:a16="http://schemas.microsoft.com/office/drawing/2014/main" id="{C102AA53-9D84-66D3-CA3B-09F546BE36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144234" y="616689"/>
            <a:ext cx="1199509" cy="433348"/>
          </a:xfrm>
          <a:prstGeom prst="rect">
            <a:avLst/>
          </a:prstGeom>
        </p:spPr>
      </p:pic>
      <p:sp>
        <p:nvSpPr>
          <p:cNvPr id="7" name="Rounded Rectangle 56">
            <a:extLst>
              <a:ext uri="{FF2B5EF4-FFF2-40B4-BE49-F238E27FC236}">
                <a16:creationId xmlns:a16="http://schemas.microsoft.com/office/drawing/2014/main" id="{7C8B6EE6-1884-5F9D-B6C1-A6C309CE6236}"/>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9" name="Conector Reto 31">
            <a:extLst>
              <a:ext uri="{FF2B5EF4-FFF2-40B4-BE49-F238E27FC236}">
                <a16:creationId xmlns:a16="http://schemas.microsoft.com/office/drawing/2014/main" id="{BFA9CA07-0FA7-C560-F0E7-1EB26A8D06F1}"/>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Conector Reto 75">
            <a:extLst>
              <a:ext uri="{FF2B5EF4-FFF2-40B4-BE49-F238E27FC236}">
                <a16:creationId xmlns:a16="http://schemas.microsoft.com/office/drawing/2014/main" id="{A0582C53-12D5-7848-2835-2E637632E732}"/>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Conector Reto 31">
            <a:extLst>
              <a:ext uri="{FF2B5EF4-FFF2-40B4-BE49-F238E27FC236}">
                <a16:creationId xmlns:a16="http://schemas.microsoft.com/office/drawing/2014/main" id="{72FD326D-246D-8599-DFA8-5694219F12DA}"/>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31">
            <a:extLst>
              <a:ext uri="{FF2B5EF4-FFF2-40B4-BE49-F238E27FC236}">
                <a16:creationId xmlns:a16="http://schemas.microsoft.com/office/drawing/2014/main" id="{69F20556-8A77-9FF2-5DAD-E95B3FCA9452}"/>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78">
            <a:extLst>
              <a:ext uri="{FF2B5EF4-FFF2-40B4-BE49-F238E27FC236}">
                <a16:creationId xmlns:a16="http://schemas.microsoft.com/office/drawing/2014/main" id="{91A03540-5236-BE67-EB2D-0B9CDC5D81D1}"/>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Conector Reto 31">
            <a:extLst>
              <a:ext uri="{FF2B5EF4-FFF2-40B4-BE49-F238E27FC236}">
                <a16:creationId xmlns:a16="http://schemas.microsoft.com/office/drawing/2014/main" id="{8C95AFA5-715F-4264-3658-F60C1894A5E8}"/>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6" name="CaixaDeTexto 80">
            <a:extLst>
              <a:ext uri="{FF2B5EF4-FFF2-40B4-BE49-F238E27FC236}">
                <a16:creationId xmlns:a16="http://schemas.microsoft.com/office/drawing/2014/main" id="{D754935D-64EC-6C3A-5967-6367AA4B6255}"/>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37" name="CaixaDeTexto 81">
            <a:extLst>
              <a:ext uri="{FF2B5EF4-FFF2-40B4-BE49-F238E27FC236}">
                <a16:creationId xmlns:a16="http://schemas.microsoft.com/office/drawing/2014/main" id="{4276D669-F303-90B5-83D0-2E1F2E653C11}"/>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38" name="CaixaDeTexto 82">
            <a:extLst>
              <a:ext uri="{FF2B5EF4-FFF2-40B4-BE49-F238E27FC236}">
                <a16:creationId xmlns:a16="http://schemas.microsoft.com/office/drawing/2014/main" id="{CFD64BFE-64E6-84BD-D82F-256DE42C39F3}"/>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39" name="CaixaDeTexto 83">
            <a:extLst>
              <a:ext uri="{FF2B5EF4-FFF2-40B4-BE49-F238E27FC236}">
                <a16:creationId xmlns:a16="http://schemas.microsoft.com/office/drawing/2014/main" id="{B0C231E7-3B6F-15F4-669C-452320C5E506}"/>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40" name="CaixaDeTexto 84">
            <a:extLst>
              <a:ext uri="{FF2B5EF4-FFF2-40B4-BE49-F238E27FC236}">
                <a16:creationId xmlns:a16="http://schemas.microsoft.com/office/drawing/2014/main" id="{07105F03-6888-57E2-FAE3-92766E7FFA8E}"/>
              </a:ext>
            </a:extLst>
          </p:cNvPr>
          <p:cNvSpPr txBox="1"/>
          <p:nvPr/>
        </p:nvSpPr>
        <p:spPr>
          <a:xfrm>
            <a:off x="8515425" y="6294672"/>
            <a:ext cx="9217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41" name="CaixaDeTexto 85">
            <a:extLst>
              <a:ext uri="{FF2B5EF4-FFF2-40B4-BE49-F238E27FC236}">
                <a16:creationId xmlns:a16="http://schemas.microsoft.com/office/drawing/2014/main" id="{76377468-9BD0-7F6B-2763-F3BC3D534738}"/>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Validation</a:t>
            </a:r>
          </a:p>
        </p:txBody>
      </p:sp>
      <p:sp>
        <p:nvSpPr>
          <p:cNvPr id="42" name="CaixaDeTexto 86">
            <a:extLst>
              <a:ext uri="{FF2B5EF4-FFF2-40B4-BE49-F238E27FC236}">
                <a16:creationId xmlns:a16="http://schemas.microsoft.com/office/drawing/2014/main" id="{EE40D9F8-B16E-A8B5-988F-E9510584A3B8}"/>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43" name="CaixaDeTexto 87">
            <a:extLst>
              <a:ext uri="{FF2B5EF4-FFF2-40B4-BE49-F238E27FC236}">
                <a16:creationId xmlns:a16="http://schemas.microsoft.com/office/drawing/2014/main" id="{5F76AB6F-9C64-2294-E3C0-602A57029910}"/>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44" name="Conector Reto 31">
            <a:extLst>
              <a:ext uri="{FF2B5EF4-FFF2-40B4-BE49-F238E27FC236}">
                <a16:creationId xmlns:a16="http://schemas.microsoft.com/office/drawing/2014/main" id="{72DFEB81-548D-B3AC-26FF-68548108AB9C}"/>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5" name="Conector Reto 31">
            <a:extLst>
              <a:ext uri="{FF2B5EF4-FFF2-40B4-BE49-F238E27FC236}">
                <a16:creationId xmlns:a16="http://schemas.microsoft.com/office/drawing/2014/main" id="{C9B82958-D6F4-73E7-D9F6-95D5C0B8469A}"/>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6" name="Conector Reto 17">
            <a:extLst>
              <a:ext uri="{FF2B5EF4-FFF2-40B4-BE49-F238E27FC236}">
                <a16:creationId xmlns:a16="http://schemas.microsoft.com/office/drawing/2014/main" id="{CF71FCAC-519E-F237-F990-73242E161F5F}"/>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47" name="Rounded Rectangle 141">
            <a:extLst>
              <a:ext uri="{FF2B5EF4-FFF2-40B4-BE49-F238E27FC236}">
                <a16:creationId xmlns:a16="http://schemas.microsoft.com/office/drawing/2014/main" id="{BD6552B4-F7D6-46AC-3FA4-15A44B994BB5}"/>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48" name="CaixaDeTexto 89">
            <a:extLst>
              <a:ext uri="{FF2B5EF4-FFF2-40B4-BE49-F238E27FC236}">
                <a16:creationId xmlns:a16="http://schemas.microsoft.com/office/drawing/2014/main" id="{FB229647-38BB-922A-BEAB-0E1CB37437D9}"/>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88" name="Retângulo Arredondado 87">
            <a:extLst>
              <a:ext uri="{FF2B5EF4-FFF2-40B4-BE49-F238E27FC236}">
                <a16:creationId xmlns:a16="http://schemas.microsoft.com/office/drawing/2014/main" id="{ACD693C6-4499-9905-5680-80A6AFF07CF0}"/>
              </a:ext>
            </a:extLst>
          </p:cNvPr>
          <p:cNvSpPr/>
          <p:nvPr/>
        </p:nvSpPr>
        <p:spPr>
          <a:xfrm>
            <a:off x="9686087"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89" name="TextBox 60">
            <a:extLst>
              <a:ext uri="{FF2B5EF4-FFF2-40B4-BE49-F238E27FC236}">
                <a16:creationId xmlns:a16="http://schemas.microsoft.com/office/drawing/2014/main" id="{8C26160B-794E-35AF-56AF-0FC01B99E561}"/>
              </a:ext>
            </a:extLst>
          </p:cNvPr>
          <p:cNvSpPr txBox="1"/>
          <p:nvPr/>
        </p:nvSpPr>
        <p:spPr>
          <a:xfrm>
            <a:off x="9626947"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1/2</a:t>
            </a:r>
          </a:p>
        </p:txBody>
      </p:sp>
      <p:pic>
        <p:nvPicPr>
          <p:cNvPr id="90" name="Gráfico 89" descr="Acento Circunflexo à Direita com preenchimento sólido">
            <a:extLst>
              <a:ext uri="{FF2B5EF4-FFF2-40B4-BE49-F238E27FC236}">
                <a16:creationId xmlns:a16="http://schemas.microsoft.com/office/drawing/2014/main" id="{4A78F389-0A34-5316-A51B-EBC44E1E2F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65438" y="6546689"/>
            <a:ext cx="156462" cy="156462"/>
          </a:xfrm>
          <a:prstGeom prst="rect">
            <a:avLst/>
          </a:prstGeom>
        </p:spPr>
      </p:pic>
    </p:spTree>
    <p:extLst>
      <p:ext uri="{BB962C8B-B14F-4D97-AF65-F5344CB8AC3E}">
        <p14:creationId xmlns:p14="http://schemas.microsoft.com/office/powerpoint/2010/main" val="34248135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33C39-4D56-49EB-CE85-091A79E24AFF}"/>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C3670940-911F-C8C3-3431-860AF53FF657}"/>
              </a:ext>
            </a:extLst>
          </p:cNvPr>
          <p:cNvSpPr/>
          <p:nvPr/>
        </p:nvSpPr>
        <p:spPr>
          <a:xfrm>
            <a:off x="1353312" y="1247695"/>
            <a:ext cx="10051547"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92" name="Espaço Reservado para Conteúdo 91">
            <a:extLst>
              <a:ext uri="{FF2B5EF4-FFF2-40B4-BE49-F238E27FC236}">
                <a16:creationId xmlns:a16="http://schemas.microsoft.com/office/drawing/2014/main" id="{97339114-EE8B-CBC2-3255-043B0CDC72DC}"/>
              </a:ext>
            </a:extLst>
          </p:cNvPr>
          <p:cNvSpPr>
            <a:spLocks noGrp="1"/>
          </p:cNvSpPr>
          <p:nvPr>
            <p:ph idx="1"/>
          </p:nvPr>
        </p:nvSpPr>
        <p:spPr/>
        <p:txBody>
          <a:bodyPr/>
          <a:lstStyle/>
          <a:p>
            <a:r>
              <a:rPr lang="en-US" sz="2400" b="1" noProof="0">
                <a:solidFill>
                  <a:srgbClr val="D9281C"/>
                </a:solidFill>
                <a:latin typeface="Aptos" panose="020B0004020202020204" pitchFamily="34" charset="0"/>
              </a:rPr>
              <a:t>Field Test Facts</a:t>
            </a:r>
          </a:p>
        </p:txBody>
      </p:sp>
      <p:grpSp>
        <p:nvGrpSpPr>
          <p:cNvPr id="136" name="Group 135">
            <a:extLst>
              <a:ext uri="{FF2B5EF4-FFF2-40B4-BE49-F238E27FC236}">
                <a16:creationId xmlns:a16="http://schemas.microsoft.com/office/drawing/2014/main" id="{75C5AE0D-29BC-8608-6A2E-C799B76829CA}"/>
              </a:ext>
            </a:extLst>
          </p:cNvPr>
          <p:cNvGrpSpPr/>
          <p:nvPr/>
        </p:nvGrpSpPr>
        <p:grpSpPr>
          <a:xfrm>
            <a:off x="6553671" y="1815265"/>
            <a:ext cx="4563590" cy="3590057"/>
            <a:chOff x="4868834" y="810504"/>
            <a:chExt cx="7235940" cy="5549655"/>
          </a:xfrm>
        </p:grpSpPr>
        <p:pic>
          <p:nvPicPr>
            <p:cNvPr id="137" name="Picture 136">
              <a:extLst>
                <a:ext uri="{FF2B5EF4-FFF2-40B4-BE49-F238E27FC236}">
                  <a16:creationId xmlns:a16="http://schemas.microsoft.com/office/drawing/2014/main" id="{A97E29EB-B5E9-5EA8-87AD-5C73778C31AD}"/>
                </a:ext>
              </a:extLst>
            </p:cNvPr>
            <p:cNvPicPr>
              <a:picLocks noChangeAspect="1"/>
            </p:cNvPicPr>
            <p:nvPr/>
          </p:nvPicPr>
          <p:blipFill rotWithShape="1">
            <a:blip r:embed="rId3">
              <a:alphaModFix amt="50000"/>
            </a:blip>
            <a:srcRect l="9853"/>
            <a:stretch/>
          </p:blipFill>
          <p:spPr>
            <a:xfrm>
              <a:off x="4868834" y="810504"/>
              <a:ext cx="7235940" cy="5549655"/>
            </a:xfrm>
            <a:prstGeom prst="rect">
              <a:avLst/>
            </a:prstGeom>
          </p:spPr>
        </p:pic>
        <p:pic>
          <p:nvPicPr>
            <p:cNvPr id="138" name="Graphic 137" descr="Truck with solid fill">
              <a:extLst>
                <a:ext uri="{FF2B5EF4-FFF2-40B4-BE49-F238E27FC236}">
                  <a16:creationId xmlns:a16="http://schemas.microsoft.com/office/drawing/2014/main" id="{6F44B70C-83A5-9D15-5A76-436F1E52E81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99751" y="3563583"/>
              <a:ext cx="356484" cy="356484"/>
            </a:xfrm>
            <a:prstGeom prst="rect">
              <a:avLst/>
            </a:prstGeom>
          </p:spPr>
        </p:pic>
        <p:pic>
          <p:nvPicPr>
            <p:cNvPr id="139" name="Graphic 138" descr="Bus with solid fill">
              <a:extLst>
                <a:ext uri="{FF2B5EF4-FFF2-40B4-BE49-F238E27FC236}">
                  <a16:creationId xmlns:a16="http://schemas.microsoft.com/office/drawing/2014/main" id="{138D8845-60B0-5AA2-1C7B-980206211E4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04804" y="3206006"/>
              <a:ext cx="343644" cy="343644"/>
            </a:xfrm>
            <a:prstGeom prst="rect">
              <a:avLst/>
            </a:prstGeom>
          </p:spPr>
        </p:pic>
        <p:pic>
          <p:nvPicPr>
            <p:cNvPr id="140" name="Graphic 139" descr="Truck with solid fill">
              <a:extLst>
                <a:ext uri="{FF2B5EF4-FFF2-40B4-BE49-F238E27FC236}">
                  <a16:creationId xmlns:a16="http://schemas.microsoft.com/office/drawing/2014/main" id="{FB5665F0-680C-D31C-6F1A-4E39049A49E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13863" y="4631083"/>
              <a:ext cx="225570" cy="225570"/>
            </a:xfrm>
            <a:prstGeom prst="rect">
              <a:avLst/>
            </a:prstGeom>
          </p:spPr>
        </p:pic>
        <p:pic>
          <p:nvPicPr>
            <p:cNvPr id="141" name="Graphic 140" descr="Cement truck with solid fill">
              <a:extLst>
                <a:ext uri="{FF2B5EF4-FFF2-40B4-BE49-F238E27FC236}">
                  <a16:creationId xmlns:a16="http://schemas.microsoft.com/office/drawing/2014/main" id="{40B1CAE4-B360-C717-9D9D-0EE10736E47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51964" y="4785474"/>
              <a:ext cx="200050" cy="200050"/>
            </a:xfrm>
            <a:prstGeom prst="rect">
              <a:avLst/>
            </a:prstGeom>
          </p:spPr>
        </p:pic>
        <p:pic>
          <p:nvPicPr>
            <p:cNvPr id="142" name="Graphic 141" descr="Bus with solid fill">
              <a:extLst>
                <a:ext uri="{FF2B5EF4-FFF2-40B4-BE49-F238E27FC236}">
                  <a16:creationId xmlns:a16="http://schemas.microsoft.com/office/drawing/2014/main" id="{B4109C93-0C97-667F-0B18-D9CB1DAFD14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31357" y="4301294"/>
              <a:ext cx="219762" cy="219762"/>
            </a:xfrm>
            <a:prstGeom prst="rect">
              <a:avLst/>
            </a:prstGeom>
          </p:spPr>
        </p:pic>
        <p:pic>
          <p:nvPicPr>
            <p:cNvPr id="143" name="Graphic 142" descr="Dump truck with solid fill">
              <a:extLst>
                <a:ext uri="{FF2B5EF4-FFF2-40B4-BE49-F238E27FC236}">
                  <a16:creationId xmlns:a16="http://schemas.microsoft.com/office/drawing/2014/main" id="{9B728D95-0F65-B41E-F6C5-D5DD162452A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91549" y="4201366"/>
              <a:ext cx="298058" cy="298058"/>
            </a:xfrm>
            <a:prstGeom prst="rect">
              <a:avLst/>
            </a:prstGeom>
          </p:spPr>
        </p:pic>
        <p:pic>
          <p:nvPicPr>
            <p:cNvPr id="144" name="Graphic 143" descr="Truck with solid fill">
              <a:extLst>
                <a:ext uri="{FF2B5EF4-FFF2-40B4-BE49-F238E27FC236}">
                  <a16:creationId xmlns:a16="http://schemas.microsoft.com/office/drawing/2014/main" id="{6F96BBA3-A713-19F9-A853-7BE775B2089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59950" y="4608368"/>
              <a:ext cx="225570" cy="225570"/>
            </a:xfrm>
            <a:prstGeom prst="rect">
              <a:avLst/>
            </a:prstGeom>
          </p:spPr>
        </p:pic>
        <p:pic>
          <p:nvPicPr>
            <p:cNvPr id="145" name="Graphic 144" descr="Cement truck with solid fill">
              <a:extLst>
                <a:ext uri="{FF2B5EF4-FFF2-40B4-BE49-F238E27FC236}">
                  <a16:creationId xmlns:a16="http://schemas.microsoft.com/office/drawing/2014/main" id="{169AD0ED-EB79-0DE0-5640-FA3AFBEF370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04779" y="5415584"/>
              <a:ext cx="200050" cy="200050"/>
            </a:xfrm>
            <a:prstGeom prst="rect">
              <a:avLst/>
            </a:prstGeom>
          </p:spPr>
        </p:pic>
        <p:pic>
          <p:nvPicPr>
            <p:cNvPr id="146" name="Graphic 145" descr="Cement truck with solid fill">
              <a:extLst>
                <a:ext uri="{FF2B5EF4-FFF2-40B4-BE49-F238E27FC236}">
                  <a16:creationId xmlns:a16="http://schemas.microsoft.com/office/drawing/2014/main" id="{D5203177-2FCE-4225-C217-FD87ED8C2D9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01370" y="5239146"/>
              <a:ext cx="200050" cy="200050"/>
            </a:xfrm>
            <a:prstGeom prst="rect">
              <a:avLst/>
            </a:prstGeom>
          </p:spPr>
        </p:pic>
        <p:pic>
          <p:nvPicPr>
            <p:cNvPr id="147" name="Graphic 146" descr="Truck with solid fill">
              <a:extLst>
                <a:ext uri="{FF2B5EF4-FFF2-40B4-BE49-F238E27FC236}">
                  <a16:creationId xmlns:a16="http://schemas.microsoft.com/office/drawing/2014/main" id="{F3675A77-193E-B335-8F54-3D029C9DBF2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61865" y="5719395"/>
              <a:ext cx="225570" cy="225570"/>
            </a:xfrm>
            <a:prstGeom prst="rect">
              <a:avLst/>
            </a:prstGeom>
          </p:spPr>
        </p:pic>
        <p:pic>
          <p:nvPicPr>
            <p:cNvPr id="148" name="Graphic 147" descr="Truck with solid fill">
              <a:extLst>
                <a:ext uri="{FF2B5EF4-FFF2-40B4-BE49-F238E27FC236}">
                  <a16:creationId xmlns:a16="http://schemas.microsoft.com/office/drawing/2014/main" id="{742EB4F0-7EDD-0EB3-FBD8-598D2B0707E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025729" y="5564740"/>
              <a:ext cx="225570" cy="225570"/>
            </a:xfrm>
            <a:prstGeom prst="rect">
              <a:avLst/>
            </a:prstGeom>
          </p:spPr>
        </p:pic>
        <p:pic>
          <p:nvPicPr>
            <p:cNvPr id="149" name="Graphic 148" descr="Dump truck with solid fill">
              <a:extLst>
                <a:ext uri="{FF2B5EF4-FFF2-40B4-BE49-F238E27FC236}">
                  <a16:creationId xmlns:a16="http://schemas.microsoft.com/office/drawing/2014/main" id="{C826C077-B55F-BDCC-8197-6404209A1B4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72076" y="5587736"/>
              <a:ext cx="202574" cy="202574"/>
            </a:xfrm>
            <a:prstGeom prst="rect">
              <a:avLst/>
            </a:prstGeom>
          </p:spPr>
        </p:pic>
        <p:pic>
          <p:nvPicPr>
            <p:cNvPr id="150" name="Graphic 149" descr="Dump truck with solid fill">
              <a:extLst>
                <a:ext uri="{FF2B5EF4-FFF2-40B4-BE49-F238E27FC236}">
                  <a16:creationId xmlns:a16="http://schemas.microsoft.com/office/drawing/2014/main" id="{37C80E60-349E-EC15-86B7-438A12FBB4A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30070" y="5869965"/>
              <a:ext cx="202574" cy="202574"/>
            </a:xfrm>
            <a:prstGeom prst="rect">
              <a:avLst/>
            </a:prstGeom>
          </p:spPr>
        </p:pic>
        <p:pic>
          <p:nvPicPr>
            <p:cNvPr id="151" name="Graphic 150" descr="Truck with solid fill">
              <a:extLst>
                <a:ext uri="{FF2B5EF4-FFF2-40B4-BE49-F238E27FC236}">
                  <a16:creationId xmlns:a16="http://schemas.microsoft.com/office/drawing/2014/main" id="{13814338-5CE8-C706-B34F-04AE8655E39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57179" y="5615634"/>
              <a:ext cx="225570" cy="225570"/>
            </a:xfrm>
            <a:prstGeom prst="rect">
              <a:avLst/>
            </a:prstGeom>
          </p:spPr>
        </p:pic>
        <p:pic>
          <p:nvPicPr>
            <p:cNvPr id="152" name="Graphic 151" descr="Cement truck with solid fill">
              <a:extLst>
                <a:ext uri="{FF2B5EF4-FFF2-40B4-BE49-F238E27FC236}">
                  <a16:creationId xmlns:a16="http://schemas.microsoft.com/office/drawing/2014/main" id="{079545CB-7E97-90BD-424F-BE566F82796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93375" y="4756628"/>
              <a:ext cx="200050" cy="200050"/>
            </a:xfrm>
            <a:prstGeom prst="rect">
              <a:avLst/>
            </a:prstGeom>
          </p:spPr>
        </p:pic>
        <p:pic>
          <p:nvPicPr>
            <p:cNvPr id="153" name="Graphic 152" descr="Truck with solid fill">
              <a:extLst>
                <a:ext uri="{FF2B5EF4-FFF2-40B4-BE49-F238E27FC236}">
                  <a16:creationId xmlns:a16="http://schemas.microsoft.com/office/drawing/2014/main" id="{0976E831-3F6F-E882-A8B8-761A2E19C11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64850" y="4812602"/>
              <a:ext cx="225570" cy="225570"/>
            </a:xfrm>
            <a:prstGeom prst="rect">
              <a:avLst/>
            </a:prstGeom>
          </p:spPr>
        </p:pic>
        <p:pic>
          <p:nvPicPr>
            <p:cNvPr id="154" name="Graphic 153" descr="Dump truck with solid fill">
              <a:extLst>
                <a:ext uri="{FF2B5EF4-FFF2-40B4-BE49-F238E27FC236}">
                  <a16:creationId xmlns:a16="http://schemas.microsoft.com/office/drawing/2014/main" id="{9FE41FBF-C361-EA04-64B1-8B28214BCCC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48879" y="5021578"/>
              <a:ext cx="202574" cy="202574"/>
            </a:xfrm>
            <a:prstGeom prst="rect">
              <a:avLst/>
            </a:prstGeom>
          </p:spPr>
        </p:pic>
        <p:pic>
          <p:nvPicPr>
            <p:cNvPr id="155" name="Graphic 154" descr="Bus with solid fill">
              <a:extLst>
                <a:ext uri="{FF2B5EF4-FFF2-40B4-BE49-F238E27FC236}">
                  <a16:creationId xmlns:a16="http://schemas.microsoft.com/office/drawing/2014/main" id="{B67E1D1E-6BB8-F09E-EE6E-203A3900084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29706" y="4893025"/>
              <a:ext cx="219762" cy="219762"/>
            </a:xfrm>
            <a:prstGeom prst="rect">
              <a:avLst/>
            </a:prstGeom>
          </p:spPr>
        </p:pic>
        <p:pic>
          <p:nvPicPr>
            <p:cNvPr id="156" name="Graphic 155" descr="Bus with solid fill">
              <a:extLst>
                <a:ext uri="{FF2B5EF4-FFF2-40B4-BE49-F238E27FC236}">
                  <a16:creationId xmlns:a16="http://schemas.microsoft.com/office/drawing/2014/main" id="{D1E72CAF-5675-5635-47D8-A9C9B399E0D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83519" y="5098793"/>
              <a:ext cx="219762" cy="219762"/>
            </a:xfrm>
            <a:prstGeom prst="rect">
              <a:avLst/>
            </a:prstGeom>
          </p:spPr>
        </p:pic>
      </p:grpSp>
      <p:grpSp>
        <p:nvGrpSpPr>
          <p:cNvPr id="161" name="Group 160">
            <a:extLst>
              <a:ext uri="{FF2B5EF4-FFF2-40B4-BE49-F238E27FC236}">
                <a16:creationId xmlns:a16="http://schemas.microsoft.com/office/drawing/2014/main" id="{8DDC587D-C756-1CA8-5BBE-EAEA4C5C850A}"/>
              </a:ext>
            </a:extLst>
          </p:cNvPr>
          <p:cNvGrpSpPr/>
          <p:nvPr/>
        </p:nvGrpSpPr>
        <p:grpSpPr>
          <a:xfrm>
            <a:off x="1858983" y="1554743"/>
            <a:ext cx="4579421" cy="4030309"/>
            <a:chOff x="-143450" y="1902209"/>
            <a:chExt cx="5477359" cy="4705256"/>
          </a:xfrm>
        </p:grpSpPr>
        <p:graphicFrame>
          <p:nvGraphicFramePr>
            <p:cNvPr id="162" name="Chart 161">
              <a:extLst>
                <a:ext uri="{FF2B5EF4-FFF2-40B4-BE49-F238E27FC236}">
                  <a16:creationId xmlns:a16="http://schemas.microsoft.com/office/drawing/2014/main" id="{FEA33B4B-03B6-D872-9012-21D66232A397}"/>
                </a:ext>
              </a:extLst>
            </p:cNvPr>
            <p:cNvGraphicFramePr>
              <a:graphicFrameLocks/>
            </p:cNvGraphicFramePr>
            <p:nvPr/>
          </p:nvGraphicFramePr>
          <p:xfrm>
            <a:off x="-143450" y="1923741"/>
            <a:ext cx="5477359" cy="4683724"/>
          </p:xfrm>
          <a:graphic>
            <a:graphicData uri="http://schemas.openxmlformats.org/drawingml/2006/chart">
              <c:chart xmlns:c="http://schemas.openxmlformats.org/drawingml/2006/chart" xmlns:r="http://schemas.openxmlformats.org/officeDocument/2006/relationships" r:id="rId12"/>
            </a:graphicData>
          </a:graphic>
        </p:graphicFrame>
        <p:pic>
          <p:nvPicPr>
            <p:cNvPr id="163" name="Graphic 162" descr="Cement truck with solid fill">
              <a:extLst>
                <a:ext uri="{FF2B5EF4-FFF2-40B4-BE49-F238E27FC236}">
                  <a16:creationId xmlns:a16="http://schemas.microsoft.com/office/drawing/2014/main" id="{369571B8-8002-2813-B080-F45B8571B3C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64379" y="2763673"/>
              <a:ext cx="457200" cy="457200"/>
            </a:xfrm>
            <a:prstGeom prst="rect">
              <a:avLst/>
            </a:prstGeom>
          </p:spPr>
        </p:pic>
        <p:pic>
          <p:nvPicPr>
            <p:cNvPr id="164" name="Graphic 163" descr="Dump truck with solid fill">
              <a:extLst>
                <a:ext uri="{FF2B5EF4-FFF2-40B4-BE49-F238E27FC236}">
                  <a16:creationId xmlns:a16="http://schemas.microsoft.com/office/drawing/2014/main" id="{97C1873F-0226-42D6-5DD5-F915203E0D9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03662" y="4128143"/>
              <a:ext cx="457200" cy="457200"/>
            </a:xfrm>
            <a:prstGeom prst="rect">
              <a:avLst/>
            </a:prstGeom>
          </p:spPr>
        </p:pic>
        <p:pic>
          <p:nvPicPr>
            <p:cNvPr id="165" name="Graphic 164" descr="Bus with solid fill">
              <a:extLst>
                <a:ext uri="{FF2B5EF4-FFF2-40B4-BE49-F238E27FC236}">
                  <a16:creationId xmlns:a16="http://schemas.microsoft.com/office/drawing/2014/main" id="{D935CA05-68C7-A1C0-645E-2E2E670B5CB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613553" y="4822627"/>
              <a:ext cx="501650" cy="501650"/>
            </a:xfrm>
            <a:prstGeom prst="rect">
              <a:avLst/>
            </a:prstGeom>
          </p:spPr>
        </p:pic>
        <p:pic>
          <p:nvPicPr>
            <p:cNvPr id="166" name="Graphic 165" descr="Bus with solid fill">
              <a:extLst>
                <a:ext uri="{FF2B5EF4-FFF2-40B4-BE49-F238E27FC236}">
                  <a16:creationId xmlns:a16="http://schemas.microsoft.com/office/drawing/2014/main" id="{63E92755-A045-DADA-E20A-B4E76ED717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3961" y="1902209"/>
              <a:ext cx="501650" cy="501650"/>
            </a:xfrm>
            <a:prstGeom prst="rect">
              <a:avLst/>
            </a:prstGeom>
          </p:spPr>
        </p:pic>
        <p:pic>
          <p:nvPicPr>
            <p:cNvPr id="167" name="Graphic 166" descr="Dump truck with solid fill">
              <a:extLst>
                <a:ext uri="{FF2B5EF4-FFF2-40B4-BE49-F238E27FC236}">
                  <a16:creationId xmlns:a16="http://schemas.microsoft.com/office/drawing/2014/main" id="{2F51024D-392D-6E86-E252-D4E14BDE6C9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18277" y="4270391"/>
              <a:ext cx="383958" cy="383958"/>
            </a:xfrm>
            <a:prstGeom prst="rect">
              <a:avLst/>
            </a:prstGeom>
          </p:spPr>
        </p:pic>
        <p:pic>
          <p:nvPicPr>
            <p:cNvPr id="168" name="Graphic 167" descr="Truck with solid fill">
              <a:extLst>
                <a:ext uri="{FF2B5EF4-FFF2-40B4-BE49-F238E27FC236}">
                  <a16:creationId xmlns:a16="http://schemas.microsoft.com/office/drawing/2014/main" id="{DB48B254-A58A-E74B-9605-32A00035FBD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387772" y="2996054"/>
              <a:ext cx="457200" cy="457200"/>
            </a:xfrm>
            <a:prstGeom prst="rect">
              <a:avLst/>
            </a:prstGeom>
          </p:spPr>
        </p:pic>
        <p:pic>
          <p:nvPicPr>
            <p:cNvPr id="169" name="Graphic 168" descr="Truck with solid fill">
              <a:extLst>
                <a:ext uri="{FF2B5EF4-FFF2-40B4-BE49-F238E27FC236}">
                  <a16:creationId xmlns:a16="http://schemas.microsoft.com/office/drawing/2014/main" id="{7308F4BB-97DE-E470-7867-5FB2D69B1E8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2490" y="3312700"/>
              <a:ext cx="457200" cy="457200"/>
            </a:xfrm>
            <a:prstGeom prst="rect">
              <a:avLst/>
            </a:prstGeom>
          </p:spPr>
        </p:pic>
        <p:pic>
          <p:nvPicPr>
            <p:cNvPr id="170" name="Graphic 169" descr="Truck with solid fill">
              <a:extLst>
                <a:ext uri="{FF2B5EF4-FFF2-40B4-BE49-F238E27FC236}">
                  <a16:creationId xmlns:a16="http://schemas.microsoft.com/office/drawing/2014/main" id="{715E0ECD-C24C-9B4C-3937-BB7F9799020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275975" y="4715241"/>
              <a:ext cx="457200" cy="457200"/>
            </a:xfrm>
            <a:prstGeom prst="rect">
              <a:avLst/>
            </a:prstGeom>
          </p:spPr>
        </p:pic>
        <p:pic>
          <p:nvPicPr>
            <p:cNvPr id="171" name="Graphic 170" descr="Truck with solid fill">
              <a:extLst>
                <a:ext uri="{FF2B5EF4-FFF2-40B4-BE49-F238E27FC236}">
                  <a16:creationId xmlns:a16="http://schemas.microsoft.com/office/drawing/2014/main" id="{D9C676CC-78C9-59DD-3732-8088A06BF1C9}"/>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370740" y="5834422"/>
              <a:ext cx="457200" cy="457200"/>
            </a:xfrm>
            <a:prstGeom prst="rect">
              <a:avLst/>
            </a:prstGeom>
          </p:spPr>
        </p:pic>
      </p:grpSp>
      <p:grpSp>
        <p:nvGrpSpPr>
          <p:cNvPr id="157" name="Group 156">
            <a:extLst>
              <a:ext uri="{FF2B5EF4-FFF2-40B4-BE49-F238E27FC236}">
                <a16:creationId xmlns:a16="http://schemas.microsoft.com/office/drawing/2014/main" id="{288B9710-B645-F914-0A9C-8941E19B9AE0}"/>
              </a:ext>
            </a:extLst>
          </p:cNvPr>
          <p:cNvGrpSpPr/>
          <p:nvPr/>
        </p:nvGrpSpPr>
        <p:grpSpPr>
          <a:xfrm>
            <a:off x="5478880" y="1607347"/>
            <a:ext cx="1480732" cy="703435"/>
            <a:chOff x="6936828" y="4918841"/>
            <a:chExt cx="1480732" cy="703435"/>
          </a:xfrm>
        </p:grpSpPr>
        <p:sp>
          <p:nvSpPr>
            <p:cNvPr id="158" name="Rectangle 157">
              <a:extLst>
                <a:ext uri="{FF2B5EF4-FFF2-40B4-BE49-F238E27FC236}">
                  <a16:creationId xmlns:a16="http://schemas.microsoft.com/office/drawing/2014/main" id="{FAFD442C-7F6F-DA83-CE44-B10740D90049}"/>
                </a:ext>
              </a:extLst>
            </p:cNvPr>
            <p:cNvSpPr/>
            <p:nvPr/>
          </p:nvSpPr>
          <p:spPr>
            <a:xfrm>
              <a:off x="6936828" y="4918841"/>
              <a:ext cx="1480732" cy="23474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40% Vocational</a:t>
              </a:r>
            </a:p>
          </p:txBody>
        </p:sp>
        <p:sp>
          <p:nvSpPr>
            <p:cNvPr id="159" name="Rectangle 158">
              <a:extLst>
                <a:ext uri="{FF2B5EF4-FFF2-40B4-BE49-F238E27FC236}">
                  <a16:creationId xmlns:a16="http://schemas.microsoft.com/office/drawing/2014/main" id="{AF72C35C-DE56-9D9E-1447-F60858A9855B}"/>
                </a:ext>
              </a:extLst>
            </p:cNvPr>
            <p:cNvSpPr/>
            <p:nvPr/>
          </p:nvSpPr>
          <p:spPr>
            <a:xfrm>
              <a:off x="6936828" y="5153586"/>
              <a:ext cx="1480732" cy="23474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35% Haul</a:t>
              </a:r>
            </a:p>
          </p:txBody>
        </p:sp>
        <p:sp>
          <p:nvSpPr>
            <p:cNvPr id="160" name="Rectangle 159">
              <a:extLst>
                <a:ext uri="{FF2B5EF4-FFF2-40B4-BE49-F238E27FC236}">
                  <a16:creationId xmlns:a16="http://schemas.microsoft.com/office/drawing/2014/main" id="{E159A586-AC86-5696-DDE8-E30EEF6120A3}"/>
                </a:ext>
              </a:extLst>
            </p:cNvPr>
            <p:cNvSpPr/>
            <p:nvPr/>
          </p:nvSpPr>
          <p:spPr>
            <a:xfrm>
              <a:off x="6936828" y="5387531"/>
              <a:ext cx="1480732" cy="23474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25% Bus</a:t>
              </a:r>
            </a:p>
          </p:txBody>
        </p:sp>
      </p:grpSp>
      <p:sp>
        <p:nvSpPr>
          <p:cNvPr id="2" name="Rounded Rectangle 56">
            <a:extLst>
              <a:ext uri="{FF2B5EF4-FFF2-40B4-BE49-F238E27FC236}">
                <a16:creationId xmlns:a16="http://schemas.microsoft.com/office/drawing/2014/main" id="{1D2D0BF2-B41A-B064-0435-D28D81F03370}"/>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4" name="Conector Reto 31">
            <a:extLst>
              <a:ext uri="{FF2B5EF4-FFF2-40B4-BE49-F238E27FC236}">
                <a16:creationId xmlns:a16="http://schemas.microsoft.com/office/drawing/2014/main" id="{D6DAC743-7312-F494-FF78-B96FAEBC00BB}"/>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Conector Reto 75">
            <a:extLst>
              <a:ext uri="{FF2B5EF4-FFF2-40B4-BE49-F238E27FC236}">
                <a16:creationId xmlns:a16="http://schemas.microsoft.com/office/drawing/2014/main" id="{B52F07F5-751B-BF04-E1EC-5D7B92FDBBD0}"/>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 name="Conector Reto 31">
            <a:extLst>
              <a:ext uri="{FF2B5EF4-FFF2-40B4-BE49-F238E27FC236}">
                <a16:creationId xmlns:a16="http://schemas.microsoft.com/office/drawing/2014/main" id="{954529F4-5FCD-D50C-EFE1-55B2D6240485}"/>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 name="Conector Reto 31">
            <a:extLst>
              <a:ext uri="{FF2B5EF4-FFF2-40B4-BE49-F238E27FC236}">
                <a16:creationId xmlns:a16="http://schemas.microsoft.com/office/drawing/2014/main" id="{A732C3E2-8B12-1850-EA35-8BDCCAF50743}"/>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3" name="Conector Reto 78">
            <a:extLst>
              <a:ext uri="{FF2B5EF4-FFF2-40B4-BE49-F238E27FC236}">
                <a16:creationId xmlns:a16="http://schemas.microsoft.com/office/drawing/2014/main" id="{E1F39AED-C105-0740-DC55-0B3354EED858}"/>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Conector Reto 31">
            <a:extLst>
              <a:ext uri="{FF2B5EF4-FFF2-40B4-BE49-F238E27FC236}">
                <a16:creationId xmlns:a16="http://schemas.microsoft.com/office/drawing/2014/main" id="{A8567A12-98BD-B007-1E62-3AEDA449AEB6}"/>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CaixaDeTexto 80">
            <a:extLst>
              <a:ext uri="{FF2B5EF4-FFF2-40B4-BE49-F238E27FC236}">
                <a16:creationId xmlns:a16="http://schemas.microsoft.com/office/drawing/2014/main" id="{CAA64298-70CF-535F-D740-AF92CEFFFE74}"/>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16" name="CaixaDeTexto 81">
            <a:extLst>
              <a:ext uri="{FF2B5EF4-FFF2-40B4-BE49-F238E27FC236}">
                <a16:creationId xmlns:a16="http://schemas.microsoft.com/office/drawing/2014/main" id="{CEC7AC7D-7BCD-E29A-030D-4D59BBE3214A}"/>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17" name="CaixaDeTexto 82">
            <a:extLst>
              <a:ext uri="{FF2B5EF4-FFF2-40B4-BE49-F238E27FC236}">
                <a16:creationId xmlns:a16="http://schemas.microsoft.com/office/drawing/2014/main" id="{A33085D3-CF04-53AF-E6C5-7A3BE5C3864D}"/>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18" name="CaixaDeTexto 83">
            <a:extLst>
              <a:ext uri="{FF2B5EF4-FFF2-40B4-BE49-F238E27FC236}">
                <a16:creationId xmlns:a16="http://schemas.microsoft.com/office/drawing/2014/main" id="{0DFDFD45-A919-D2D5-CA88-CC53CFD6EA79}"/>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19" name="CaixaDeTexto 84">
            <a:extLst>
              <a:ext uri="{FF2B5EF4-FFF2-40B4-BE49-F238E27FC236}">
                <a16:creationId xmlns:a16="http://schemas.microsoft.com/office/drawing/2014/main" id="{0888BAA8-1200-6C87-6B50-3CDF3563A2CF}"/>
              </a:ext>
            </a:extLst>
          </p:cNvPr>
          <p:cNvSpPr txBox="1"/>
          <p:nvPr/>
        </p:nvSpPr>
        <p:spPr>
          <a:xfrm>
            <a:off x="8515425" y="6294672"/>
            <a:ext cx="9217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22" name="CaixaDeTexto 85">
            <a:extLst>
              <a:ext uri="{FF2B5EF4-FFF2-40B4-BE49-F238E27FC236}">
                <a16:creationId xmlns:a16="http://schemas.microsoft.com/office/drawing/2014/main" id="{DCAE73BE-6AB9-9F10-298F-A1B604C1AF30}"/>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Validation</a:t>
            </a:r>
          </a:p>
        </p:txBody>
      </p:sp>
      <p:sp>
        <p:nvSpPr>
          <p:cNvPr id="23" name="CaixaDeTexto 86">
            <a:extLst>
              <a:ext uri="{FF2B5EF4-FFF2-40B4-BE49-F238E27FC236}">
                <a16:creationId xmlns:a16="http://schemas.microsoft.com/office/drawing/2014/main" id="{94CBD296-E1EE-6106-0385-7234A6D5617B}"/>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24" name="CaixaDeTexto 87">
            <a:extLst>
              <a:ext uri="{FF2B5EF4-FFF2-40B4-BE49-F238E27FC236}">
                <a16:creationId xmlns:a16="http://schemas.microsoft.com/office/drawing/2014/main" id="{8078C7AD-2BD3-335C-3F82-89D50CFABC10}"/>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25" name="Conector Reto 31">
            <a:extLst>
              <a:ext uri="{FF2B5EF4-FFF2-40B4-BE49-F238E27FC236}">
                <a16:creationId xmlns:a16="http://schemas.microsoft.com/office/drawing/2014/main" id="{47BD1239-9B7F-6B3E-2528-CEC91B75EF20}"/>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Conector Reto 31">
            <a:extLst>
              <a:ext uri="{FF2B5EF4-FFF2-40B4-BE49-F238E27FC236}">
                <a16:creationId xmlns:a16="http://schemas.microsoft.com/office/drawing/2014/main" id="{0AA149F2-74C1-2315-30B7-2B1A348D2C44}"/>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Conector Reto 17">
            <a:extLst>
              <a:ext uri="{FF2B5EF4-FFF2-40B4-BE49-F238E27FC236}">
                <a16:creationId xmlns:a16="http://schemas.microsoft.com/office/drawing/2014/main" id="{7A3D20B5-BAD7-EACB-5333-D06C5485A359}"/>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28" name="Rounded Rectangle 141">
            <a:extLst>
              <a:ext uri="{FF2B5EF4-FFF2-40B4-BE49-F238E27FC236}">
                <a16:creationId xmlns:a16="http://schemas.microsoft.com/office/drawing/2014/main" id="{73AA4901-A660-7C63-872D-A1C271700DDB}"/>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29" name="CaixaDeTexto 89">
            <a:extLst>
              <a:ext uri="{FF2B5EF4-FFF2-40B4-BE49-F238E27FC236}">
                <a16:creationId xmlns:a16="http://schemas.microsoft.com/office/drawing/2014/main" id="{8494AB1B-DD6D-3A3C-84DE-9C0F28851A81}"/>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93" name="Retângulo Arredondado 92">
            <a:extLst>
              <a:ext uri="{FF2B5EF4-FFF2-40B4-BE49-F238E27FC236}">
                <a16:creationId xmlns:a16="http://schemas.microsoft.com/office/drawing/2014/main" id="{E2FC6CBA-8596-0A5A-8A29-71EE11E1BCAD}"/>
              </a:ext>
            </a:extLst>
          </p:cNvPr>
          <p:cNvSpPr/>
          <p:nvPr/>
        </p:nvSpPr>
        <p:spPr>
          <a:xfrm>
            <a:off x="9695815"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94" name="TextBox 60">
            <a:extLst>
              <a:ext uri="{FF2B5EF4-FFF2-40B4-BE49-F238E27FC236}">
                <a16:creationId xmlns:a16="http://schemas.microsoft.com/office/drawing/2014/main" id="{1DAD8A4C-4098-E5BA-7781-E547119EAB9C}"/>
              </a:ext>
            </a:extLst>
          </p:cNvPr>
          <p:cNvSpPr txBox="1"/>
          <p:nvPr/>
        </p:nvSpPr>
        <p:spPr>
          <a:xfrm>
            <a:off x="9636675"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2/2</a:t>
            </a:r>
          </a:p>
        </p:txBody>
      </p:sp>
      <p:pic>
        <p:nvPicPr>
          <p:cNvPr id="96" name="Gráfico 95" descr="Acento Circunflexo à Direita com preenchimento sólido">
            <a:extLst>
              <a:ext uri="{FF2B5EF4-FFF2-40B4-BE49-F238E27FC236}">
                <a16:creationId xmlns:a16="http://schemas.microsoft.com/office/drawing/2014/main" id="{F8168300-D2B5-D673-5A30-BDA6D08F15E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10800000">
            <a:off x="9559860" y="6546689"/>
            <a:ext cx="156462" cy="156462"/>
          </a:xfrm>
          <a:prstGeom prst="rect">
            <a:avLst/>
          </a:prstGeom>
        </p:spPr>
      </p:pic>
    </p:spTree>
    <p:extLst>
      <p:ext uri="{BB962C8B-B14F-4D97-AF65-F5344CB8AC3E}">
        <p14:creationId xmlns:p14="http://schemas.microsoft.com/office/powerpoint/2010/main" val="1632781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4C358-7E33-9096-1436-93FA58CCFC51}"/>
              </a:ext>
            </a:extLst>
          </p:cNvPr>
          <p:cNvSpPr txBox="1">
            <a:spLocks/>
          </p:cNvSpPr>
          <p:nvPr/>
        </p:nvSpPr>
        <p:spPr>
          <a:xfrm>
            <a:off x="815248" y="657922"/>
            <a:ext cx="4740599" cy="5386039"/>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0000"/>
                </a:solidFill>
                <a:effectLst/>
                <a:uLnTx/>
                <a:uFillTx/>
                <a:latin typeface="Aptos" panose="020B0004020202020204" pitchFamily="34" charset="0"/>
                <a:cs typeface="Arial" panose="020B0604020202020204" pitchFamily="34" charset="0"/>
              </a:rPr>
              <a:t>Agenda</a:t>
            </a:r>
          </a:p>
        </p:txBody>
      </p:sp>
      <p:sp>
        <p:nvSpPr>
          <p:cNvPr id="3" name="TextBox 2">
            <a:extLst>
              <a:ext uri="{FF2B5EF4-FFF2-40B4-BE49-F238E27FC236}">
                <a16:creationId xmlns:a16="http://schemas.microsoft.com/office/drawing/2014/main" id="{60F6A1A2-ACF8-CD5D-8E4D-3765DF88A41F}"/>
              </a:ext>
            </a:extLst>
          </p:cNvPr>
          <p:cNvSpPr txBox="1"/>
          <p:nvPr/>
        </p:nvSpPr>
        <p:spPr>
          <a:xfrm>
            <a:off x="4321844" y="1528480"/>
            <a:ext cx="7751526" cy="3801041"/>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110004020202020204"/>
              <a:ea typeface="+mn-lt"/>
              <a:cs typeface="+mn-lt"/>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rgbClr val="000000"/>
                </a:solidFill>
                <a:effectLst/>
                <a:uLnTx/>
                <a:uFillTx/>
                <a:latin typeface="Aptos" panose="02110004020202020204"/>
                <a:ea typeface="+mn-lt"/>
                <a:cs typeface="+mn-lt"/>
              </a:rPr>
              <a:t>X10 Update </a:t>
            </a:r>
            <a:r>
              <a:rPr kumimoji="0" lang="en-US" sz="1200" b="1" i="0" u="none" strike="noStrike" kern="1200" cap="none" spc="0" normalizeH="0" baseline="0" noProof="0" dirty="0">
                <a:ln>
                  <a:noFill/>
                </a:ln>
                <a:solidFill>
                  <a:srgbClr val="FF0000"/>
                </a:solidFill>
                <a:effectLst/>
                <a:uLnTx/>
                <a:uFillTx/>
                <a:latin typeface="Aptos" panose="02110004020202020204"/>
                <a:ea typeface="+mn-lt"/>
                <a:cs typeface="+mn-lt"/>
              </a:rPr>
              <a:t>(Greg Bohn)</a:t>
            </a:r>
            <a:endParaRPr kumimoji="0" lang="en-US" sz="2800" b="1" i="0" u="none" strike="noStrike" kern="1200" cap="none" spc="0" normalizeH="0" baseline="0" noProof="0" dirty="0">
              <a:ln>
                <a:noFill/>
              </a:ln>
              <a:solidFill>
                <a:srgbClr val="000000"/>
              </a:solidFill>
              <a:effectLst/>
              <a:uLnTx/>
              <a:uFillTx/>
              <a:latin typeface="Aptos" panose="02110004020202020204"/>
              <a:ea typeface="+mn-lt"/>
              <a:cs typeface="+mn-lt"/>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rgbClr val="000000"/>
                </a:solidFill>
                <a:effectLst/>
                <a:uLnTx/>
                <a:uFillTx/>
                <a:latin typeface="Aptos" panose="02110004020202020204"/>
                <a:ea typeface="+mn-lt"/>
                <a:cs typeface="+mn-lt"/>
              </a:rPr>
              <a:t>L9 Routine Maintenance </a:t>
            </a:r>
            <a:r>
              <a:rPr kumimoji="0" lang="en-US" sz="1200" b="1" i="0" u="none" strike="noStrike" kern="1200" cap="none" spc="0" normalizeH="0" baseline="0" noProof="0" dirty="0">
                <a:ln>
                  <a:noFill/>
                </a:ln>
                <a:solidFill>
                  <a:srgbClr val="FF0000"/>
                </a:solidFill>
                <a:effectLst/>
                <a:uLnTx/>
                <a:uFillTx/>
                <a:latin typeface="Aptos" panose="02110004020202020204"/>
                <a:ea typeface="+mn-lt"/>
                <a:cs typeface="+mn-lt"/>
              </a:rPr>
              <a:t>(Rob Craig)</a:t>
            </a:r>
            <a:endParaRPr kumimoji="0" lang="en-US" sz="20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D9281C"/>
              </a:solidFill>
              <a:effectLst/>
              <a:uLnTx/>
              <a:uFillTx/>
              <a:latin typeface="Aptos"/>
              <a:ea typeface="+mn-ea"/>
              <a:cs typeface="+mn-cs"/>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err="1">
                <a:ln>
                  <a:noFill/>
                </a:ln>
                <a:solidFill>
                  <a:srgbClr val="000000"/>
                </a:solidFill>
                <a:effectLst/>
                <a:uLnTx/>
                <a:uFillTx/>
                <a:latin typeface="Aptos"/>
                <a:ea typeface="+mn-ea"/>
                <a:cs typeface="+mn-cs"/>
              </a:rPr>
              <a:t>Quickserve</a:t>
            </a:r>
            <a:r>
              <a:rPr kumimoji="0" lang="en-US" sz="2800" b="1" i="0" u="none" strike="noStrike" kern="1200" cap="none" spc="0" normalizeH="0" baseline="0" noProof="0" dirty="0">
                <a:ln>
                  <a:noFill/>
                </a:ln>
                <a:solidFill>
                  <a:srgbClr val="000000"/>
                </a:solidFill>
                <a:effectLst/>
                <a:uLnTx/>
                <a:uFillTx/>
                <a:latin typeface="Aptos"/>
                <a:ea typeface="+mn-ea"/>
                <a:cs typeface="+mn-cs"/>
              </a:rPr>
              <a:t> Online </a:t>
            </a:r>
            <a:r>
              <a:rPr lang="en-US" sz="1200" b="1" dirty="0">
                <a:solidFill>
                  <a:srgbClr val="FF0000"/>
                </a:solidFill>
                <a:latin typeface="Aptos"/>
              </a:rPr>
              <a:t>(Rob Craig)</a:t>
            </a:r>
            <a:endParaRPr kumimoji="0" lang="en-US" sz="2800" b="1" i="0" u="none" strike="noStrike" kern="1200" cap="none" spc="0" normalizeH="0" baseline="0" noProof="0" dirty="0">
              <a:ln>
                <a:noFill/>
              </a:ln>
              <a:solidFill>
                <a:srgbClr val="000000"/>
              </a:solidFill>
              <a:effectLst/>
              <a:uLnTx/>
              <a:uFillTx/>
              <a:latin typeface="Aptos"/>
              <a:ea typeface="+mn-ea"/>
              <a:cs typeface="+mn-cs"/>
            </a:endParaRPr>
          </a:p>
          <a:p>
            <a:pPr marR="0" lvl="0" algn="l" defTabSz="914400" rtl="0" eaLnBrk="1" fontAlgn="auto" latinLnBrk="0" hangingPunct="1">
              <a:lnSpc>
                <a:spcPct val="100000"/>
              </a:lnSpc>
              <a:spcBef>
                <a:spcPts val="0"/>
              </a:spcBef>
              <a:spcAft>
                <a:spcPts val="600"/>
              </a:spcAft>
              <a:buClrTx/>
              <a:buSzTx/>
              <a:tabLst/>
              <a:defRPr/>
            </a:pPr>
            <a:r>
              <a:rPr kumimoji="0" lang="en-US" sz="2800" b="1" i="0" u="none" strike="noStrike" kern="1200" cap="none" spc="0" normalizeH="0" baseline="0" noProof="0" dirty="0">
                <a:ln>
                  <a:noFill/>
                </a:ln>
                <a:solidFill>
                  <a:srgbClr val="000000"/>
                </a:solidFill>
                <a:effectLst/>
                <a:uLnTx/>
                <a:uFillTx/>
                <a:latin typeface="Aptos"/>
                <a:ea typeface="+mn-ea"/>
                <a:cs typeface="+mn-cs"/>
              </a:rPr>
              <a:t>	</a:t>
            </a:r>
            <a:r>
              <a:rPr kumimoji="0" lang="en-US" sz="1600" b="1" i="0" u="none" strike="noStrike" kern="1200" cap="none" spc="0" normalizeH="0" baseline="0" noProof="0" dirty="0">
                <a:ln>
                  <a:noFill/>
                </a:ln>
                <a:solidFill>
                  <a:srgbClr val="FF0000"/>
                </a:solidFill>
                <a:effectLst/>
                <a:uLnTx/>
                <a:uFillTx/>
                <a:latin typeface="Aptos"/>
                <a:ea typeface="+mn-ea"/>
                <a:cs typeface="+mn-cs"/>
              </a:rPr>
              <a:t>Live Demo</a:t>
            </a:r>
            <a:endParaRPr lang="en-US" sz="2800" b="1" dirty="0">
              <a:solidFill>
                <a:srgbClr val="000000"/>
              </a:solidFill>
              <a:latin typeface="Aptos"/>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rgbClr val="000000"/>
                </a:solidFill>
                <a:effectLst/>
                <a:uLnTx/>
                <a:uFillTx/>
                <a:latin typeface="Aptos"/>
                <a:ea typeface="+mn-ea"/>
                <a:cs typeface="+mn-cs"/>
              </a:rPr>
              <a:t>Diagnostic Service Tool (INSITE / </a:t>
            </a:r>
            <a:r>
              <a:rPr kumimoji="0" lang="en-US" sz="2800" b="1" i="0" u="none" strike="noStrike" kern="1200" cap="none" spc="0" normalizeH="0" baseline="0" noProof="0" dirty="0" err="1">
                <a:ln>
                  <a:noFill/>
                </a:ln>
                <a:solidFill>
                  <a:srgbClr val="000000"/>
                </a:solidFill>
                <a:effectLst/>
                <a:uLnTx/>
                <a:uFillTx/>
                <a:latin typeface="Aptos"/>
                <a:ea typeface="+mn-ea"/>
                <a:cs typeface="+mn-cs"/>
              </a:rPr>
              <a:t>Guidanz</a:t>
            </a:r>
            <a:r>
              <a:rPr kumimoji="0" lang="en-US" sz="2800" b="1" i="0" u="none" strike="noStrike" kern="1200" cap="none" spc="0" normalizeH="0" baseline="0" noProof="0" dirty="0">
                <a:ln>
                  <a:noFill/>
                </a:ln>
                <a:solidFill>
                  <a:srgbClr val="000000"/>
                </a:solidFill>
                <a:effectLst/>
                <a:uLnTx/>
                <a:uFillTx/>
                <a:latin typeface="Aptos"/>
                <a:ea typeface="+mn-ea"/>
                <a:cs typeface="+mn-cs"/>
              </a:rPr>
              <a:t> Diagnostic Toolkit) </a:t>
            </a:r>
            <a:r>
              <a:rPr kumimoji="0" lang="en-US" sz="1200" b="1" i="0" u="none" strike="noStrike" kern="1200" cap="none" spc="0" normalizeH="0" baseline="0" noProof="0" dirty="0">
                <a:ln>
                  <a:noFill/>
                </a:ln>
                <a:solidFill>
                  <a:srgbClr val="FF0000"/>
                </a:solidFill>
                <a:effectLst/>
                <a:uLnTx/>
                <a:uFillTx/>
                <a:latin typeface="Aptos"/>
                <a:ea typeface="+mn-ea"/>
                <a:cs typeface="+mn-cs"/>
              </a:rPr>
              <a:t>(Rob Craig)</a:t>
            </a:r>
            <a:endParaRPr kumimoji="0" lang="en-US" sz="2800" b="0" i="0" u="none" strike="noStrike" kern="1200" cap="none" spc="0" normalizeH="0" baseline="0" noProof="0" dirty="0">
              <a:ln>
                <a:noFill/>
              </a:ln>
              <a:solidFill>
                <a:srgbClr val="000000"/>
              </a:solidFill>
              <a:effectLst/>
              <a:uLnTx/>
              <a:uFillTx/>
              <a:latin typeface="Aptos"/>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6" name="Text Placeholder 5">
            <a:extLst>
              <a:ext uri="{FF2B5EF4-FFF2-40B4-BE49-F238E27FC236}">
                <a16:creationId xmlns:a16="http://schemas.microsoft.com/office/drawing/2014/main" id="{EEA462F9-5834-B5EA-94DA-F48B62B2E17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48986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B951A77-96E9-AB8F-A2F2-AE5825808714}"/>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49D60F90-B511-9DD6-C2F9-C17F54871AB8}"/>
              </a:ext>
            </a:extLst>
          </p:cNvPr>
          <p:cNvSpPr/>
          <p:nvPr/>
        </p:nvSpPr>
        <p:spPr>
          <a:xfrm>
            <a:off x="1402080" y="1247695"/>
            <a:ext cx="10002779"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grpSp>
        <p:nvGrpSpPr>
          <p:cNvPr id="17" name="Agrupar 16">
            <a:extLst>
              <a:ext uri="{FF2B5EF4-FFF2-40B4-BE49-F238E27FC236}">
                <a16:creationId xmlns:a16="http://schemas.microsoft.com/office/drawing/2014/main" id="{3D853689-EDEF-E35F-8352-73634B19F2D6}"/>
              </a:ext>
            </a:extLst>
          </p:cNvPr>
          <p:cNvGrpSpPr/>
          <p:nvPr/>
        </p:nvGrpSpPr>
        <p:grpSpPr>
          <a:xfrm>
            <a:off x="2188557" y="1480427"/>
            <a:ext cx="8705661" cy="4144197"/>
            <a:chOff x="849590" y="942176"/>
            <a:chExt cx="9886040" cy="4706099"/>
          </a:xfrm>
        </p:grpSpPr>
        <p:sp>
          <p:nvSpPr>
            <p:cNvPr id="13" name="Retângulo Arredondado 12">
              <a:extLst>
                <a:ext uri="{FF2B5EF4-FFF2-40B4-BE49-F238E27FC236}">
                  <a16:creationId xmlns:a16="http://schemas.microsoft.com/office/drawing/2014/main" id="{C8522F18-CE42-DC02-9BA6-9E57DF068B47}"/>
                </a:ext>
              </a:extLst>
            </p:cNvPr>
            <p:cNvSpPr/>
            <p:nvPr/>
          </p:nvSpPr>
          <p:spPr>
            <a:xfrm>
              <a:off x="849590" y="975559"/>
              <a:ext cx="4337313" cy="4672716"/>
            </a:xfrm>
            <a:prstGeom prst="roundRect">
              <a:avLst>
                <a:gd name="adj" fmla="val 4917"/>
              </a:avLst>
            </a:prstGeom>
            <a:solidFill>
              <a:srgbClr val="F4F4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14" name="Picture 33">
              <a:extLst>
                <a:ext uri="{FF2B5EF4-FFF2-40B4-BE49-F238E27FC236}">
                  <a16:creationId xmlns:a16="http://schemas.microsoft.com/office/drawing/2014/main" id="{FBEB02EA-DFD4-8F84-511D-E88DAE4C317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6397" t="20398" r="2425" b="4854"/>
            <a:stretch>
              <a:fillRect/>
            </a:stretch>
          </p:blipFill>
          <p:spPr>
            <a:xfrm>
              <a:off x="1357966" y="1195774"/>
              <a:ext cx="9377664" cy="3758258"/>
            </a:xfrm>
            <a:prstGeom prst="rect">
              <a:avLst/>
            </a:prstGeom>
          </p:spPr>
        </p:pic>
        <p:sp>
          <p:nvSpPr>
            <p:cNvPr id="15" name="Retângulo com Único Canto Arredondado 14">
              <a:extLst>
                <a:ext uri="{FF2B5EF4-FFF2-40B4-BE49-F238E27FC236}">
                  <a16:creationId xmlns:a16="http://schemas.microsoft.com/office/drawing/2014/main" id="{CD9E0F27-1D5F-6DE1-C5C1-A13E0B2DF86C}"/>
                </a:ext>
              </a:extLst>
            </p:cNvPr>
            <p:cNvSpPr/>
            <p:nvPr/>
          </p:nvSpPr>
          <p:spPr>
            <a:xfrm>
              <a:off x="9305158" y="942176"/>
              <a:ext cx="1429525" cy="1079653"/>
            </a:xfrm>
            <a:prstGeom prst="round1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6" name="Retângulo 15">
              <a:extLst>
                <a:ext uri="{FF2B5EF4-FFF2-40B4-BE49-F238E27FC236}">
                  <a16:creationId xmlns:a16="http://schemas.microsoft.com/office/drawing/2014/main" id="{D50C2324-0508-1C3A-81B6-62C5523268F0}"/>
                </a:ext>
              </a:extLst>
            </p:cNvPr>
            <p:cNvSpPr/>
            <p:nvPr/>
          </p:nvSpPr>
          <p:spPr>
            <a:xfrm>
              <a:off x="1196917" y="4439798"/>
              <a:ext cx="3989983" cy="1010387"/>
            </a:xfrm>
            <a:prstGeom prst="rect">
              <a:avLst/>
            </a:prstGeom>
            <a:solidFill>
              <a:srgbClr val="F4F4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grpSp>
      <p:grpSp>
        <p:nvGrpSpPr>
          <p:cNvPr id="3" name="Agrupar 2">
            <a:extLst>
              <a:ext uri="{FF2B5EF4-FFF2-40B4-BE49-F238E27FC236}">
                <a16:creationId xmlns:a16="http://schemas.microsoft.com/office/drawing/2014/main" id="{05FDD043-C351-9297-8EFE-3F504D151622}"/>
              </a:ext>
            </a:extLst>
          </p:cNvPr>
          <p:cNvGrpSpPr/>
          <p:nvPr/>
        </p:nvGrpSpPr>
        <p:grpSpPr>
          <a:xfrm>
            <a:off x="2077159" y="5198096"/>
            <a:ext cx="8896358" cy="463498"/>
            <a:chOff x="2403256" y="5732265"/>
            <a:chExt cx="8582992" cy="453893"/>
          </a:xfrm>
        </p:grpSpPr>
        <p:sp>
          <p:nvSpPr>
            <p:cNvPr id="8" name="Rectangle 34">
              <a:extLst>
                <a:ext uri="{FF2B5EF4-FFF2-40B4-BE49-F238E27FC236}">
                  <a16:creationId xmlns:a16="http://schemas.microsoft.com/office/drawing/2014/main" id="{F79DF6F0-DD2D-9DD0-4C4D-D4EF017EED2F}"/>
                </a:ext>
              </a:extLst>
            </p:cNvPr>
            <p:cNvSpPr/>
            <p:nvPr/>
          </p:nvSpPr>
          <p:spPr>
            <a:xfrm>
              <a:off x="2403256" y="5732266"/>
              <a:ext cx="1379593" cy="442050"/>
            </a:xfrm>
            <a:prstGeom prst="roundRect">
              <a:avLst>
                <a:gd name="adj" fmla="val 50000"/>
              </a:avLst>
            </a:prstGeom>
            <a:solidFill>
              <a:schemeClr val="accent1"/>
            </a:solidFill>
            <a:ln>
              <a:solidFill>
                <a:srgbClr val="DB322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ptos" panose="020B0004020202020204" pitchFamily="34" charset="0"/>
                  <a:ea typeface="+mn-ea"/>
                  <a:cs typeface="Arial" panose="020B0604020202020204" pitchFamily="34" charset="0"/>
                </a:rPr>
                <a:t>Eng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ptos" panose="020B0004020202020204" pitchFamily="34" charset="0"/>
                  <a:ea typeface="+mn-ea"/>
                  <a:cs typeface="Arial" panose="020B0604020202020204" pitchFamily="34" charset="0"/>
                </a:rPr>
                <a:t>Walk-around</a:t>
              </a:r>
            </a:p>
          </p:txBody>
        </p:sp>
        <p:sp>
          <p:nvSpPr>
            <p:cNvPr id="11" name="Rectangle 3">
              <a:extLst>
                <a:ext uri="{FF2B5EF4-FFF2-40B4-BE49-F238E27FC236}">
                  <a16:creationId xmlns:a16="http://schemas.microsoft.com/office/drawing/2014/main" id="{C9D213B1-FF28-5579-3A80-2B9A4F1E57C6}"/>
                </a:ext>
              </a:extLst>
            </p:cNvPr>
            <p:cNvSpPr/>
            <p:nvPr/>
          </p:nvSpPr>
          <p:spPr>
            <a:xfrm>
              <a:off x="3853013" y="5732265"/>
              <a:ext cx="1379593" cy="442050"/>
            </a:xfrm>
            <a:prstGeom prst="roundRect">
              <a:avLst>
                <a:gd name="adj" fmla="val 50000"/>
              </a:avLst>
            </a:prstGeom>
            <a:solidFill>
              <a:schemeClr val="accent1"/>
            </a:solidFill>
            <a:ln>
              <a:solidFill>
                <a:srgbClr val="DB322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ptos" panose="020B0004020202020204" pitchFamily="34" charset="0"/>
                  <a:ea typeface="+mn-ea"/>
                  <a:cs typeface="Arial" panose="020B0604020202020204" pitchFamily="34" charset="0"/>
                </a:rPr>
                <a:t>Connected Solutions</a:t>
              </a:r>
            </a:p>
          </p:txBody>
        </p:sp>
        <p:sp>
          <p:nvSpPr>
            <p:cNvPr id="12" name="Rectangle 5">
              <a:extLst>
                <a:ext uri="{FF2B5EF4-FFF2-40B4-BE49-F238E27FC236}">
                  <a16:creationId xmlns:a16="http://schemas.microsoft.com/office/drawing/2014/main" id="{C64B01CB-69CE-5A90-EB49-AADFC414A50B}"/>
                </a:ext>
              </a:extLst>
            </p:cNvPr>
            <p:cNvSpPr/>
            <p:nvPr/>
          </p:nvSpPr>
          <p:spPr>
            <a:xfrm>
              <a:off x="5303596" y="5732265"/>
              <a:ext cx="1379593" cy="442050"/>
            </a:xfrm>
            <a:prstGeom prst="roundRect">
              <a:avLst>
                <a:gd name="adj" fmla="val 50000"/>
              </a:avLst>
            </a:prstGeom>
            <a:solidFill>
              <a:schemeClr val="accent1"/>
            </a:solidFill>
            <a:ln>
              <a:solidFill>
                <a:srgbClr val="DB322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ptos" panose="020B0004020202020204" pitchFamily="34" charset="0"/>
                  <a:ea typeface="+mn-ea"/>
                  <a:cs typeface="Arial" panose="020B0604020202020204" pitchFamily="34" charset="0"/>
                </a:rPr>
                <a:t>Extended Features (EX)</a:t>
              </a:r>
            </a:p>
          </p:txBody>
        </p:sp>
        <p:sp>
          <p:nvSpPr>
            <p:cNvPr id="18" name="Rectangle 1">
              <a:extLst>
                <a:ext uri="{FF2B5EF4-FFF2-40B4-BE49-F238E27FC236}">
                  <a16:creationId xmlns:a16="http://schemas.microsoft.com/office/drawing/2014/main" id="{9938CF6D-50D8-A53E-93D0-4CF3ABA8E7AC}"/>
                </a:ext>
              </a:extLst>
            </p:cNvPr>
            <p:cNvSpPr/>
            <p:nvPr/>
          </p:nvSpPr>
          <p:spPr>
            <a:xfrm>
              <a:off x="6733209" y="5744108"/>
              <a:ext cx="1379593" cy="442050"/>
            </a:xfrm>
            <a:prstGeom prst="roundRect">
              <a:avLst>
                <a:gd name="adj" fmla="val 50000"/>
              </a:avLst>
            </a:prstGeom>
            <a:solidFill>
              <a:schemeClr val="accent1"/>
            </a:solidFill>
            <a:ln>
              <a:solidFill>
                <a:srgbClr val="DB322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ptos" panose="020B0004020202020204" pitchFamily="34" charset="0"/>
                  <a:ea typeface="+mn-ea"/>
                  <a:cs typeface="Arial" panose="020B0604020202020204" pitchFamily="34" charset="0"/>
                </a:rPr>
                <a:t>Torque Curves</a:t>
              </a:r>
            </a:p>
          </p:txBody>
        </p:sp>
        <p:sp>
          <p:nvSpPr>
            <p:cNvPr id="19" name="Rectangle 47">
              <a:extLst>
                <a:ext uri="{FF2B5EF4-FFF2-40B4-BE49-F238E27FC236}">
                  <a16:creationId xmlns:a16="http://schemas.microsoft.com/office/drawing/2014/main" id="{89469A23-E8F3-7C64-9BF2-D26B49D465FD}"/>
                </a:ext>
              </a:extLst>
            </p:cNvPr>
            <p:cNvSpPr/>
            <p:nvPr/>
          </p:nvSpPr>
          <p:spPr>
            <a:xfrm>
              <a:off x="8156071" y="5744108"/>
              <a:ext cx="1379593" cy="442050"/>
            </a:xfrm>
            <a:prstGeom prst="roundRect">
              <a:avLst>
                <a:gd name="adj" fmla="val 50000"/>
              </a:avLst>
            </a:prstGeom>
            <a:solidFill>
              <a:schemeClr val="accent1"/>
            </a:solidFill>
            <a:ln>
              <a:solidFill>
                <a:srgbClr val="DB322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ptos" panose="020B0004020202020204" pitchFamily="34" charset="0"/>
                  <a:ea typeface="+mn-ea"/>
                  <a:cs typeface="Arial" panose="020B0604020202020204" pitchFamily="34" charset="0"/>
                </a:rPr>
                <a:t>Aftertreatment</a:t>
              </a:r>
            </a:p>
          </p:txBody>
        </p:sp>
        <p:sp>
          <p:nvSpPr>
            <p:cNvPr id="25" name="Rectangle 48">
              <a:extLst>
                <a:ext uri="{FF2B5EF4-FFF2-40B4-BE49-F238E27FC236}">
                  <a16:creationId xmlns:a16="http://schemas.microsoft.com/office/drawing/2014/main" id="{ACD57A35-CE01-BBB2-C801-3C22B108D37A}"/>
                </a:ext>
              </a:extLst>
            </p:cNvPr>
            <p:cNvSpPr/>
            <p:nvPr/>
          </p:nvSpPr>
          <p:spPr>
            <a:xfrm>
              <a:off x="9606655" y="5744108"/>
              <a:ext cx="1379593" cy="442050"/>
            </a:xfrm>
            <a:prstGeom prst="roundRect">
              <a:avLst>
                <a:gd name="adj" fmla="val 50000"/>
              </a:avLst>
            </a:prstGeom>
            <a:solidFill>
              <a:schemeClr val="accent1"/>
            </a:solidFill>
            <a:ln>
              <a:solidFill>
                <a:srgbClr val="DB322A"/>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ptos" panose="020B0004020202020204" pitchFamily="34" charset="0"/>
                  <a:ea typeface="+mn-ea"/>
                  <a:cs typeface="Arial" panose="020B0604020202020204" pitchFamily="34" charset="0"/>
                </a:rPr>
                <a:t>Cummins HELM™</a:t>
              </a:r>
            </a:p>
          </p:txBody>
        </p:sp>
      </p:grpSp>
      <p:sp>
        <p:nvSpPr>
          <p:cNvPr id="55" name="Espaço Reservado para Conteúdo 54">
            <a:extLst>
              <a:ext uri="{FF2B5EF4-FFF2-40B4-BE49-F238E27FC236}">
                <a16:creationId xmlns:a16="http://schemas.microsoft.com/office/drawing/2014/main" id="{1B524520-7A63-6BE8-7E45-E794652B69BB}"/>
              </a:ext>
            </a:extLst>
          </p:cNvPr>
          <p:cNvSpPr>
            <a:spLocks noGrp="1"/>
          </p:cNvSpPr>
          <p:nvPr>
            <p:ph idx="1"/>
          </p:nvPr>
        </p:nvSpPr>
        <p:spPr/>
        <p:txBody>
          <a:bodyPr/>
          <a:lstStyle/>
          <a:p>
            <a:r>
              <a:rPr lang="en-US" sz="2400" b="1" noProof="0">
                <a:solidFill>
                  <a:srgbClr val="D9281C"/>
                </a:solidFill>
                <a:latin typeface="Aptos" panose="020B0004020202020204" pitchFamily="34" charset="0"/>
              </a:rPr>
              <a:t>Integrated Power</a:t>
            </a:r>
          </a:p>
        </p:txBody>
      </p:sp>
      <p:sp>
        <p:nvSpPr>
          <p:cNvPr id="2" name="Rounded Rectangle 56">
            <a:extLst>
              <a:ext uri="{FF2B5EF4-FFF2-40B4-BE49-F238E27FC236}">
                <a16:creationId xmlns:a16="http://schemas.microsoft.com/office/drawing/2014/main" id="{0E41A79B-95D1-DBAC-7DA7-90C96C7FC578}"/>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5" name="Conector Reto 31">
            <a:extLst>
              <a:ext uri="{FF2B5EF4-FFF2-40B4-BE49-F238E27FC236}">
                <a16:creationId xmlns:a16="http://schemas.microsoft.com/office/drawing/2014/main" id="{5AC95A0C-17BD-0EB0-5522-78A33BB030B0}"/>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75">
            <a:extLst>
              <a:ext uri="{FF2B5EF4-FFF2-40B4-BE49-F238E27FC236}">
                <a16:creationId xmlns:a16="http://schemas.microsoft.com/office/drawing/2014/main" id="{6F667919-E5A6-508E-8993-ED995A10E505}"/>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31">
            <a:extLst>
              <a:ext uri="{FF2B5EF4-FFF2-40B4-BE49-F238E27FC236}">
                <a16:creationId xmlns:a16="http://schemas.microsoft.com/office/drawing/2014/main" id="{30C8CE79-EF8D-43AE-C116-4892B5068713}"/>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Conector Reto 31">
            <a:extLst>
              <a:ext uri="{FF2B5EF4-FFF2-40B4-BE49-F238E27FC236}">
                <a16:creationId xmlns:a16="http://schemas.microsoft.com/office/drawing/2014/main" id="{C6D2DCCF-21C0-2133-5A7E-94504EE2513A}"/>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8" name="Conector Reto 78">
            <a:extLst>
              <a:ext uri="{FF2B5EF4-FFF2-40B4-BE49-F238E27FC236}">
                <a16:creationId xmlns:a16="http://schemas.microsoft.com/office/drawing/2014/main" id="{B4F96395-EAEE-A192-F914-AC238BF89CF4}"/>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9" name="Conector Reto 31">
            <a:extLst>
              <a:ext uri="{FF2B5EF4-FFF2-40B4-BE49-F238E27FC236}">
                <a16:creationId xmlns:a16="http://schemas.microsoft.com/office/drawing/2014/main" id="{4FDD3672-0801-F666-FAD9-79C2706DD753}"/>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0" name="CaixaDeTexto 80">
            <a:extLst>
              <a:ext uri="{FF2B5EF4-FFF2-40B4-BE49-F238E27FC236}">
                <a16:creationId xmlns:a16="http://schemas.microsoft.com/office/drawing/2014/main" id="{1C17184D-2CF3-1E4B-84A9-F0221D9D50B4}"/>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31" name="CaixaDeTexto 81">
            <a:extLst>
              <a:ext uri="{FF2B5EF4-FFF2-40B4-BE49-F238E27FC236}">
                <a16:creationId xmlns:a16="http://schemas.microsoft.com/office/drawing/2014/main" id="{A81FB398-9B56-A7CC-E0D7-45739BA86F46}"/>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32" name="CaixaDeTexto 82">
            <a:extLst>
              <a:ext uri="{FF2B5EF4-FFF2-40B4-BE49-F238E27FC236}">
                <a16:creationId xmlns:a16="http://schemas.microsoft.com/office/drawing/2014/main" id="{FB57C879-F209-2F33-EFDC-193A07E93382}"/>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33" name="CaixaDeTexto 83">
            <a:extLst>
              <a:ext uri="{FF2B5EF4-FFF2-40B4-BE49-F238E27FC236}">
                <a16:creationId xmlns:a16="http://schemas.microsoft.com/office/drawing/2014/main" id="{4321364D-5249-7723-CAD0-2B639B598AAA}"/>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34" name="CaixaDeTexto 84">
            <a:extLst>
              <a:ext uri="{FF2B5EF4-FFF2-40B4-BE49-F238E27FC236}">
                <a16:creationId xmlns:a16="http://schemas.microsoft.com/office/drawing/2014/main" id="{55BC6365-AB2A-C34A-F142-F3001725A913}"/>
              </a:ext>
            </a:extLst>
          </p:cNvPr>
          <p:cNvSpPr txBox="1"/>
          <p:nvPr/>
        </p:nvSpPr>
        <p:spPr>
          <a:xfrm>
            <a:off x="8515425" y="6294672"/>
            <a:ext cx="9217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35" name="CaixaDeTexto 85">
            <a:extLst>
              <a:ext uri="{FF2B5EF4-FFF2-40B4-BE49-F238E27FC236}">
                <a16:creationId xmlns:a16="http://schemas.microsoft.com/office/drawing/2014/main" id="{34C7B2C5-B6FE-7199-2E7A-CB01AD9E00C9}"/>
              </a:ext>
            </a:extLst>
          </p:cNvPr>
          <p:cNvSpPr txBox="1"/>
          <p:nvPr/>
        </p:nvSpPr>
        <p:spPr>
          <a:xfrm>
            <a:off x="9437158" y="6294672"/>
            <a:ext cx="79934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43" name="CaixaDeTexto 86">
            <a:extLst>
              <a:ext uri="{FF2B5EF4-FFF2-40B4-BE49-F238E27FC236}">
                <a16:creationId xmlns:a16="http://schemas.microsoft.com/office/drawing/2014/main" id="{C80B03B8-9EEB-DF24-9427-A0000B5A6F4F}"/>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44" name="CaixaDeTexto 87">
            <a:extLst>
              <a:ext uri="{FF2B5EF4-FFF2-40B4-BE49-F238E27FC236}">
                <a16:creationId xmlns:a16="http://schemas.microsoft.com/office/drawing/2014/main" id="{9F37D900-8C9A-E47F-7DA7-F7A257D8C607}"/>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owertrain</a:t>
            </a:r>
          </a:p>
        </p:txBody>
      </p:sp>
      <p:cxnSp>
        <p:nvCxnSpPr>
          <p:cNvPr id="45" name="Conector Reto 31">
            <a:extLst>
              <a:ext uri="{FF2B5EF4-FFF2-40B4-BE49-F238E27FC236}">
                <a16:creationId xmlns:a16="http://schemas.microsoft.com/office/drawing/2014/main" id="{7E60098F-76E9-7528-054A-D6AC57AAACFD}"/>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6" name="Conector Reto 31">
            <a:extLst>
              <a:ext uri="{FF2B5EF4-FFF2-40B4-BE49-F238E27FC236}">
                <a16:creationId xmlns:a16="http://schemas.microsoft.com/office/drawing/2014/main" id="{5F340CEA-30A1-19FE-CD72-9443F2186712}"/>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7" name="Conector Reto 17">
            <a:extLst>
              <a:ext uri="{FF2B5EF4-FFF2-40B4-BE49-F238E27FC236}">
                <a16:creationId xmlns:a16="http://schemas.microsoft.com/office/drawing/2014/main" id="{A57C54A2-D790-B1E8-2ED1-43B803CC5B68}"/>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48" name="Rounded Rectangle 141">
            <a:extLst>
              <a:ext uri="{FF2B5EF4-FFF2-40B4-BE49-F238E27FC236}">
                <a16:creationId xmlns:a16="http://schemas.microsoft.com/office/drawing/2014/main" id="{0FC1026C-D575-53B4-3AEE-A15169891EC3}"/>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49" name="CaixaDeTexto 89">
            <a:extLst>
              <a:ext uri="{FF2B5EF4-FFF2-40B4-BE49-F238E27FC236}">
                <a16:creationId xmlns:a16="http://schemas.microsoft.com/office/drawing/2014/main" id="{198A738D-80A1-AF9D-53EB-7F8E9BDF8E07}"/>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50" name="Retângulo Arredondado 47">
            <a:extLst>
              <a:ext uri="{FF2B5EF4-FFF2-40B4-BE49-F238E27FC236}">
                <a16:creationId xmlns:a16="http://schemas.microsoft.com/office/drawing/2014/main" id="{86CC0E4C-A8F4-C7CF-F7B4-C8004102F658}"/>
              </a:ext>
            </a:extLst>
          </p:cNvPr>
          <p:cNvSpPr/>
          <p:nvPr/>
        </p:nvSpPr>
        <p:spPr>
          <a:xfrm>
            <a:off x="10456880"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52" name="TextBox 60">
            <a:extLst>
              <a:ext uri="{FF2B5EF4-FFF2-40B4-BE49-F238E27FC236}">
                <a16:creationId xmlns:a16="http://schemas.microsoft.com/office/drawing/2014/main" id="{9533A0A5-5240-2FB8-5675-2523A890F1B1}"/>
              </a:ext>
            </a:extLst>
          </p:cNvPr>
          <p:cNvSpPr txBox="1"/>
          <p:nvPr/>
        </p:nvSpPr>
        <p:spPr>
          <a:xfrm>
            <a:off x="10397740"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1/5</a:t>
            </a:r>
          </a:p>
        </p:txBody>
      </p:sp>
      <p:pic>
        <p:nvPicPr>
          <p:cNvPr id="56" name="Gráfico 49" descr="Acento Circunflexo à Direita com preenchimento sólido">
            <a:extLst>
              <a:ext uri="{FF2B5EF4-FFF2-40B4-BE49-F238E27FC236}">
                <a16:creationId xmlns:a16="http://schemas.microsoft.com/office/drawing/2014/main" id="{4240728F-ACED-BA36-745E-85EE27F053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36231" y="6546689"/>
            <a:ext cx="156462" cy="156462"/>
          </a:xfrm>
          <a:prstGeom prst="rect">
            <a:avLst/>
          </a:prstGeom>
        </p:spPr>
      </p:pic>
    </p:spTree>
    <p:extLst>
      <p:ext uri="{BB962C8B-B14F-4D97-AF65-F5344CB8AC3E}">
        <p14:creationId xmlns:p14="http://schemas.microsoft.com/office/powerpoint/2010/main" val="31129587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85B69-7D3A-2C54-0A76-A47ECCF0F7C6}"/>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6C8B02E7-C572-2020-E70C-3E438FB7C67B}"/>
              </a:ext>
            </a:extLst>
          </p:cNvPr>
          <p:cNvSpPr/>
          <p:nvPr/>
        </p:nvSpPr>
        <p:spPr>
          <a:xfrm>
            <a:off x="1365504" y="1247695"/>
            <a:ext cx="10039355"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graphicFrame>
        <p:nvGraphicFramePr>
          <p:cNvPr id="2" name="Chart 29">
            <a:extLst>
              <a:ext uri="{FF2B5EF4-FFF2-40B4-BE49-F238E27FC236}">
                <a16:creationId xmlns:a16="http://schemas.microsoft.com/office/drawing/2014/main" id="{E530EC7C-FBF2-EBE4-0EAA-E71AC0E3C466}"/>
              </a:ext>
            </a:extLst>
          </p:cNvPr>
          <p:cNvGraphicFramePr/>
          <p:nvPr/>
        </p:nvGraphicFramePr>
        <p:xfrm>
          <a:off x="2344114" y="2122621"/>
          <a:ext cx="7797827" cy="3533711"/>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37">
            <a:extLst>
              <a:ext uri="{FF2B5EF4-FFF2-40B4-BE49-F238E27FC236}">
                <a16:creationId xmlns:a16="http://schemas.microsoft.com/office/drawing/2014/main" id="{57A28762-161F-8014-0427-F66986C4501A}"/>
              </a:ext>
            </a:extLst>
          </p:cNvPr>
          <p:cNvSpPr txBox="1"/>
          <p:nvPr/>
        </p:nvSpPr>
        <p:spPr>
          <a:xfrm>
            <a:off x="4086607" y="1685739"/>
            <a:ext cx="4941127" cy="43088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EPA 2024 X12 500/17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EPA 2027 X10 HHD 450/1650</a:t>
            </a:r>
          </a:p>
        </p:txBody>
      </p:sp>
      <p:sp>
        <p:nvSpPr>
          <p:cNvPr id="47" name="Espaço Reservado para Conteúdo 46">
            <a:extLst>
              <a:ext uri="{FF2B5EF4-FFF2-40B4-BE49-F238E27FC236}">
                <a16:creationId xmlns:a16="http://schemas.microsoft.com/office/drawing/2014/main" id="{E6E85312-6082-97D2-D445-669ABC574585}"/>
              </a:ext>
            </a:extLst>
          </p:cNvPr>
          <p:cNvSpPr>
            <a:spLocks noGrp="1"/>
          </p:cNvSpPr>
          <p:nvPr>
            <p:ph idx="1"/>
          </p:nvPr>
        </p:nvSpPr>
        <p:spPr/>
        <p:txBody>
          <a:bodyPr/>
          <a:lstStyle/>
          <a:p>
            <a:r>
              <a:rPr kumimoji="0" lang="en-US" sz="2400" b="1" u="none" strike="noStrike" kern="1200" cap="none" spc="0" normalizeH="0" baseline="0" noProof="0">
                <a:ln>
                  <a:noFill/>
                </a:ln>
                <a:solidFill>
                  <a:schemeClr val="accent1"/>
                </a:solidFill>
                <a:effectLst/>
                <a:uLnTx/>
                <a:uFillTx/>
                <a:latin typeface="Aptos" panose="020B0004020202020204" pitchFamily="34" charset="0"/>
              </a:rPr>
              <a:t>Torque Curves</a:t>
            </a:r>
          </a:p>
        </p:txBody>
      </p:sp>
      <p:sp>
        <p:nvSpPr>
          <p:cNvPr id="4" name="Rounded Rectangle 56">
            <a:extLst>
              <a:ext uri="{FF2B5EF4-FFF2-40B4-BE49-F238E27FC236}">
                <a16:creationId xmlns:a16="http://schemas.microsoft.com/office/drawing/2014/main" id="{D9A59CE1-45D6-1DA7-09FF-A291A46E5636}"/>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8" name="Conector Reto 31">
            <a:extLst>
              <a:ext uri="{FF2B5EF4-FFF2-40B4-BE49-F238E27FC236}">
                <a16:creationId xmlns:a16="http://schemas.microsoft.com/office/drawing/2014/main" id="{D446A535-2801-218C-B064-4DA14BDFFA33}"/>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 name="Conector Reto 75">
            <a:extLst>
              <a:ext uri="{FF2B5EF4-FFF2-40B4-BE49-F238E27FC236}">
                <a16:creationId xmlns:a16="http://schemas.microsoft.com/office/drawing/2014/main" id="{BB631421-A7EA-B8F6-1B02-2D913252E41A}"/>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3" name="Conector Reto 31">
            <a:extLst>
              <a:ext uri="{FF2B5EF4-FFF2-40B4-BE49-F238E27FC236}">
                <a16:creationId xmlns:a16="http://schemas.microsoft.com/office/drawing/2014/main" id="{06B14048-1BA0-A005-08AC-90F3356E1282}"/>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Conector Reto 31">
            <a:extLst>
              <a:ext uri="{FF2B5EF4-FFF2-40B4-BE49-F238E27FC236}">
                <a16:creationId xmlns:a16="http://schemas.microsoft.com/office/drawing/2014/main" id="{574CBE49-48F7-EABF-BAF9-2E564C5AAEEC}"/>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5" name="Conector Reto 78">
            <a:extLst>
              <a:ext uri="{FF2B5EF4-FFF2-40B4-BE49-F238E27FC236}">
                <a16:creationId xmlns:a16="http://schemas.microsoft.com/office/drawing/2014/main" id="{6DEFFF95-08CA-0A9E-F8ED-098C6299346E}"/>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 name="Conector Reto 31">
            <a:extLst>
              <a:ext uri="{FF2B5EF4-FFF2-40B4-BE49-F238E27FC236}">
                <a16:creationId xmlns:a16="http://schemas.microsoft.com/office/drawing/2014/main" id="{D3B3AB81-049E-5F68-F3E7-E36CB684883E}"/>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7" name="CaixaDeTexto 80">
            <a:extLst>
              <a:ext uri="{FF2B5EF4-FFF2-40B4-BE49-F238E27FC236}">
                <a16:creationId xmlns:a16="http://schemas.microsoft.com/office/drawing/2014/main" id="{5ABF7ADA-62DC-296F-550C-E89AA48ABD55}"/>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18" name="CaixaDeTexto 81">
            <a:extLst>
              <a:ext uri="{FF2B5EF4-FFF2-40B4-BE49-F238E27FC236}">
                <a16:creationId xmlns:a16="http://schemas.microsoft.com/office/drawing/2014/main" id="{AB26DB32-1437-8014-A794-E4258D1F0E4E}"/>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19" name="CaixaDeTexto 82">
            <a:extLst>
              <a:ext uri="{FF2B5EF4-FFF2-40B4-BE49-F238E27FC236}">
                <a16:creationId xmlns:a16="http://schemas.microsoft.com/office/drawing/2014/main" id="{2044BACF-BAFD-5ED7-BED2-D085AE926398}"/>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22" name="CaixaDeTexto 83">
            <a:extLst>
              <a:ext uri="{FF2B5EF4-FFF2-40B4-BE49-F238E27FC236}">
                <a16:creationId xmlns:a16="http://schemas.microsoft.com/office/drawing/2014/main" id="{4973FBB8-71D6-1D93-3511-513819C577E3}"/>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23" name="CaixaDeTexto 84">
            <a:extLst>
              <a:ext uri="{FF2B5EF4-FFF2-40B4-BE49-F238E27FC236}">
                <a16:creationId xmlns:a16="http://schemas.microsoft.com/office/drawing/2014/main" id="{386BC4F3-BFA3-66B5-D1A5-0742DF982CDC}"/>
              </a:ext>
            </a:extLst>
          </p:cNvPr>
          <p:cNvSpPr txBox="1"/>
          <p:nvPr/>
        </p:nvSpPr>
        <p:spPr>
          <a:xfrm>
            <a:off x="8515425" y="6294672"/>
            <a:ext cx="9217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24" name="CaixaDeTexto 85">
            <a:extLst>
              <a:ext uri="{FF2B5EF4-FFF2-40B4-BE49-F238E27FC236}">
                <a16:creationId xmlns:a16="http://schemas.microsoft.com/office/drawing/2014/main" id="{6D4E3A21-99BE-9A9E-7814-D7DBFF8069CD}"/>
              </a:ext>
            </a:extLst>
          </p:cNvPr>
          <p:cNvSpPr txBox="1"/>
          <p:nvPr/>
        </p:nvSpPr>
        <p:spPr>
          <a:xfrm>
            <a:off x="9437158" y="6294672"/>
            <a:ext cx="79934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25" name="CaixaDeTexto 86">
            <a:extLst>
              <a:ext uri="{FF2B5EF4-FFF2-40B4-BE49-F238E27FC236}">
                <a16:creationId xmlns:a16="http://schemas.microsoft.com/office/drawing/2014/main" id="{12CB0E42-B627-F721-FC66-8BD59EDDC9D8}"/>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26" name="CaixaDeTexto 87">
            <a:extLst>
              <a:ext uri="{FF2B5EF4-FFF2-40B4-BE49-F238E27FC236}">
                <a16:creationId xmlns:a16="http://schemas.microsoft.com/office/drawing/2014/main" id="{E6E4407C-9797-CD9C-F6EB-18EF4FD275D5}"/>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owertrain</a:t>
            </a:r>
          </a:p>
        </p:txBody>
      </p:sp>
      <p:cxnSp>
        <p:nvCxnSpPr>
          <p:cNvPr id="27" name="Conector Reto 31">
            <a:extLst>
              <a:ext uri="{FF2B5EF4-FFF2-40B4-BE49-F238E27FC236}">
                <a16:creationId xmlns:a16="http://schemas.microsoft.com/office/drawing/2014/main" id="{F0D5612F-D712-5E91-269B-D773B467C2B6}"/>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8" name="Conector Reto 31">
            <a:extLst>
              <a:ext uri="{FF2B5EF4-FFF2-40B4-BE49-F238E27FC236}">
                <a16:creationId xmlns:a16="http://schemas.microsoft.com/office/drawing/2014/main" id="{B41F2C5C-DFBF-361B-4283-D5B128F9E8E1}"/>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9" name="Conector Reto 17">
            <a:extLst>
              <a:ext uri="{FF2B5EF4-FFF2-40B4-BE49-F238E27FC236}">
                <a16:creationId xmlns:a16="http://schemas.microsoft.com/office/drawing/2014/main" id="{3FC1B9FD-7178-B854-9B4D-D9E3D4C8E9F4}"/>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0" name="Rounded Rectangle 141">
            <a:extLst>
              <a:ext uri="{FF2B5EF4-FFF2-40B4-BE49-F238E27FC236}">
                <a16:creationId xmlns:a16="http://schemas.microsoft.com/office/drawing/2014/main" id="{F2A26ED2-EB97-606F-2856-D81B5B0F7027}"/>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31" name="CaixaDeTexto 89">
            <a:extLst>
              <a:ext uri="{FF2B5EF4-FFF2-40B4-BE49-F238E27FC236}">
                <a16:creationId xmlns:a16="http://schemas.microsoft.com/office/drawing/2014/main" id="{0D3964BD-F8E6-D247-1F58-EB99BAEE895F}"/>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32" name="Retângulo Arredondado 47">
            <a:extLst>
              <a:ext uri="{FF2B5EF4-FFF2-40B4-BE49-F238E27FC236}">
                <a16:creationId xmlns:a16="http://schemas.microsoft.com/office/drawing/2014/main" id="{9F4055CF-2ED6-1C18-0202-5566BF353355}"/>
              </a:ext>
            </a:extLst>
          </p:cNvPr>
          <p:cNvSpPr/>
          <p:nvPr/>
        </p:nvSpPr>
        <p:spPr>
          <a:xfrm>
            <a:off x="10456880"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33" name="TextBox 60">
            <a:extLst>
              <a:ext uri="{FF2B5EF4-FFF2-40B4-BE49-F238E27FC236}">
                <a16:creationId xmlns:a16="http://schemas.microsoft.com/office/drawing/2014/main" id="{C30BBABF-E7F2-BA04-2BE0-BD29A491ACEC}"/>
              </a:ext>
            </a:extLst>
          </p:cNvPr>
          <p:cNvSpPr txBox="1"/>
          <p:nvPr/>
        </p:nvSpPr>
        <p:spPr>
          <a:xfrm>
            <a:off x="10397740"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2/5</a:t>
            </a:r>
          </a:p>
        </p:txBody>
      </p:sp>
      <p:pic>
        <p:nvPicPr>
          <p:cNvPr id="34" name="Gráfico 49" descr="Acento Circunflexo à Direita com preenchimento sólido">
            <a:extLst>
              <a:ext uri="{FF2B5EF4-FFF2-40B4-BE49-F238E27FC236}">
                <a16:creationId xmlns:a16="http://schemas.microsoft.com/office/drawing/2014/main" id="{B526F156-AFBB-9A2F-E68F-25794111F5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36231" y="6546689"/>
            <a:ext cx="156462" cy="156462"/>
          </a:xfrm>
          <a:prstGeom prst="rect">
            <a:avLst/>
          </a:prstGeom>
        </p:spPr>
      </p:pic>
      <p:pic>
        <p:nvPicPr>
          <p:cNvPr id="43" name="Gráfico 50" descr="Acento Circunflexo à Direita com preenchimento sólido">
            <a:extLst>
              <a:ext uri="{FF2B5EF4-FFF2-40B4-BE49-F238E27FC236}">
                <a16:creationId xmlns:a16="http://schemas.microsoft.com/office/drawing/2014/main" id="{825D8E08-87EF-282D-E7AD-2C3C04ED56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20925" y="6546689"/>
            <a:ext cx="156462" cy="156462"/>
          </a:xfrm>
          <a:prstGeom prst="rect">
            <a:avLst/>
          </a:prstGeom>
        </p:spPr>
      </p:pic>
    </p:spTree>
    <p:extLst>
      <p:ext uri="{BB962C8B-B14F-4D97-AF65-F5344CB8AC3E}">
        <p14:creationId xmlns:p14="http://schemas.microsoft.com/office/powerpoint/2010/main" val="9816961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EE19E27-4B20-D9D5-0936-8CD950A17279}"/>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2969BAA6-CA15-DF7B-EBAC-D6E29A7EE0B2}"/>
              </a:ext>
            </a:extLst>
          </p:cNvPr>
          <p:cNvSpPr/>
          <p:nvPr/>
        </p:nvSpPr>
        <p:spPr>
          <a:xfrm>
            <a:off x="1426464" y="1247695"/>
            <a:ext cx="9978395"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3" name="TextBox 12">
            <a:extLst>
              <a:ext uri="{FF2B5EF4-FFF2-40B4-BE49-F238E27FC236}">
                <a16:creationId xmlns:a16="http://schemas.microsoft.com/office/drawing/2014/main" id="{A37BC12B-E02F-6446-ABE5-A94D6696EE9E}"/>
              </a:ext>
            </a:extLst>
          </p:cNvPr>
          <p:cNvSpPr txBox="1"/>
          <p:nvPr/>
        </p:nvSpPr>
        <p:spPr>
          <a:xfrm>
            <a:off x="4479217" y="2367246"/>
            <a:ext cx="5904469" cy="15388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How It Works</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When the engine is cold (like at start-up or idle), the Engine Control Module (ECM) tells the </a:t>
            </a:r>
            <a:r>
              <a:rPr kumimoji="0" lang="en-US" sz="11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alternator to create a 48V </a:t>
            </a: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electrical load by converting mechanical energy into electricity. </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The ECM then sends signals to:</a:t>
            </a:r>
          </a:p>
          <a:p>
            <a:pPr marL="252000" marR="0" lvl="1"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Heater Control Module (HCU) on X15, or</a:t>
            </a:r>
          </a:p>
          <a:p>
            <a:pPr marL="252000" marR="0" lvl="1"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Directly to the alternator for B7.2 and X10 platforms, instructing which heater(s) to power.</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Current flows to the heaters, which act like resistors – converting electrical energy directly into heat in the exhaust stream.</a:t>
            </a:r>
          </a:p>
        </p:txBody>
      </p:sp>
      <p:sp>
        <p:nvSpPr>
          <p:cNvPr id="14" name="TextBox 13">
            <a:extLst>
              <a:ext uri="{FF2B5EF4-FFF2-40B4-BE49-F238E27FC236}">
                <a16:creationId xmlns:a16="http://schemas.microsoft.com/office/drawing/2014/main" id="{2FBC675F-0EB5-A91B-7AA2-4EE8D3F7B7EA}"/>
              </a:ext>
            </a:extLst>
          </p:cNvPr>
          <p:cNvSpPr txBox="1"/>
          <p:nvPr/>
        </p:nvSpPr>
        <p:spPr>
          <a:xfrm>
            <a:off x="1767840" y="1470213"/>
            <a:ext cx="896112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4A1AC"/>
                </a:solidFill>
                <a:effectLst/>
                <a:uLnTx/>
                <a:uFillTx/>
                <a:latin typeface="Aptos" panose="020B0004020202020204" pitchFamily="34" charset="0"/>
                <a:ea typeface="+mn-ea"/>
                <a:cs typeface="+mn-cs"/>
              </a:rPr>
              <a:t>To meet stricter 2027 NO</a:t>
            </a:r>
            <a:r>
              <a:rPr kumimoji="0" lang="en-US" sz="1200" b="1" i="0" u="none" strike="noStrike" kern="1200" cap="none" spc="0" normalizeH="0" baseline="-25000" noProof="0">
                <a:ln>
                  <a:noFill/>
                </a:ln>
                <a:solidFill>
                  <a:srgbClr val="84A1AC"/>
                </a:solidFill>
                <a:effectLst/>
                <a:uLnTx/>
                <a:uFillTx/>
                <a:latin typeface="Aptos" panose="020B0004020202020204" pitchFamily="34" charset="0"/>
                <a:ea typeface="+mn-ea"/>
                <a:cs typeface="+mn-cs"/>
              </a:rPr>
              <a:t>X</a:t>
            </a:r>
            <a:r>
              <a:rPr kumimoji="0" lang="en-US" sz="1200" b="1" i="0" u="none" strike="noStrike" kern="1200" cap="none" spc="0" normalizeH="0" baseline="0" noProof="0">
                <a:ln>
                  <a:noFill/>
                </a:ln>
                <a:solidFill>
                  <a:srgbClr val="84A1AC"/>
                </a:solidFill>
                <a:effectLst/>
                <a:uLnTx/>
                <a:uFillTx/>
                <a:latin typeface="Aptos" panose="020B0004020202020204" pitchFamily="34" charset="0"/>
                <a:ea typeface="+mn-ea"/>
                <a:cs typeface="+mn-cs"/>
              </a:rPr>
              <a:t> regulations, Cummins is introducing an electronic heating system that enhances SCR</a:t>
            </a:r>
            <a:br>
              <a:rPr kumimoji="0" lang="en-US" sz="1200" b="1" i="0" u="none" strike="noStrike" kern="1200" cap="none" spc="0" normalizeH="0" baseline="0" noProof="0">
                <a:ln>
                  <a:noFill/>
                </a:ln>
                <a:solidFill>
                  <a:srgbClr val="84A1AC"/>
                </a:solidFill>
                <a:effectLst/>
                <a:uLnTx/>
                <a:uFillTx/>
                <a:latin typeface="Aptos" panose="020B0004020202020204" pitchFamily="34" charset="0"/>
                <a:ea typeface="+mn-ea"/>
                <a:cs typeface="+mn-cs"/>
              </a:rPr>
            </a:br>
            <a:r>
              <a:rPr kumimoji="0" lang="en-US" sz="1200" b="1" i="0" u="none" strike="noStrike" kern="1200" cap="none" spc="0" normalizeH="0" baseline="0" noProof="0">
                <a:ln>
                  <a:noFill/>
                </a:ln>
                <a:solidFill>
                  <a:srgbClr val="84A1AC"/>
                </a:solidFill>
                <a:effectLst/>
                <a:uLnTx/>
                <a:uFillTx/>
                <a:latin typeface="Aptos" panose="020B0004020202020204" pitchFamily="34" charset="0"/>
                <a:ea typeface="+mn-ea"/>
                <a:cs typeface="+mn-cs"/>
              </a:rPr>
              <a:t>(Selective Catalytic Reduction) performance by speeding up aftertreatment warm-up–especially during cold starts and idle.</a:t>
            </a:r>
          </a:p>
        </p:txBody>
      </p:sp>
      <p:sp>
        <p:nvSpPr>
          <p:cNvPr id="15" name="TextBox 14">
            <a:extLst>
              <a:ext uri="{FF2B5EF4-FFF2-40B4-BE49-F238E27FC236}">
                <a16:creationId xmlns:a16="http://schemas.microsoft.com/office/drawing/2014/main" id="{736D2904-C1E5-635E-EFFF-E523341AC02B}"/>
              </a:ext>
            </a:extLst>
          </p:cNvPr>
          <p:cNvSpPr txBox="1"/>
          <p:nvPr/>
        </p:nvSpPr>
        <p:spPr>
          <a:xfrm>
            <a:off x="4479218" y="4254665"/>
            <a:ext cx="5895042"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Why It Matters</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Fast-warm up </a:t>
            </a: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 better </a:t>
            </a:r>
            <a:r>
              <a:rPr kumimoji="0" lang="en-US" sz="1100" b="0" i="0" u="none" strike="noStrike" kern="1200" cap="none" spc="0" normalizeH="0" baseline="0" noProof="0" dirty="0">
                <a:ln>
                  <a:noFill/>
                </a:ln>
                <a:solidFill>
                  <a:srgbClr val="000000"/>
                </a:solidFill>
                <a:effectLst/>
                <a:uLnTx/>
                <a:uFillTx/>
                <a:latin typeface="Aptos" panose="02110004020202020204"/>
                <a:ea typeface="+mn-ea"/>
                <a:cs typeface="+mn-cs"/>
              </a:rPr>
              <a:t>NO</a:t>
            </a:r>
            <a:r>
              <a:rPr kumimoji="0" lang="en-US" sz="1100" b="0" i="0" u="none" strike="noStrike" kern="1200" cap="none" spc="0" normalizeH="0" baseline="-25000" noProof="0" dirty="0">
                <a:ln>
                  <a:noFill/>
                </a:ln>
                <a:solidFill>
                  <a:srgbClr val="000000"/>
                </a:solidFill>
                <a:effectLst/>
                <a:uLnTx/>
                <a:uFillTx/>
                <a:latin typeface="Aptos" panose="02110004020202020204"/>
                <a:ea typeface="+mn-ea"/>
                <a:cs typeface="+mn-cs"/>
              </a:rPr>
              <a:t>X</a:t>
            </a: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 reduction from the start</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On-demand thermal management improves efficiency </a:t>
            </a: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and engine performance </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Maintenance-free design: Alternator and heaters are built to last the life of the engine</a:t>
            </a:r>
          </a:p>
        </p:txBody>
      </p:sp>
      <p:pic>
        <p:nvPicPr>
          <p:cNvPr id="16" name="Graphic 17" descr="Wrench with solid fill">
            <a:extLst>
              <a:ext uri="{FF2B5EF4-FFF2-40B4-BE49-F238E27FC236}">
                <a16:creationId xmlns:a16="http://schemas.microsoft.com/office/drawing/2014/main" id="{50ED8F6A-CAAB-517B-53FA-A33C38E1E18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84633" y="2363275"/>
            <a:ext cx="363092" cy="363090"/>
          </a:xfrm>
          <a:prstGeom prst="rect">
            <a:avLst/>
          </a:prstGeom>
          <a:effectLst/>
        </p:spPr>
      </p:pic>
      <p:pic>
        <p:nvPicPr>
          <p:cNvPr id="17" name="Graphic 23" descr="Checkmark with solid fill">
            <a:extLst>
              <a:ext uri="{FF2B5EF4-FFF2-40B4-BE49-F238E27FC236}">
                <a16:creationId xmlns:a16="http://schemas.microsoft.com/office/drawing/2014/main" id="{4E7F4544-DB4D-5C60-327F-650F7CF7EA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05222" y="4247231"/>
            <a:ext cx="321914" cy="321914"/>
          </a:xfrm>
          <a:prstGeom prst="rect">
            <a:avLst/>
          </a:prstGeom>
          <a:effectLst/>
        </p:spPr>
      </p:pic>
      <p:pic>
        <p:nvPicPr>
          <p:cNvPr id="19" name="Picture 27" descr="A red and silver machine&#10;&#10;Description automatically generated">
            <a:extLst>
              <a:ext uri="{FF2B5EF4-FFF2-40B4-BE49-F238E27FC236}">
                <a16:creationId xmlns:a16="http://schemas.microsoft.com/office/drawing/2014/main" id="{103AFB2C-1B8A-60FD-0571-253B45AC68F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71602" y="3864326"/>
            <a:ext cx="1658211" cy="1658211"/>
          </a:xfrm>
          <a:prstGeom prst="rect">
            <a:avLst/>
          </a:prstGeom>
        </p:spPr>
      </p:pic>
      <p:grpSp>
        <p:nvGrpSpPr>
          <p:cNvPr id="29" name="Agrupar 28">
            <a:extLst>
              <a:ext uri="{FF2B5EF4-FFF2-40B4-BE49-F238E27FC236}">
                <a16:creationId xmlns:a16="http://schemas.microsoft.com/office/drawing/2014/main" id="{5A6362E1-EB09-3881-03DA-3856FD767106}"/>
              </a:ext>
            </a:extLst>
          </p:cNvPr>
          <p:cNvGrpSpPr/>
          <p:nvPr/>
        </p:nvGrpSpPr>
        <p:grpSpPr>
          <a:xfrm>
            <a:off x="2068075" y="2152745"/>
            <a:ext cx="1765369" cy="1765369"/>
            <a:chOff x="8566700" y="1909561"/>
            <a:chExt cx="2249332" cy="2249332"/>
          </a:xfrm>
        </p:grpSpPr>
        <p:pic>
          <p:nvPicPr>
            <p:cNvPr id="18" name="Picture 25">
              <a:extLst>
                <a:ext uri="{FF2B5EF4-FFF2-40B4-BE49-F238E27FC236}">
                  <a16:creationId xmlns:a16="http://schemas.microsoft.com/office/drawing/2014/main" id="{A217D892-EE9E-1AA0-DDD8-01630BDB7FD2}"/>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8566700" y="1909561"/>
              <a:ext cx="2249332" cy="2249332"/>
            </a:xfrm>
            <a:prstGeom prst="rect">
              <a:avLst/>
            </a:prstGeom>
          </p:spPr>
        </p:pic>
        <p:sp>
          <p:nvSpPr>
            <p:cNvPr id="25" name="Oval 24">
              <a:extLst>
                <a:ext uri="{FF2B5EF4-FFF2-40B4-BE49-F238E27FC236}">
                  <a16:creationId xmlns:a16="http://schemas.microsoft.com/office/drawing/2014/main" id="{1A1401E2-B497-E968-79BA-D309FD2AC4E4}"/>
                </a:ext>
              </a:extLst>
            </p:cNvPr>
            <p:cNvSpPr/>
            <p:nvPr/>
          </p:nvSpPr>
          <p:spPr>
            <a:xfrm>
              <a:off x="9507534" y="3055492"/>
              <a:ext cx="574799" cy="553768"/>
            </a:xfrm>
            <a:prstGeom prst="ellipse">
              <a:avLst/>
            </a:prstGeom>
            <a:noFill/>
            <a:ln w="38100" cap="flat" cmpd="sng" algn="ctr">
              <a:solidFill>
                <a:srgbClr val="FFC0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56" name="Espaço Reservado para Conteúdo 55">
            <a:extLst>
              <a:ext uri="{FF2B5EF4-FFF2-40B4-BE49-F238E27FC236}">
                <a16:creationId xmlns:a16="http://schemas.microsoft.com/office/drawing/2014/main" id="{56A3F9EA-679D-63A1-DF12-ED408CD217B4}"/>
              </a:ext>
            </a:extLst>
          </p:cNvPr>
          <p:cNvSpPr>
            <a:spLocks noGrp="1"/>
          </p:cNvSpPr>
          <p:nvPr>
            <p:ph idx="1"/>
          </p:nvPr>
        </p:nvSpPr>
        <p:spPr>
          <a:xfrm>
            <a:off x="1307888" y="669494"/>
            <a:ext cx="7799536" cy="631768"/>
          </a:xfrm>
        </p:spPr>
        <p:txBody>
          <a:bodyPr/>
          <a:lstStyle/>
          <a:p>
            <a:r>
              <a:rPr kumimoji="0" lang="en-US" sz="2400" b="1" u="none" strike="noStrike" kern="1200" cap="none" spc="0" normalizeH="0" baseline="0" noProof="0">
                <a:ln>
                  <a:noFill/>
                </a:ln>
                <a:solidFill>
                  <a:schemeClr val="accent1"/>
                </a:solidFill>
                <a:effectLst/>
                <a:uLnTx/>
                <a:uFillTx/>
                <a:latin typeface="Aptos" panose="020B0004020202020204" pitchFamily="34" charset="0"/>
              </a:rPr>
              <a:t>Simple Architecture: Electric Aftertreatment Heat</a:t>
            </a:r>
          </a:p>
        </p:txBody>
      </p:sp>
      <p:sp>
        <p:nvSpPr>
          <p:cNvPr id="2" name="Rounded Rectangle 56">
            <a:extLst>
              <a:ext uri="{FF2B5EF4-FFF2-40B4-BE49-F238E27FC236}">
                <a16:creationId xmlns:a16="http://schemas.microsoft.com/office/drawing/2014/main" id="{3692ADC6-7570-18B8-5A4B-310EC2B7A86A}"/>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4" name="Conector Reto 31">
            <a:extLst>
              <a:ext uri="{FF2B5EF4-FFF2-40B4-BE49-F238E27FC236}">
                <a16:creationId xmlns:a16="http://schemas.microsoft.com/office/drawing/2014/main" id="{FF578A50-4911-459B-7E6D-0A1FDF886CD0}"/>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Conector Reto 75">
            <a:extLst>
              <a:ext uri="{FF2B5EF4-FFF2-40B4-BE49-F238E27FC236}">
                <a16:creationId xmlns:a16="http://schemas.microsoft.com/office/drawing/2014/main" id="{728FAA08-59B2-D548-EE87-4F20D2AA7DD0}"/>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 name="Conector Reto 31">
            <a:extLst>
              <a:ext uri="{FF2B5EF4-FFF2-40B4-BE49-F238E27FC236}">
                <a16:creationId xmlns:a16="http://schemas.microsoft.com/office/drawing/2014/main" id="{36D7D247-3061-F3FB-1623-2A4DC8E84B3B}"/>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31">
            <a:extLst>
              <a:ext uri="{FF2B5EF4-FFF2-40B4-BE49-F238E27FC236}">
                <a16:creationId xmlns:a16="http://schemas.microsoft.com/office/drawing/2014/main" id="{BEBCC134-E5E4-00E4-3385-30547B2263CB}"/>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78">
            <a:extLst>
              <a:ext uri="{FF2B5EF4-FFF2-40B4-BE49-F238E27FC236}">
                <a16:creationId xmlns:a16="http://schemas.microsoft.com/office/drawing/2014/main" id="{C5BC3A56-DDEC-15AA-ED10-19464FC00344}"/>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Conector Reto 31">
            <a:extLst>
              <a:ext uri="{FF2B5EF4-FFF2-40B4-BE49-F238E27FC236}">
                <a16:creationId xmlns:a16="http://schemas.microsoft.com/office/drawing/2014/main" id="{01E5CBC1-4179-712E-15E8-844B20297C1C}"/>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6" name="CaixaDeTexto 80">
            <a:extLst>
              <a:ext uri="{FF2B5EF4-FFF2-40B4-BE49-F238E27FC236}">
                <a16:creationId xmlns:a16="http://schemas.microsoft.com/office/drawing/2014/main" id="{43AD8B61-4054-48D7-DA39-4EAE8D59C104}"/>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27" name="CaixaDeTexto 81">
            <a:extLst>
              <a:ext uri="{FF2B5EF4-FFF2-40B4-BE49-F238E27FC236}">
                <a16:creationId xmlns:a16="http://schemas.microsoft.com/office/drawing/2014/main" id="{F1FA5E86-8B43-7C08-B9DB-9A121EF596F6}"/>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28" name="CaixaDeTexto 82">
            <a:extLst>
              <a:ext uri="{FF2B5EF4-FFF2-40B4-BE49-F238E27FC236}">
                <a16:creationId xmlns:a16="http://schemas.microsoft.com/office/drawing/2014/main" id="{E779D1DD-8A8F-057F-6FF5-2D94537F75B8}"/>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30" name="CaixaDeTexto 83">
            <a:extLst>
              <a:ext uri="{FF2B5EF4-FFF2-40B4-BE49-F238E27FC236}">
                <a16:creationId xmlns:a16="http://schemas.microsoft.com/office/drawing/2014/main" id="{622941AB-A257-7BF3-47A5-C1DF54C9278D}"/>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31" name="CaixaDeTexto 84">
            <a:extLst>
              <a:ext uri="{FF2B5EF4-FFF2-40B4-BE49-F238E27FC236}">
                <a16:creationId xmlns:a16="http://schemas.microsoft.com/office/drawing/2014/main" id="{68FC2F85-DEFB-2AB7-960D-407C8D284C3F}"/>
              </a:ext>
            </a:extLst>
          </p:cNvPr>
          <p:cNvSpPr txBox="1"/>
          <p:nvPr/>
        </p:nvSpPr>
        <p:spPr>
          <a:xfrm>
            <a:off x="8515425" y="6294672"/>
            <a:ext cx="9217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32" name="CaixaDeTexto 85">
            <a:extLst>
              <a:ext uri="{FF2B5EF4-FFF2-40B4-BE49-F238E27FC236}">
                <a16:creationId xmlns:a16="http://schemas.microsoft.com/office/drawing/2014/main" id="{357F68AC-0DB3-F571-558F-62B2753D39C2}"/>
              </a:ext>
            </a:extLst>
          </p:cNvPr>
          <p:cNvSpPr txBox="1"/>
          <p:nvPr/>
        </p:nvSpPr>
        <p:spPr>
          <a:xfrm>
            <a:off x="9437158" y="6294672"/>
            <a:ext cx="79934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33" name="CaixaDeTexto 86">
            <a:extLst>
              <a:ext uri="{FF2B5EF4-FFF2-40B4-BE49-F238E27FC236}">
                <a16:creationId xmlns:a16="http://schemas.microsoft.com/office/drawing/2014/main" id="{A9D57871-9186-51D1-7D73-64389C99D3EF}"/>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34" name="CaixaDeTexto 87">
            <a:extLst>
              <a:ext uri="{FF2B5EF4-FFF2-40B4-BE49-F238E27FC236}">
                <a16:creationId xmlns:a16="http://schemas.microsoft.com/office/drawing/2014/main" id="{859CA3BD-B3B5-492A-D6C8-1BA8B48D1E7A}"/>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owertrain</a:t>
            </a:r>
          </a:p>
        </p:txBody>
      </p:sp>
      <p:cxnSp>
        <p:nvCxnSpPr>
          <p:cNvPr id="35" name="Conector Reto 31">
            <a:extLst>
              <a:ext uri="{FF2B5EF4-FFF2-40B4-BE49-F238E27FC236}">
                <a16:creationId xmlns:a16="http://schemas.microsoft.com/office/drawing/2014/main" id="{7AB6F01E-7A5F-539F-B578-1ED9AFCBAD86}"/>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3" name="Conector Reto 31">
            <a:extLst>
              <a:ext uri="{FF2B5EF4-FFF2-40B4-BE49-F238E27FC236}">
                <a16:creationId xmlns:a16="http://schemas.microsoft.com/office/drawing/2014/main" id="{F22954C0-9076-F8BD-8D32-314E68748430}"/>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4" name="Conector Reto 17">
            <a:extLst>
              <a:ext uri="{FF2B5EF4-FFF2-40B4-BE49-F238E27FC236}">
                <a16:creationId xmlns:a16="http://schemas.microsoft.com/office/drawing/2014/main" id="{13AD235C-9239-7C13-D9D9-8A6DC2F59754}"/>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45" name="Rounded Rectangle 141">
            <a:extLst>
              <a:ext uri="{FF2B5EF4-FFF2-40B4-BE49-F238E27FC236}">
                <a16:creationId xmlns:a16="http://schemas.microsoft.com/office/drawing/2014/main" id="{D05CB4BA-3C8A-6FC4-F3B4-1988C2845DBB}"/>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46" name="CaixaDeTexto 89">
            <a:extLst>
              <a:ext uri="{FF2B5EF4-FFF2-40B4-BE49-F238E27FC236}">
                <a16:creationId xmlns:a16="http://schemas.microsoft.com/office/drawing/2014/main" id="{589DF3AC-88E5-82CC-D60C-2710A6DD6306}"/>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47" name="Retângulo Arredondado 47">
            <a:extLst>
              <a:ext uri="{FF2B5EF4-FFF2-40B4-BE49-F238E27FC236}">
                <a16:creationId xmlns:a16="http://schemas.microsoft.com/office/drawing/2014/main" id="{42230950-089A-B327-079E-F2E9FB577CBD}"/>
              </a:ext>
            </a:extLst>
          </p:cNvPr>
          <p:cNvSpPr/>
          <p:nvPr/>
        </p:nvSpPr>
        <p:spPr>
          <a:xfrm>
            <a:off x="10456880"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48" name="TextBox 60">
            <a:extLst>
              <a:ext uri="{FF2B5EF4-FFF2-40B4-BE49-F238E27FC236}">
                <a16:creationId xmlns:a16="http://schemas.microsoft.com/office/drawing/2014/main" id="{65EA5BE0-05FA-E658-CE3C-772FCE042CEE}"/>
              </a:ext>
            </a:extLst>
          </p:cNvPr>
          <p:cNvSpPr txBox="1"/>
          <p:nvPr/>
        </p:nvSpPr>
        <p:spPr>
          <a:xfrm>
            <a:off x="10397740"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3/5</a:t>
            </a:r>
          </a:p>
        </p:txBody>
      </p:sp>
      <p:pic>
        <p:nvPicPr>
          <p:cNvPr id="49" name="Gráfico 49" descr="Acento Circunflexo à Direita com preenchimento sólido">
            <a:extLst>
              <a:ext uri="{FF2B5EF4-FFF2-40B4-BE49-F238E27FC236}">
                <a16:creationId xmlns:a16="http://schemas.microsoft.com/office/drawing/2014/main" id="{7E67479B-2ED6-730C-2842-1170FD4FB8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736231" y="6546689"/>
            <a:ext cx="156462" cy="156462"/>
          </a:xfrm>
          <a:prstGeom prst="rect">
            <a:avLst/>
          </a:prstGeom>
        </p:spPr>
      </p:pic>
      <p:pic>
        <p:nvPicPr>
          <p:cNvPr id="50" name="Gráfico 50" descr="Acento Circunflexo à Direita com preenchimento sólido">
            <a:extLst>
              <a:ext uri="{FF2B5EF4-FFF2-40B4-BE49-F238E27FC236}">
                <a16:creationId xmlns:a16="http://schemas.microsoft.com/office/drawing/2014/main" id="{B85C3CF7-04E8-82CD-E103-3EAAD0BC4EC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0800000">
            <a:off x="10320925" y="6546689"/>
            <a:ext cx="156462" cy="156462"/>
          </a:xfrm>
          <a:prstGeom prst="rect">
            <a:avLst/>
          </a:prstGeom>
        </p:spPr>
      </p:pic>
    </p:spTree>
    <p:extLst>
      <p:ext uri="{BB962C8B-B14F-4D97-AF65-F5344CB8AC3E}">
        <p14:creationId xmlns:p14="http://schemas.microsoft.com/office/powerpoint/2010/main" val="4173716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358D4-729A-626B-EB0C-B99FB1703310}"/>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07559366-BA7B-2F0E-A963-44C8265E6DFA}"/>
              </a:ext>
            </a:extLst>
          </p:cNvPr>
          <p:cNvSpPr/>
          <p:nvPr/>
        </p:nvSpPr>
        <p:spPr>
          <a:xfrm>
            <a:off x="1450848" y="1247695"/>
            <a:ext cx="9954011"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grpSp>
        <p:nvGrpSpPr>
          <p:cNvPr id="22" name="Group 11">
            <a:extLst>
              <a:ext uri="{FF2B5EF4-FFF2-40B4-BE49-F238E27FC236}">
                <a16:creationId xmlns:a16="http://schemas.microsoft.com/office/drawing/2014/main" id="{2610FAAC-EE73-3477-8535-7E147D6D9960}"/>
              </a:ext>
            </a:extLst>
          </p:cNvPr>
          <p:cNvGrpSpPr/>
          <p:nvPr/>
        </p:nvGrpSpPr>
        <p:grpSpPr>
          <a:xfrm>
            <a:off x="1139545" y="-1502918"/>
            <a:ext cx="216344" cy="216344"/>
            <a:chOff x="4794103" y="1588576"/>
            <a:chExt cx="1242488" cy="1242488"/>
          </a:xfrm>
        </p:grpSpPr>
        <p:sp>
          <p:nvSpPr>
            <p:cNvPr id="23" name="Freeform 13">
              <a:extLst>
                <a:ext uri="{FF2B5EF4-FFF2-40B4-BE49-F238E27FC236}">
                  <a16:creationId xmlns:a16="http://schemas.microsoft.com/office/drawing/2014/main" id="{A1C546D0-317B-B486-7B21-1009D34F3C39}"/>
                </a:ext>
              </a:extLst>
            </p:cNvPr>
            <p:cNvSpPr/>
            <p:nvPr/>
          </p:nvSpPr>
          <p:spPr>
            <a:xfrm>
              <a:off x="4941308" y="1588576"/>
              <a:ext cx="1095282" cy="1099265"/>
            </a:xfrm>
            <a:custGeom>
              <a:avLst/>
              <a:gdLst>
                <a:gd name="connsiteX0" fmla="*/ 0 w 1131376"/>
                <a:gd name="connsiteY0" fmla="*/ 0 h 1069383"/>
                <a:gd name="connsiteX1" fmla="*/ 1131376 w 1131376"/>
                <a:gd name="connsiteY1" fmla="*/ 0 h 1069383"/>
                <a:gd name="connsiteX2" fmla="*/ 1131376 w 1131376"/>
                <a:gd name="connsiteY2" fmla="*/ 1069383 h 1069383"/>
                <a:gd name="connsiteX0" fmla="*/ 0 w 1095282"/>
                <a:gd name="connsiteY0" fmla="*/ 0 h 1069383"/>
                <a:gd name="connsiteX1" fmla="*/ 1095282 w 1095282"/>
                <a:gd name="connsiteY1" fmla="*/ 0 h 1069383"/>
                <a:gd name="connsiteX2" fmla="*/ 1095282 w 1095282"/>
                <a:gd name="connsiteY2" fmla="*/ 1069383 h 1069383"/>
                <a:gd name="connsiteX0" fmla="*/ 0 w 1095282"/>
                <a:gd name="connsiteY0" fmla="*/ 0 h 1099265"/>
                <a:gd name="connsiteX1" fmla="*/ 1095282 w 1095282"/>
                <a:gd name="connsiteY1" fmla="*/ 0 h 1099265"/>
                <a:gd name="connsiteX2" fmla="*/ 1095282 w 1095282"/>
                <a:gd name="connsiteY2" fmla="*/ 1099265 h 1099265"/>
              </a:gdLst>
              <a:ahLst/>
              <a:cxnLst>
                <a:cxn ang="0">
                  <a:pos x="connsiteX0" y="connsiteY0"/>
                </a:cxn>
                <a:cxn ang="0">
                  <a:pos x="connsiteX1" y="connsiteY1"/>
                </a:cxn>
                <a:cxn ang="0">
                  <a:pos x="connsiteX2" y="connsiteY2"/>
                </a:cxn>
              </a:cxnLst>
              <a:rect l="l" t="t" r="r" b="b"/>
              <a:pathLst>
                <a:path w="1095282" h="1099265">
                  <a:moveTo>
                    <a:pt x="0" y="0"/>
                  </a:moveTo>
                  <a:lnTo>
                    <a:pt x="1095282" y="0"/>
                  </a:lnTo>
                  <a:lnTo>
                    <a:pt x="1095282" y="1099265"/>
                  </a:lnTo>
                </a:path>
              </a:pathLst>
            </a:cu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24" name="Straight Connector 14">
              <a:extLst>
                <a:ext uri="{FF2B5EF4-FFF2-40B4-BE49-F238E27FC236}">
                  <a16:creationId xmlns:a16="http://schemas.microsoft.com/office/drawing/2014/main" id="{A0946C83-3EFD-C32C-C5FA-7BE11039707B}"/>
                </a:ext>
              </a:extLst>
            </p:cNvPr>
            <p:cNvCxnSpPr>
              <a:cxnSpLocks/>
            </p:cNvCxnSpPr>
            <p:nvPr/>
          </p:nvCxnSpPr>
          <p:spPr>
            <a:xfrm flipV="1">
              <a:off x="4794103" y="1588577"/>
              <a:ext cx="1242488" cy="12424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TextBox 12">
            <a:extLst>
              <a:ext uri="{FF2B5EF4-FFF2-40B4-BE49-F238E27FC236}">
                <a16:creationId xmlns:a16="http://schemas.microsoft.com/office/drawing/2014/main" id="{719D7D03-7E45-D7C3-A069-8290D3FF1E6D}"/>
              </a:ext>
            </a:extLst>
          </p:cNvPr>
          <p:cNvSpPr txBox="1"/>
          <p:nvPr/>
        </p:nvSpPr>
        <p:spPr>
          <a:xfrm>
            <a:off x="5472750" y="1700943"/>
            <a:ext cx="5243168"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Engine </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Hardware:</a:t>
            </a:r>
          </a:p>
          <a:p>
            <a:pPr marL="252000" marR="0" lvl="1"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Dedicated 48V alternator, mounted on the cold side of the FEAD</a:t>
            </a:r>
          </a:p>
          <a:p>
            <a:pPr marL="252000" marR="0" lvl="1"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Driven by a single belt from the damper</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Software:</a:t>
            </a:r>
          </a:p>
          <a:p>
            <a:pPr marL="252000" marR="0" lvl="1"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Uses J1939 CANBUS communication</a:t>
            </a:r>
          </a:p>
          <a:p>
            <a:pPr marL="252000" marR="0" lvl="1"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ECM sends signals to the alternator and Heater Control Unit (HCU) (X15 only</a:t>
            </a: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t>
            </a:r>
          </a:p>
        </p:txBody>
      </p:sp>
      <p:sp>
        <p:nvSpPr>
          <p:cNvPr id="12" name="TextBox 1">
            <a:extLst>
              <a:ext uri="{FF2B5EF4-FFF2-40B4-BE49-F238E27FC236}">
                <a16:creationId xmlns:a16="http://schemas.microsoft.com/office/drawing/2014/main" id="{559FF0E8-C542-FB03-1731-2C4E1E671683}"/>
              </a:ext>
            </a:extLst>
          </p:cNvPr>
          <p:cNvSpPr txBox="1"/>
          <p:nvPr/>
        </p:nvSpPr>
        <p:spPr>
          <a:xfrm>
            <a:off x="5472749" y="3351528"/>
            <a:ext cx="5019885" cy="7232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ftertreatment</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Hardware: Two 5kW heaters, each with two high-voltage connections</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Software: None required at the aftertreatment level</a:t>
            </a:r>
          </a:p>
        </p:txBody>
      </p:sp>
      <p:sp>
        <p:nvSpPr>
          <p:cNvPr id="13" name="TextBox 3">
            <a:extLst>
              <a:ext uri="{FF2B5EF4-FFF2-40B4-BE49-F238E27FC236}">
                <a16:creationId xmlns:a16="http://schemas.microsoft.com/office/drawing/2014/main" id="{802C3975-179F-F475-23F7-550129537576}"/>
              </a:ext>
            </a:extLst>
          </p:cNvPr>
          <p:cNvSpPr txBox="1"/>
          <p:nvPr/>
        </p:nvSpPr>
        <p:spPr>
          <a:xfrm>
            <a:off x="5472749" y="4414568"/>
            <a:ext cx="4987987" cy="9079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Heater Control Unit (HCU) (X15 only)</a:t>
            </a:r>
          </a:p>
          <a:p>
            <a:pPr marL="171450" marR="0" lvl="0" indent="-17145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Location: Chassis-mounted </a:t>
            </a:r>
          </a:p>
          <a:p>
            <a:pPr marL="171450" marR="0" lvl="0" indent="-17145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Function: Manages and distributes power independently to each heater, ensuring efficient and responsive thermal management</a:t>
            </a:r>
          </a:p>
        </p:txBody>
      </p:sp>
      <p:pic>
        <p:nvPicPr>
          <p:cNvPr id="14" name="Graphic 15" descr="Badge 1 with solid fill">
            <a:extLst>
              <a:ext uri="{FF2B5EF4-FFF2-40B4-BE49-F238E27FC236}">
                <a16:creationId xmlns:a16="http://schemas.microsoft.com/office/drawing/2014/main" id="{B32D3143-7E0E-8EC7-F95F-436703213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82317" y="1680403"/>
            <a:ext cx="297714" cy="297714"/>
          </a:xfrm>
          <a:prstGeom prst="rect">
            <a:avLst/>
          </a:prstGeom>
          <a:effectLst/>
        </p:spPr>
      </p:pic>
      <p:pic>
        <p:nvPicPr>
          <p:cNvPr id="15" name="Graphic 28" descr="Badge with solid fill">
            <a:extLst>
              <a:ext uri="{FF2B5EF4-FFF2-40B4-BE49-F238E27FC236}">
                <a16:creationId xmlns:a16="http://schemas.microsoft.com/office/drawing/2014/main" id="{594F5D21-79E4-22A7-D0B1-090A6A7E9E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2317" y="3334086"/>
            <a:ext cx="297714" cy="297714"/>
          </a:xfrm>
          <a:prstGeom prst="rect">
            <a:avLst/>
          </a:prstGeom>
          <a:effectLst/>
        </p:spPr>
      </p:pic>
      <p:pic>
        <p:nvPicPr>
          <p:cNvPr id="16" name="Graphic 34" descr="Badge 3 with solid fill">
            <a:extLst>
              <a:ext uri="{FF2B5EF4-FFF2-40B4-BE49-F238E27FC236}">
                <a16:creationId xmlns:a16="http://schemas.microsoft.com/office/drawing/2014/main" id="{E7A1D541-D882-6D1A-A451-485B2629DB2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2317" y="4411039"/>
            <a:ext cx="297714" cy="297714"/>
          </a:xfrm>
          <a:prstGeom prst="rect">
            <a:avLst/>
          </a:prstGeom>
          <a:effectLst/>
        </p:spPr>
      </p:pic>
      <p:grpSp>
        <p:nvGrpSpPr>
          <p:cNvPr id="17" name="Agrupar 16">
            <a:extLst>
              <a:ext uri="{FF2B5EF4-FFF2-40B4-BE49-F238E27FC236}">
                <a16:creationId xmlns:a16="http://schemas.microsoft.com/office/drawing/2014/main" id="{BFBA39A0-7E95-3B95-5E13-254134B99EE5}"/>
              </a:ext>
            </a:extLst>
          </p:cNvPr>
          <p:cNvGrpSpPr/>
          <p:nvPr/>
        </p:nvGrpSpPr>
        <p:grpSpPr>
          <a:xfrm>
            <a:off x="2935441" y="1328418"/>
            <a:ext cx="2038893" cy="2038893"/>
            <a:chOff x="9104028" y="1828148"/>
            <a:chExt cx="2249332" cy="2249332"/>
          </a:xfrm>
        </p:grpSpPr>
        <p:pic>
          <p:nvPicPr>
            <p:cNvPr id="18" name="Picture 25">
              <a:extLst>
                <a:ext uri="{FF2B5EF4-FFF2-40B4-BE49-F238E27FC236}">
                  <a16:creationId xmlns:a16="http://schemas.microsoft.com/office/drawing/2014/main" id="{65C8A21D-6CEC-817C-FC0A-C449E2AF1C17}"/>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104028" y="1828148"/>
              <a:ext cx="2249332" cy="2249332"/>
            </a:xfrm>
            <a:prstGeom prst="rect">
              <a:avLst/>
            </a:prstGeom>
          </p:spPr>
        </p:pic>
        <p:sp>
          <p:nvSpPr>
            <p:cNvPr id="19" name="Oval 18">
              <a:extLst>
                <a:ext uri="{FF2B5EF4-FFF2-40B4-BE49-F238E27FC236}">
                  <a16:creationId xmlns:a16="http://schemas.microsoft.com/office/drawing/2014/main" id="{36BA332E-0242-17AD-A1B2-BBBDDC5B32CF}"/>
                </a:ext>
              </a:extLst>
            </p:cNvPr>
            <p:cNvSpPr/>
            <p:nvPr/>
          </p:nvSpPr>
          <p:spPr>
            <a:xfrm>
              <a:off x="10044862" y="2974079"/>
              <a:ext cx="574799" cy="553768"/>
            </a:xfrm>
            <a:prstGeom prst="ellipse">
              <a:avLst/>
            </a:prstGeom>
            <a:noFill/>
            <a:ln w="38100" cap="flat" cmpd="sng" algn="ctr">
              <a:solidFill>
                <a:srgbClr val="FFC0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5" name="Graphic 47" descr="Badge 1 with solid fill">
              <a:extLst>
                <a:ext uri="{FF2B5EF4-FFF2-40B4-BE49-F238E27FC236}">
                  <a16:creationId xmlns:a16="http://schemas.microsoft.com/office/drawing/2014/main" id="{8981F748-6772-5893-C8CC-6DE2CD2ACC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12417" y="3435730"/>
              <a:ext cx="297714" cy="297714"/>
            </a:xfrm>
            <a:prstGeom prst="rect">
              <a:avLst/>
            </a:prstGeom>
            <a:effectLst/>
          </p:spPr>
        </p:pic>
      </p:grpSp>
      <p:grpSp>
        <p:nvGrpSpPr>
          <p:cNvPr id="26" name="Agrupar 25">
            <a:extLst>
              <a:ext uri="{FF2B5EF4-FFF2-40B4-BE49-F238E27FC236}">
                <a16:creationId xmlns:a16="http://schemas.microsoft.com/office/drawing/2014/main" id="{B8E3FE8F-D751-942B-E1BB-0BB95C4986AE}"/>
              </a:ext>
            </a:extLst>
          </p:cNvPr>
          <p:cNvGrpSpPr/>
          <p:nvPr/>
        </p:nvGrpSpPr>
        <p:grpSpPr>
          <a:xfrm>
            <a:off x="1982115" y="2875713"/>
            <a:ext cx="1939542" cy="1836888"/>
            <a:chOff x="8437779" y="4449331"/>
            <a:chExt cx="1939542" cy="1836888"/>
          </a:xfrm>
        </p:grpSpPr>
        <p:pic>
          <p:nvPicPr>
            <p:cNvPr id="27" name="Picture 27" descr="A red and silver machine&#10;&#10;Description automatically generated">
              <a:extLst>
                <a:ext uri="{FF2B5EF4-FFF2-40B4-BE49-F238E27FC236}">
                  <a16:creationId xmlns:a16="http://schemas.microsoft.com/office/drawing/2014/main" id="{6ED0F9AE-6850-A56B-6FC5-7311843A810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437779" y="4449331"/>
              <a:ext cx="1836888" cy="1836888"/>
            </a:xfrm>
            <a:prstGeom prst="rect">
              <a:avLst/>
            </a:prstGeom>
          </p:spPr>
        </p:pic>
        <p:pic>
          <p:nvPicPr>
            <p:cNvPr id="28" name="Graphic 48" descr="Badge with solid fill">
              <a:extLst>
                <a:ext uri="{FF2B5EF4-FFF2-40B4-BE49-F238E27FC236}">
                  <a16:creationId xmlns:a16="http://schemas.microsoft.com/office/drawing/2014/main" id="{D8E4A4F1-57E9-AF55-D411-893E1283744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079607" y="5591913"/>
              <a:ext cx="297714" cy="297714"/>
            </a:xfrm>
            <a:prstGeom prst="rect">
              <a:avLst/>
            </a:prstGeom>
            <a:effectLst/>
          </p:spPr>
        </p:pic>
        <p:sp>
          <p:nvSpPr>
            <p:cNvPr id="29" name="Oval 28">
              <a:extLst>
                <a:ext uri="{FF2B5EF4-FFF2-40B4-BE49-F238E27FC236}">
                  <a16:creationId xmlns:a16="http://schemas.microsoft.com/office/drawing/2014/main" id="{3F0C46CE-A431-D47F-3C49-1CE10B46E7C1}"/>
                </a:ext>
              </a:extLst>
            </p:cNvPr>
            <p:cNvSpPr/>
            <p:nvPr/>
          </p:nvSpPr>
          <p:spPr>
            <a:xfrm>
              <a:off x="9565058" y="4959860"/>
              <a:ext cx="709609" cy="683646"/>
            </a:xfrm>
            <a:prstGeom prst="ellipse">
              <a:avLst/>
            </a:prstGeom>
            <a:noFill/>
            <a:ln w="38100" cap="flat" cmpd="sng" algn="ctr">
              <a:solidFill>
                <a:srgbClr val="FFC0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A05356B1-D81C-9E0B-3762-D8E2595B53C2}"/>
                </a:ext>
              </a:extLst>
            </p:cNvPr>
            <p:cNvSpPr/>
            <p:nvPr/>
          </p:nvSpPr>
          <p:spPr>
            <a:xfrm>
              <a:off x="9356222" y="5577972"/>
              <a:ext cx="709609" cy="683646"/>
            </a:xfrm>
            <a:prstGeom prst="ellipse">
              <a:avLst/>
            </a:prstGeom>
            <a:noFill/>
            <a:ln w="38100" cap="flat" cmpd="sng" algn="ctr">
              <a:solidFill>
                <a:srgbClr val="FFC00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33" name="Agrupar 32">
            <a:extLst>
              <a:ext uri="{FF2B5EF4-FFF2-40B4-BE49-F238E27FC236}">
                <a16:creationId xmlns:a16="http://schemas.microsoft.com/office/drawing/2014/main" id="{DD7781A9-7BF6-2451-1D00-30CBD479BC62}"/>
              </a:ext>
            </a:extLst>
          </p:cNvPr>
          <p:cNvGrpSpPr/>
          <p:nvPr/>
        </p:nvGrpSpPr>
        <p:grpSpPr>
          <a:xfrm>
            <a:off x="3458233" y="4651013"/>
            <a:ext cx="1492539" cy="980945"/>
            <a:chOff x="10488056" y="4576585"/>
            <a:chExt cx="1492539" cy="980945"/>
          </a:xfrm>
        </p:grpSpPr>
        <p:pic>
          <p:nvPicPr>
            <p:cNvPr id="31" name="Picture 4">
              <a:extLst>
                <a:ext uri="{FF2B5EF4-FFF2-40B4-BE49-F238E27FC236}">
                  <a16:creationId xmlns:a16="http://schemas.microsoft.com/office/drawing/2014/main" id="{3F44C79E-9FEC-1C76-C6DA-AAF33068221B}"/>
                </a:ext>
              </a:extLst>
            </p:cNvPr>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88056" y="4576585"/>
              <a:ext cx="1411746" cy="832088"/>
            </a:xfrm>
            <a:prstGeom prst="rect">
              <a:avLst/>
            </a:prstGeom>
            <a:noFill/>
            <a:extLst>
              <a:ext uri="{909E8E84-426E-40DD-AFC4-6F175D3DCCD1}">
                <a14:hiddenFill xmlns:a14="http://schemas.microsoft.com/office/drawing/2010/main">
                  <a:solidFill>
                    <a:srgbClr val="FFFFFF"/>
                  </a:solidFill>
                </a14:hiddenFill>
              </a:ext>
            </a:extLst>
          </p:spPr>
        </p:pic>
        <p:pic>
          <p:nvPicPr>
            <p:cNvPr id="32" name="Graphic 53" descr="Badge 3 with solid fill">
              <a:extLst>
                <a:ext uri="{FF2B5EF4-FFF2-40B4-BE49-F238E27FC236}">
                  <a16:creationId xmlns:a16="http://schemas.microsoft.com/office/drawing/2014/main" id="{89646349-55D8-9356-229E-0ED80E366B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682881" y="5259816"/>
              <a:ext cx="297714" cy="297714"/>
            </a:xfrm>
            <a:prstGeom prst="rect">
              <a:avLst/>
            </a:prstGeom>
            <a:effectLst/>
          </p:spPr>
        </p:pic>
      </p:grpSp>
      <p:sp>
        <p:nvSpPr>
          <p:cNvPr id="61" name="Espaço Reservado para Conteúdo 60">
            <a:extLst>
              <a:ext uri="{FF2B5EF4-FFF2-40B4-BE49-F238E27FC236}">
                <a16:creationId xmlns:a16="http://schemas.microsoft.com/office/drawing/2014/main" id="{879C7631-5387-2A5F-E4C0-3D657D520B5E}"/>
              </a:ext>
            </a:extLst>
          </p:cNvPr>
          <p:cNvSpPr>
            <a:spLocks noGrp="1"/>
          </p:cNvSpPr>
          <p:nvPr>
            <p:ph idx="1"/>
          </p:nvPr>
        </p:nvSpPr>
        <p:spPr/>
        <p:txBody>
          <a:bodyPr/>
          <a:lstStyle/>
          <a:p>
            <a:r>
              <a:rPr kumimoji="0" lang="en-US" sz="2400" u="none" strike="noStrike" kern="1200" cap="none" spc="0" normalizeH="0" baseline="0" noProof="0">
                <a:ln>
                  <a:noFill/>
                </a:ln>
                <a:solidFill>
                  <a:schemeClr val="accent1"/>
                </a:solidFill>
                <a:effectLst/>
                <a:uLnTx/>
                <a:uFillTx/>
              </a:rPr>
              <a:t>Electric Aftertreatment Heat New Components</a:t>
            </a:r>
          </a:p>
        </p:txBody>
      </p:sp>
      <p:sp>
        <p:nvSpPr>
          <p:cNvPr id="3" name="Rounded Rectangle 56">
            <a:extLst>
              <a:ext uri="{FF2B5EF4-FFF2-40B4-BE49-F238E27FC236}">
                <a16:creationId xmlns:a16="http://schemas.microsoft.com/office/drawing/2014/main" id="{DAF8AC62-8E2A-B67E-1B57-C36570113CC0}"/>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8" name="Conector Reto 31">
            <a:extLst>
              <a:ext uri="{FF2B5EF4-FFF2-40B4-BE49-F238E27FC236}">
                <a16:creationId xmlns:a16="http://schemas.microsoft.com/office/drawing/2014/main" id="{1E3AEADB-E818-840A-6591-A65F7021351D}"/>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4" name="Conector Reto 75">
            <a:extLst>
              <a:ext uri="{FF2B5EF4-FFF2-40B4-BE49-F238E27FC236}">
                <a16:creationId xmlns:a16="http://schemas.microsoft.com/office/drawing/2014/main" id="{48DD3BEB-BC95-5124-B0DC-1CA6B5490057}"/>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5" name="Conector Reto 31">
            <a:extLst>
              <a:ext uri="{FF2B5EF4-FFF2-40B4-BE49-F238E27FC236}">
                <a16:creationId xmlns:a16="http://schemas.microsoft.com/office/drawing/2014/main" id="{B0E5A223-26B6-53B3-193D-F72E48A69488}"/>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3" name="Conector Reto 31">
            <a:extLst>
              <a:ext uri="{FF2B5EF4-FFF2-40B4-BE49-F238E27FC236}">
                <a16:creationId xmlns:a16="http://schemas.microsoft.com/office/drawing/2014/main" id="{667B4726-4B4D-981D-6635-685501060F92}"/>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4" name="Conector Reto 78">
            <a:extLst>
              <a:ext uri="{FF2B5EF4-FFF2-40B4-BE49-F238E27FC236}">
                <a16:creationId xmlns:a16="http://schemas.microsoft.com/office/drawing/2014/main" id="{D6EB783A-D3E3-E31C-CD9D-667A09D71B46}"/>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5" name="Conector Reto 31">
            <a:extLst>
              <a:ext uri="{FF2B5EF4-FFF2-40B4-BE49-F238E27FC236}">
                <a16:creationId xmlns:a16="http://schemas.microsoft.com/office/drawing/2014/main" id="{64DC69D7-A87A-E19F-A948-4CE0AD308A6E}"/>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46" name="CaixaDeTexto 80">
            <a:extLst>
              <a:ext uri="{FF2B5EF4-FFF2-40B4-BE49-F238E27FC236}">
                <a16:creationId xmlns:a16="http://schemas.microsoft.com/office/drawing/2014/main" id="{375D971F-73BF-6328-BD17-3F4FF242EEC6}"/>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47" name="CaixaDeTexto 81">
            <a:extLst>
              <a:ext uri="{FF2B5EF4-FFF2-40B4-BE49-F238E27FC236}">
                <a16:creationId xmlns:a16="http://schemas.microsoft.com/office/drawing/2014/main" id="{D4FCB927-EA5D-0EA3-FA6E-492D16513736}"/>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48" name="CaixaDeTexto 82">
            <a:extLst>
              <a:ext uri="{FF2B5EF4-FFF2-40B4-BE49-F238E27FC236}">
                <a16:creationId xmlns:a16="http://schemas.microsoft.com/office/drawing/2014/main" id="{CF6C655F-EE2C-9B3A-7391-391AF47DA448}"/>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49" name="CaixaDeTexto 83">
            <a:extLst>
              <a:ext uri="{FF2B5EF4-FFF2-40B4-BE49-F238E27FC236}">
                <a16:creationId xmlns:a16="http://schemas.microsoft.com/office/drawing/2014/main" id="{7302241A-8C1A-F090-6030-9A8CB90AE4DB}"/>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50" name="CaixaDeTexto 84">
            <a:extLst>
              <a:ext uri="{FF2B5EF4-FFF2-40B4-BE49-F238E27FC236}">
                <a16:creationId xmlns:a16="http://schemas.microsoft.com/office/drawing/2014/main" id="{4C3CB494-DC5B-DD28-F623-D67D1BF8C2E0}"/>
              </a:ext>
            </a:extLst>
          </p:cNvPr>
          <p:cNvSpPr txBox="1"/>
          <p:nvPr/>
        </p:nvSpPr>
        <p:spPr>
          <a:xfrm>
            <a:off x="8515425" y="6294672"/>
            <a:ext cx="9217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51" name="CaixaDeTexto 85">
            <a:extLst>
              <a:ext uri="{FF2B5EF4-FFF2-40B4-BE49-F238E27FC236}">
                <a16:creationId xmlns:a16="http://schemas.microsoft.com/office/drawing/2014/main" id="{E47D8E3D-661D-224C-15C5-991B121B253D}"/>
              </a:ext>
            </a:extLst>
          </p:cNvPr>
          <p:cNvSpPr txBox="1"/>
          <p:nvPr/>
        </p:nvSpPr>
        <p:spPr>
          <a:xfrm>
            <a:off x="9437158" y="6294672"/>
            <a:ext cx="79934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52" name="CaixaDeTexto 86">
            <a:extLst>
              <a:ext uri="{FF2B5EF4-FFF2-40B4-BE49-F238E27FC236}">
                <a16:creationId xmlns:a16="http://schemas.microsoft.com/office/drawing/2014/main" id="{B4064AD2-22ED-57B4-C314-770F46A38DB6}"/>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53" name="CaixaDeTexto 87">
            <a:extLst>
              <a:ext uri="{FF2B5EF4-FFF2-40B4-BE49-F238E27FC236}">
                <a16:creationId xmlns:a16="http://schemas.microsoft.com/office/drawing/2014/main" id="{A35ABF84-7019-BD5A-C8D6-F987ACD8E502}"/>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owertrain</a:t>
            </a:r>
          </a:p>
        </p:txBody>
      </p:sp>
      <p:cxnSp>
        <p:nvCxnSpPr>
          <p:cNvPr id="54" name="Conector Reto 31">
            <a:extLst>
              <a:ext uri="{FF2B5EF4-FFF2-40B4-BE49-F238E27FC236}">
                <a16:creationId xmlns:a16="http://schemas.microsoft.com/office/drawing/2014/main" id="{A9C239BE-8921-C782-1D74-77026C57FF06}"/>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5" name="Conector Reto 31">
            <a:extLst>
              <a:ext uri="{FF2B5EF4-FFF2-40B4-BE49-F238E27FC236}">
                <a16:creationId xmlns:a16="http://schemas.microsoft.com/office/drawing/2014/main" id="{2251DA1A-1D4A-57DE-B657-A6F088513A83}"/>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6" name="Conector Reto 17">
            <a:extLst>
              <a:ext uri="{FF2B5EF4-FFF2-40B4-BE49-F238E27FC236}">
                <a16:creationId xmlns:a16="http://schemas.microsoft.com/office/drawing/2014/main" id="{7B0DBB3A-D147-FEA7-54D4-0724EC043D5B}"/>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58" name="Rounded Rectangle 141">
            <a:extLst>
              <a:ext uri="{FF2B5EF4-FFF2-40B4-BE49-F238E27FC236}">
                <a16:creationId xmlns:a16="http://schemas.microsoft.com/office/drawing/2014/main" id="{33E15B47-29F7-21E0-92AA-43F93DE69619}"/>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66" name="CaixaDeTexto 89">
            <a:extLst>
              <a:ext uri="{FF2B5EF4-FFF2-40B4-BE49-F238E27FC236}">
                <a16:creationId xmlns:a16="http://schemas.microsoft.com/office/drawing/2014/main" id="{C17008A0-81AD-283E-AE10-FC49B2F27518}"/>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67" name="Retângulo Arredondado 47">
            <a:extLst>
              <a:ext uri="{FF2B5EF4-FFF2-40B4-BE49-F238E27FC236}">
                <a16:creationId xmlns:a16="http://schemas.microsoft.com/office/drawing/2014/main" id="{F211B8DF-8E94-8E75-7B95-EF6EE4AB164F}"/>
              </a:ext>
            </a:extLst>
          </p:cNvPr>
          <p:cNvSpPr/>
          <p:nvPr/>
        </p:nvSpPr>
        <p:spPr>
          <a:xfrm>
            <a:off x="10456880"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68" name="TextBox 60">
            <a:extLst>
              <a:ext uri="{FF2B5EF4-FFF2-40B4-BE49-F238E27FC236}">
                <a16:creationId xmlns:a16="http://schemas.microsoft.com/office/drawing/2014/main" id="{7E273D8A-30AB-FA3A-39D1-014BB503CB3C}"/>
              </a:ext>
            </a:extLst>
          </p:cNvPr>
          <p:cNvSpPr txBox="1"/>
          <p:nvPr/>
        </p:nvSpPr>
        <p:spPr>
          <a:xfrm>
            <a:off x="10397740"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4/5</a:t>
            </a:r>
          </a:p>
        </p:txBody>
      </p:sp>
      <p:pic>
        <p:nvPicPr>
          <p:cNvPr id="69" name="Gráfico 49" descr="Acento Circunflexo à Direita com preenchimento sólido">
            <a:extLst>
              <a:ext uri="{FF2B5EF4-FFF2-40B4-BE49-F238E27FC236}">
                <a16:creationId xmlns:a16="http://schemas.microsoft.com/office/drawing/2014/main" id="{D8026AEE-F44E-23FD-B9CD-431F046F22E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736231" y="6546689"/>
            <a:ext cx="156462" cy="156462"/>
          </a:xfrm>
          <a:prstGeom prst="rect">
            <a:avLst/>
          </a:prstGeom>
        </p:spPr>
      </p:pic>
      <p:pic>
        <p:nvPicPr>
          <p:cNvPr id="70" name="Gráfico 50" descr="Acento Circunflexo à Direita com preenchimento sólido">
            <a:extLst>
              <a:ext uri="{FF2B5EF4-FFF2-40B4-BE49-F238E27FC236}">
                <a16:creationId xmlns:a16="http://schemas.microsoft.com/office/drawing/2014/main" id="{BC5C0728-9459-6AD9-AC6A-E4DF26F8EE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0800000">
            <a:off x="10320925" y="6546689"/>
            <a:ext cx="156462" cy="156462"/>
          </a:xfrm>
          <a:prstGeom prst="rect">
            <a:avLst/>
          </a:prstGeom>
        </p:spPr>
      </p:pic>
    </p:spTree>
    <p:extLst>
      <p:ext uri="{BB962C8B-B14F-4D97-AF65-F5344CB8AC3E}">
        <p14:creationId xmlns:p14="http://schemas.microsoft.com/office/powerpoint/2010/main" val="4127560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BEB1641-BB5A-82A6-7643-B24FF2A39D16}"/>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7DCF99B8-683F-21E6-3021-BCE382106B23}"/>
              </a:ext>
            </a:extLst>
          </p:cNvPr>
          <p:cNvSpPr/>
          <p:nvPr/>
        </p:nvSpPr>
        <p:spPr>
          <a:xfrm>
            <a:off x="1365504" y="1247695"/>
            <a:ext cx="10039355"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1" name="Retângulo com Canto Diagonal Aparado 10">
            <a:extLst>
              <a:ext uri="{FF2B5EF4-FFF2-40B4-BE49-F238E27FC236}">
                <a16:creationId xmlns:a16="http://schemas.microsoft.com/office/drawing/2014/main" id="{365A0FA0-AEAE-7837-8C5F-67551BE14B8B}"/>
              </a:ext>
            </a:extLst>
          </p:cNvPr>
          <p:cNvSpPr/>
          <p:nvPr/>
        </p:nvSpPr>
        <p:spPr>
          <a:xfrm>
            <a:off x="2544287" y="2484449"/>
            <a:ext cx="5931902" cy="886766"/>
          </a:xfrm>
          <a:prstGeom prst="snip2Diag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14" name="Picture 47">
            <a:extLst>
              <a:ext uri="{FF2B5EF4-FFF2-40B4-BE49-F238E27FC236}">
                <a16:creationId xmlns:a16="http://schemas.microsoft.com/office/drawing/2014/main" id="{36B4813D-9280-3961-2757-9D889EC5BE7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450470" y="1667039"/>
            <a:ext cx="2550310" cy="2550310"/>
          </a:xfrm>
          <a:prstGeom prst="rect">
            <a:avLst/>
          </a:prstGeom>
        </p:spPr>
      </p:pic>
      <p:sp>
        <p:nvSpPr>
          <p:cNvPr id="16" name="CaixaDeTexto 15">
            <a:extLst>
              <a:ext uri="{FF2B5EF4-FFF2-40B4-BE49-F238E27FC236}">
                <a16:creationId xmlns:a16="http://schemas.microsoft.com/office/drawing/2014/main" id="{B92C2B83-0068-94B1-29A8-DF3E79975ED9}"/>
              </a:ext>
            </a:extLst>
          </p:cNvPr>
          <p:cNvSpPr txBox="1"/>
          <p:nvPr/>
        </p:nvSpPr>
        <p:spPr>
          <a:xfrm>
            <a:off x="2573398" y="2111329"/>
            <a:ext cx="200157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Legacy L9 &amp; X12</a:t>
            </a:r>
          </a:p>
        </p:txBody>
      </p:sp>
      <p:sp>
        <p:nvSpPr>
          <p:cNvPr id="17" name="CaixaDeTexto 16">
            <a:extLst>
              <a:ext uri="{FF2B5EF4-FFF2-40B4-BE49-F238E27FC236}">
                <a16:creationId xmlns:a16="http://schemas.microsoft.com/office/drawing/2014/main" id="{2C0BF6C6-677F-4F0F-E762-02457AB8182C}"/>
              </a:ext>
            </a:extLst>
          </p:cNvPr>
          <p:cNvSpPr txBox="1"/>
          <p:nvPr/>
        </p:nvSpPr>
        <p:spPr>
          <a:xfrm>
            <a:off x="4964667" y="2111329"/>
            <a:ext cx="200157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Cummins HELM</a:t>
            </a:r>
            <a:r>
              <a:rPr kumimoji="0" lang="en-US" sz="1400" b="1" i="0" u="none" strike="noStrike" kern="1200" cap="none" spc="0" normalizeH="0" baseline="30000" noProof="0">
                <a:ln>
                  <a:noFill/>
                </a:ln>
                <a:solidFill>
                  <a:prstClr val="black"/>
                </a:solidFill>
                <a:effectLst/>
                <a:uLnTx/>
                <a:uFillTx/>
                <a:latin typeface="Aptos" panose="020B0004020202020204" pitchFamily="34" charset="0"/>
                <a:ea typeface="+mn-ea"/>
                <a:cs typeface="+mn-cs"/>
              </a:rPr>
              <a:t>TM</a:t>
            </a:r>
          </a:p>
        </p:txBody>
      </p:sp>
      <p:sp>
        <p:nvSpPr>
          <p:cNvPr id="18" name="Rectangle: Rounded Corners 42">
            <a:extLst>
              <a:ext uri="{FF2B5EF4-FFF2-40B4-BE49-F238E27FC236}">
                <a16:creationId xmlns:a16="http://schemas.microsoft.com/office/drawing/2014/main" id="{20997C5B-44FD-375B-3292-135378E2A4BB}"/>
              </a:ext>
            </a:extLst>
          </p:cNvPr>
          <p:cNvSpPr/>
          <p:nvPr/>
        </p:nvSpPr>
        <p:spPr>
          <a:xfrm>
            <a:off x="2582624" y="2351687"/>
            <a:ext cx="1851430" cy="1169043"/>
          </a:xfrm>
          <a:prstGeom prst="round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ptos" panose="020B0004020202020204" pitchFamily="34" charset="0"/>
                <a:ea typeface="+mn-ea"/>
                <a:cs typeface="+mn-cs"/>
              </a:rPr>
              <a:t>Perform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ptos" panose="020B0004020202020204" pitchFamily="34" charset="0"/>
                <a:ea typeface="+mn-ea"/>
                <a:cs typeface="+mn-cs"/>
              </a:rPr>
              <a:t>Reli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ptos" panose="020B0004020202020204" pitchFamily="34" charset="0"/>
                <a:ea typeface="+mn-ea"/>
                <a:cs typeface="+mn-cs"/>
              </a:rPr>
              <a:t>Dur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ptos" panose="020B0004020202020204" pitchFamily="34" charset="0"/>
                <a:ea typeface="+mn-ea"/>
                <a:cs typeface="+mn-cs"/>
              </a:rPr>
              <a:t>Serviceability</a:t>
            </a:r>
          </a:p>
        </p:txBody>
      </p:sp>
      <p:sp>
        <p:nvSpPr>
          <p:cNvPr id="19" name="Cross 44">
            <a:extLst>
              <a:ext uri="{FF2B5EF4-FFF2-40B4-BE49-F238E27FC236}">
                <a16:creationId xmlns:a16="http://schemas.microsoft.com/office/drawing/2014/main" id="{3893A51F-AE28-4D68-67D4-F42E66969F16}"/>
              </a:ext>
            </a:extLst>
          </p:cNvPr>
          <p:cNvSpPr/>
          <p:nvPr/>
        </p:nvSpPr>
        <p:spPr>
          <a:xfrm>
            <a:off x="4333237" y="2678482"/>
            <a:ext cx="486137" cy="497711"/>
          </a:xfrm>
          <a:prstGeom prst="plus">
            <a:avLst>
              <a:gd name="adj" fmla="val 41667"/>
            </a:avLst>
          </a:prstGeom>
          <a:solidFill>
            <a:srgbClr val="DA291C"/>
          </a:solidFill>
          <a:ln>
            <a:solidFill>
              <a:srgbClr val="DA29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5" name="Rectangle: Rounded Corners 46">
            <a:extLst>
              <a:ext uri="{FF2B5EF4-FFF2-40B4-BE49-F238E27FC236}">
                <a16:creationId xmlns:a16="http://schemas.microsoft.com/office/drawing/2014/main" id="{3BC6334D-C969-96BA-9D4E-6B6466156435}"/>
              </a:ext>
            </a:extLst>
          </p:cNvPr>
          <p:cNvSpPr/>
          <p:nvPr/>
        </p:nvSpPr>
        <p:spPr>
          <a:xfrm>
            <a:off x="4264275" y="2375019"/>
            <a:ext cx="3591046" cy="1127090"/>
          </a:xfrm>
          <a:prstGeom prst="round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ptos" panose="020B0004020202020204" pitchFamily="34" charset="0"/>
                <a:ea typeface="+mn-ea"/>
                <a:cs typeface="+mn-cs"/>
              </a:rPr>
              <a:t>One Global 10L Experi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ptos" panose="020B0004020202020204" pitchFamily="34" charset="0"/>
                <a:ea typeface="+mn-ea"/>
                <a:cs typeface="+mn-cs"/>
              </a:rPr>
              <a:t>GHG Redu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ptos" panose="020B0004020202020204" pitchFamily="34" charset="0"/>
                <a:ea typeface="+mn-ea"/>
                <a:cs typeface="+mn-cs"/>
              </a:rPr>
              <a:t>Improved Fuel Econom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ptos" panose="020B0004020202020204" pitchFamily="34" charset="0"/>
                <a:ea typeface="+mn-ea"/>
                <a:cs typeface="+mn-cs"/>
              </a:rPr>
              <a:t>Meet Future Emissions Legislation</a:t>
            </a:r>
          </a:p>
        </p:txBody>
      </p:sp>
      <p:cxnSp>
        <p:nvCxnSpPr>
          <p:cNvPr id="26" name="Straight Connector 5">
            <a:extLst>
              <a:ext uri="{FF2B5EF4-FFF2-40B4-BE49-F238E27FC236}">
                <a16:creationId xmlns:a16="http://schemas.microsoft.com/office/drawing/2014/main" id="{7F0851FF-7B76-65C2-3751-9AC01350E2B3}"/>
              </a:ext>
            </a:extLst>
          </p:cNvPr>
          <p:cNvCxnSpPr>
            <a:cxnSpLocks/>
          </p:cNvCxnSpPr>
          <p:nvPr/>
        </p:nvCxnSpPr>
        <p:spPr>
          <a:xfrm>
            <a:off x="3121150" y="4817318"/>
            <a:ext cx="287280" cy="1"/>
          </a:xfrm>
          <a:prstGeom prst="line">
            <a:avLst/>
          </a:prstGeom>
          <a:noFill/>
          <a:ln w="38100" cap="flat" cmpd="sng" algn="ctr">
            <a:solidFill>
              <a:schemeClr val="accent1"/>
            </a:solidFill>
            <a:prstDash val="solid"/>
            <a:miter lim="800000"/>
          </a:ln>
          <a:effectLst/>
        </p:spPr>
      </p:cxnSp>
      <p:sp>
        <p:nvSpPr>
          <p:cNvPr id="27" name="Title 3">
            <a:extLst>
              <a:ext uri="{FF2B5EF4-FFF2-40B4-BE49-F238E27FC236}">
                <a16:creationId xmlns:a16="http://schemas.microsoft.com/office/drawing/2014/main" id="{2AF9D4F1-5A30-3C14-42F4-5A7C04494B3C}"/>
              </a:ext>
            </a:extLst>
          </p:cNvPr>
          <p:cNvSpPr txBox="1">
            <a:spLocks/>
          </p:cNvSpPr>
          <p:nvPr/>
        </p:nvSpPr>
        <p:spPr>
          <a:xfrm>
            <a:off x="2682381" y="4905225"/>
            <a:ext cx="1173688" cy="309407"/>
          </a:xfrm>
          <a:prstGeom prst="rect">
            <a:avLst/>
          </a:prstGeom>
        </p:spPr>
        <p:txBody>
          <a:bodyPr/>
          <a:lstStyle>
            <a:lvl1pPr algn="l" defTabSz="914400" rtl="0" eaLnBrk="1" latinLnBrk="0" hangingPunct="1">
              <a:lnSpc>
                <a:spcPct val="75000"/>
              </a:lnSpc>
              <a:spcBef>
                <a:spcPct val="0"/>
              </a:spcBef>
              <a:buNone/>
              <a:defRPr sz="4800" b="1" i="0" kern="1200">
                <a:solidFill>
                  <a:schemeClr val="tx1"/>
                </a:solidFill>
                <a:latin typeface="Bebas Neue Bold" charset="0"/>
                <a:ea typeface="Bebas Neue Bold" charset="0"/>
                <a:cs typeface="Bebas Neue Bold"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1600" b="1" i="0" u="none" strike="noStrike" kern="1200" cap="none" spc="0" normalizeH="0" baseline="0" noProof="0">
                <a:ln>
                  <a:noFill/>
                </a:ln>
                <a:solidFill>
                  <a:srgbClr val="84A1AC"/>
                </a:solidFill>
                <a:effectLst/>
                <a:uLnTx/>
                <a:uFillTx/>
                <a:latin typeface="Aptos" panose="020B0004020202020204" pitchFamily="34" charset="0"/>
              </a:rPr>
              <a:t>Uptime</a:t>
            </a:r>
          </a:p>
        </p:txBody>
      </p:sp>
      <p:pic>
        <p:nvPicPr>
          <p:cNvPr id="28" name="Picture 34">
            <a:extLst>
              <a:ext uri="{FF2B5EF4-FFF2-40B4-BE49-F238E27FC236}">
                <a16:creationId xmlns:a16="http://schemas.microsoft.com/office/drawing/2014/main" id="{F15410D7-3C59-EACE-4CF8-CE91672762A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029016" y="4072434"/>
            <a:ext cx="461606" cy="530436"/>
          </a:xfrm>
          <a:prstGeom prst="rect">
            <a:avLst/>
          </a:prstGeom>
        </p:spPr>
      </p:pic>
      <p:cxnSp>
        <p:nvCxnSpPr>
          <p:cNvPr id="29" name="Straight Connector 34">
            <a:extLst>
              <a:ext uri="{FF2B5EF4-FFF2-40B4-BE49-F238E27FC236}">
                <a16:creationId xmlns:a16="http://schemas.microsoft.com/office/drawing/2014/main" id="{A377A7A4-2C8F-91A8-3C0B-0A58924ED35C}"/>
              </a:ext>
            </a:extLst>
          </p:cNvPr>
          <p:cNvCxnSpPr>
            <a:cxnSpLocks/>
          </p:cNvCxnSpPr>
          <p:nvPr/>
        </p:nvCxnSpPr>
        <p:spPr>
          <a:xfrm>
            <a:off x="4631119" y="4817318"/>
            <a:ext cx="287280" cy="1"/>
          </a:xfrm>
          <a:prstGeom prst="line">
            <a:avLst/>
          </a:prstGeom>
          <a:noFill/>
          <a:ln w="38100" cap="flat" cmpd="sng" algn="ctr">
            <a:solidFill>
              <a:schemeClr val="accent1"/>
            </a:solidFill>
            <a:prstDash val="solid"/>
            <a:miter lim="800000"/>
          </a:ln>
          <a:effectLst/>
        </p:spPr>
      </p:cxnSp>
      <p:sp>
        <p:nvSpPr>
          <p:cNvPr id="30" name="Title 3">
            <a:extLst>
              <a:ext uri="{FF2B5EF4-FFF2-40B4-BE49-F238E27FC236}">
                <a16:creationId xmlns:a16="http://schemas.microsoft.com/office/drawing/2014/main" id="{FDAD3D58-807C-AEA1-196F-192A5EF24203}"/>
              </a:ext>
            </a:extLst>
          </p:cNvPr>
          <p:cNvSpPr txBox="1">
            <a:spLocks/>
          </p:cNvSpPr>
          <p:nvPr/>
        </p:nvSpPr>
        <p:spPr>
          <a:xfrm>
            <a:off x="4062080" y="4898534"/>
            <a:ext cx="1515311" cy="262936"/>
          </a:xfrm>
          <a:prstGeom prst="rect">
            <a:avLst/>
          </a:prstGeom>
        </p:spPr>
        <p:txBody>
          <a:bodyPr/>
          <a:lstStyle>
            <a:lvl1pPr algn="l" defTabSz="914400" rtl="0" eaLnBrk="1" latinLnBrk="0" hangingPunct="1">
              <a:lnSpc>
                <a:spcPct val="75000"/>
              </a:lnSpc>
              <a:spcBef>
                <a:spcPct val="0"/>
              </a:spcBef>
              <a:buNone/>
              <a:defRPr sz="4800" b="1" i="0" kern="1200">
                <a:solidFill>
                  <a:schemeClr val="tx1"/>
                </a:solidFill>
                <a:latin typeface="Bebas Neue Bold" charset="0"/>
                <a:ea typeface="Bebas Neue Bold" charset="0"/>
                <a:cs typeface="Bebas Neue Bold"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1600" b="1" i="0" u="none" strike="noStrike" kern="1200" cap="none" spc="0" normalizeH="0" baseline="0" noProof="0">
                <a:ln>
                  <a:noFill/>
                </a:ln>
                <a:solidFill>
                  <a:srgbClr val="84A1AC"/>
                </a:solidFill>
                <a:effectLst/>
                <a:uLnTx/>
                <a:uFillTx/>
                <a:latin typeface="Aptos" panose="020B0004020202020204" pitchFamily="34" charset="0"/>
              </a:rPr>
              <a:t>Maintenance</a:t>
            </a:r>
          </a:p>
        </p:txBody>
      </p:sp>
      <p:pic>
        <p:nvPicPr>
          <p:cNvPr id="31" name="Picture 38">
            <a:extLst>
              <a:ext uri="{FF2B5EF4-FFF2-40B4-BE49-F238E27FC236}">
                <a16:creationId xmlns:a16="http://schemas.microsoft.com/office/drawing/2014/main" id="{B98048BA-6458-DA2D-F138-AA9299E5E07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492601" y="4099141"/>
            <a:ext cx="550847" cy="530436"/>
          </a:xfrm>
          <a:prstGeom prst="rect">
            <a:avLst/>
          </a:prstGeom>
        </p:spPr>
      </p:pic>
      <p:cxnSp>
        <p:nvCxnSpPr>
          <p:cNvPr id="32" name="Straight Connector 46">
            <a:extLst>
              <a:ext uri="{FF2B5EF4-FFF2-40B4-BE49-F238E27FC236}">
                <a16:creationId xmlns:a16="http://schemas.microsoft.com/office/drawing/2014/main" id="{574B54F7-2E29-183B-F96C-07989A0DAC84}"/>
              </a:ext>
            </a:extLst>
          </p:cNvPr>
          <p:cNvCxnSpPr>
            <a:cxnSpLocks/>
          </p:cNvCxnSpPr>
          <p:nvPr/>
        </p:nvCxnSpPr>
        <p:spPr>
          <a:xfrm>
            <a:off x="6325090" y="4817318"/>
            <a:ext cx="287280" cy="1"/>
          </a:xfrm>
          <a:prstGeom prst="line">
            <a:avLst/>
          </a:prstGeom>
          <a:noFill/>
          <a:ln w="38100" cap="flat" cmpd="sng" algn="ctr">
            <a:solidFill>
              <a:schemeClr val="accent1"/>
            </a:solidFill>
            <a:prstDash val="solid"/>
            <a:miter lim="800000"/>
          </a:ln>
          <a:effectLst/>
        </p:spPr>
      </p:cxnSp>
      <p:sp>
        <p:nvSpPr>
          <p:cNvPr id="33" name="Title 3">
            <a:extLst>
              <a:ext uri="{FF2B5EF4-FFF2-40B4-BE49-F238E27FC236}">
                <a16:creationId xmlns:a16="http://schemas.microsoft.com/office/drawing/2014/main" id="{8BDCEBC6-9F6C-031B-B57F-B3F58508B624}"/>
              </a:ext>
            </a:extLst>
          </p:cNvPr>
          <p:cNvSpPr txBox="1">
            <a:spLocks/>
          </p:cNvSpPr>
          <p:nvPr/>
        </p:nvSpPr>
        <p:spPr>
          <a:xfrm>
            <a:off x="5707174" y="4919746"/>
            <a:ext cx="1515311" cy="316151"/>
          </a:xfrm>
          <a:prstGeom prst="rect">
            <a:avLst/>
          </a:prstGeom>
        </p:spPr>
        <p:txBody>
          <a:bodyPr/>
          <a:lstStyle>
            <a:lvl1pPr algn="l" defTabSz="914400" rtl="0" eaLnBrk="1" latinLnBrk="0" hangingPunct="1">
              <a:lnSpc>
                <a:spcPct val="75000"/>
              </a:lnSpc>
              <a:spcBef>
                <a:spcPct val="0"/>
              </a:spcBef>
              <a:buNone/>
              <a:defRPr sz="4800" b="1" i="0" kern="1200">
                <a:solidFill>
                  <a:schemeClr val="tx1"/>
                </a:solidFill>
                <a:latin typeface="Bebas Neue Bold" charset="0"/>
                <a:ea typeface="Bebas Neue Bold" charset="0"/>
                <a:cs typeface="Bebas Neue Bold"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1600" b="1" i="0" u="none" strike="noStrike" kern="1200" cap="none" spc="0" normalizeH="0" baseline="0" noProof="0">
                <a:ln>
                  <a:noFill/>
                </a:ln>
                <a:solidFill>
                  <a:srgbClr val="84A1AC"/>
                </a:solidFill>
                <a:effectLst/>
                <a:uLnTx/>
                <a:uFillTx/>
                <a:latin typeface="Aptos" panose="020B0004020202020204" pitchFamily="34" charset="0"/>
              </a:rPr>
              <a:t>Performance</a:t>
            </a:r>
          </a:p>
        </p:txBody>
      </p:sp>
      <p:pic>
        <p:nvPicPr>
          <p:cNvPr id="34" name="Picture 41">
            <a:extLst>
              <a:ext uri="{FF2B5EF4-FFF2-40B4-BE49-F238E27FC236}">
                <a16:creationId xmlns:a16="http://schemas.microsoft.com/office/drawing/2014/main" id="{375BAC51-80EE-8481-061F-AB01AC8B5FE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94306" y="4151376"/>
            <a:ext cx="530064" cy="530436"/>
          </a:xfrm>
          <a:prstGeom prst="rect">
            <a:avLst/>
          </a:prstGeom>
        </p:spPr>
      </p:pic>
      <p:sp>
        <p:nvSpPr>
          <p:cNvPr id="48" name="TextBox 3">
            <a:extLst>
              <a:ext uri="{FF2B5EF4-FFF2-40B4-BE49-F238E27FC236}">
                <a16:creationId xmlns:a16="http://schemas.microsoft.com/office/drawing/2014/main" id="{B7CAB7E3-0BCF-AB5D-9B89-DE0D6D9EFF6B}"/>
              </a:ext>
            </a:extLst>
          </p:cNvPr>
          <p:cNvSpPr txBox="1"/>
          <p:nvPr/>
        </p:nvSpPr>
        <p:spPr>
          <a:xfrm>
            <a:off x="7691095" y="4305171"/>
            <a:ext cx="3298562" cy="938719"/>
          </a:xfrm>
          <a:prstGeom prst="rect">
            <a:avLst/>
          </a:prstGeom>
          <a:noFill/>
        </p:spPr>
        <p:txBody>
          <a:bodyPr wrap="square">
            <a:spAutoFit/>
          </a:bodyPr>
          <a:lstStyle/>
          <a:p>
            <a:pPr marL="108000" marR="0" lvl="0" indent="-108000" algn="l" defTabSz="914400" rtl="0" eaLnBrk="1" fontAlgn="ctr"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Clean sheet engine, 100% change in parts/components</a:t>
            </a:r>
          </a:p>
          <a:p>
            <a:pPr marL="108000" marR="0" lvl="0" indent="-108000" algn="l" defTabSz="914400" rtl="0" eaLnBrk="1" fontAlgn="ctr"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srgbClr val="000000"/>
                </a:solidFill>
                <a:effectLst/>
                <a:uLnTx/>
                <a:uFillTx/>
                <a:latin typeface="Aptos" panose="02110004020202020204"/>
                <a:ea typeface="+mn-ea"/>
                <a:cs typeface="+mn-cs"/>
              </a:rPr>
              <a:t>NO</a:t>
            </a:r>
            <a:r>
              <a:rPr kumimoji="0" lang="en-US" sz="1100" b="0" i="0" u="none" strike="noStrike" kern="1200" cap="none" spc="0" normalizeH="0" baseline="-25000" noProof="0">
                <a:ln>
                  <a:noFill/>
                </a:ln>
                <a:solidFill>
                  <a:srgbClr val="000000"/>
                </a:solidFill>
                <a:effectLst/>
                <a:uLnTx/>
                <a:uFillTx/>
                <a:latin typeface="Aptos" panose="02110004020202020204"/>
                <a:ea typeface="+mn-ea"/>
                <a:cs typeface="+mn-cs"/>
              </a:rPr>
              <a:t>X</a:t>
            </a: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 reduction</a:t>
            </a:r>
          </a:p>
          <a:p>
            <a:pPr marL="108000" marR="0" lvl="0" indent="-108000" algn="l" defTabSz="914400" rtl="0" eaLnBrk="1" fontAlgn="ctr"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EPA and CARB Compliance</a:t>
            </a:r>
          </a:p>
          <a:p>
            <a:pPr marL="108000" marR="0" lvl="0" indent="-108000" algn="l" defTabSz="914400" rtl="0" eaLnBrk="1" fontAlgn="ctr"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Fuel efficiency improvement</a:t>
            </a:r>
          </a:p>
        </p:txBody>
      </p:sp>
      <p:sp>
        <p:nvSpPr>
          <p:cNvPr id="60" name="Espaço Reservado para Conteúdo 59">
            <a:extLst>
              <a:ext uri="{FF2B5EF4-FFF2-40B4-BE49-F238E27FC236}">
                <a16:creationId xmlns:a16="http://schemas.microsoft.com/office/drawing/2014/main" id="{280470F6-47A0-42E7-1AA0-6E9F46B084F9}"/>
              </a:ext>
            </a:extLst>
          </p:cNvPr>
          <p:cNvSpPr>
            <a:spLocks noGrp="1"/>
          </p:cNvSpPr>
          <p:nvPr>
            <p:ph idx="1"/>
          </p:nvPr>
        </p:nvSpPr>
        <p:spPr/>
        <p:txBody>
          <a:bodyPr/>
          <a:lstStyle/>
          <a:p>
            <a:r>
              <a:rPr kumimoji="0" lang="en-US" sz="2400" b="1" u="none" strike="noStrike" kern="1200" cap="none" spc="0" normalizeH="0" baseline="0" noProof="0">
                <a:ln>
                  <a:noFill/>
                </a:ln>
                <a:solidFill>
                  <a:schemeClr val="accent1"/>
                </a:solidFill>
                <a:effectLst/>
                <a:uLnTx/>
                <a:uFillTx/>
                <a:latin typeface="Aptos" panose="020B0004020202020204" pitchFamily="34" charset="0"/>
              </a:rPr>
              <a:t>Building Our Legacy</a:t>
            </a:r>
          </a:p>
        </p:txBody>
      </p:sp>
      <p:sp>
        <p:nvSpPr>
          <p:cNvPr id="3" name="Rounded Rectangle 56">
            <a:extLst>
              <a:ext uri="{FF2B5EF4-FFF2-40B4-BE49-F238E27FC236}">
                <a16:creationId xmlns:a16="http://schemas.microsoft.com/office/drawing/2014/main" id="{C84076EA-944B-B103-1C95-5765F027FC82}"/>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8" name="Conector Reto 31">
            <a:extLst>
              <a:ext uri="{FF2B5EF4-FFF2-40B4-BE49-F238E27FC236}">
                <a16:creationId xmlns:a16="http://schemas.microsoft.com/office/drawing/2014/main" id="{FACF4E3F-0076-C6BB-877D-89B208B801B0}"/>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 name="Conector Reto 75">
            <a:extLst>
              <a:ext uri="{FF2B5EF4-FFF2-40B4-BE49-F238E27FC236}">
                <a16:creationId xmlns:a16="http://schemas.microsoft.com/office/drawing/2014/main" id="{29FA14C1-7C9D-2D81-2EC3-A297E0F559EB}"/>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3" name="Conector Reto 31">
            <a:extLst>
              <a:ext uri="{FF2B5EF4-FFF2-40B4-BE49-F238E27FC236}">
                <a16:creationId xmlns:a16="http://schemas.microsoft.com/office/drawing/2014/main" id="{775952DF-F00C-657F-6341-36C7436616C7}"/>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5" name="Conector Reto 31">
            <a:extLst>
              <a:ext uri="{FF2B5EF4-FFF2-40B4-BE49-F238E27FC236}">
                <a16:creationId xmlns:a16="http://schemas.microsoft.com/office/drawing/2014/main" id="{8D56E12B-4EF9-C24B-3450-E1AAE5E631AE}"/>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78">
            <a:extLst>
              <a:ext uri="{FF2B5EF4-FFF2-40B4-BE49-F238E27FC236}">
                <a16:creationId xmlns:a16="http://schemas.microsoft.com/office/drawing/2014/main" id="{EEA5070B-F39D-2A97-5802-6D719612C243}"/>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31">
            <a:extLst>
              <a:ext uri="{FF2B5EF4-FFF2-40B4-BE49-F238E27FC236}">
                <a16:creationId xmlns:a16="http://schemas.microsoft.com/office/drawing/2014/main" id="{6A19B141-B4BA-66B9-FC8B-A500894E046E}"/>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4" name="CaixaDeTexto 80">
            <a:extLst>
              <a:ext uri="{FF2B5EF4-FFF2-40B4-BE49-F238E27FC236}">
                <a16:creationId xmlns:a16="http://schemas.microsoft.com/office/drawing/2014/main" id="{B1E63FF9-48D2-86F6-7C9A-BBB7069DF160}"/>
              </a:ext>
            </a:extLst>
          </p:cNvPr>
          <p:cNvSpPr txBox="1"/>
          <p:nvPr/>
        </p:nvSpPr>
        <p:spPr>
          <a:xfrm>
            <a:off x="783241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35" name="CaixaDeTexto 81">
            <a:extLst>
              <a:ext uri="{FF2B5EF4-FFF2-40B4-BE49-F238E27FC236}">
                <a16:creationId xmlns:a16="http://schemas.microsoft.com/office/drawing/2014/main" id="{446E239B-AD0E-C84E-3B47-4EF6549DBE8B}"/>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43" name="CaixaDeTexto 82">
            <a:extLst>
              <a:ext uri="{FF2B5EF4-FFF2-40B4-BE49-F238E27FC236}">
                <a16:creationId xmlns:a16="http://schemas.microsoft.com/office/drawing/2014/main" id="{4FF7F4EC-455E-7A6C-392E-4CAC7EFAA1E0}"/>
              </a:ext>
            </a:extLst>
          </p:cNvPr>
          <p:cNvSpPr txBox="1"/>
          <p:nvPr/>
        </p:nvSpPr>
        <p:spPr>
          <a:xfrm>
            <a:off x="6457787" y="6294672"/>
            <a:ext cx="1398852"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44" name="CaixaDeTexto 83">
            <a:extLst>
              <a:ext uri="{FF2B5EF4-FFF2-40B4-BE49-F238E27FC236}">
                <a16:creationId xmlns:a16="http://schemas.microsoft.com/office/drawing/2014/main" id="{FAB17445-43FF-D251-9F5D-3A8938A43440}"/>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45" name="CaixaDeTexto 84">
            <a:extLst>
              <a:ext uri="{FF2B5EF4-FFF2-40B4-BE49-F238E27FC236}">
                <a16:creationId xmlns:a16="http://schemas.microsoft.com/office/drawing/2014/main" id="{C540A208-B733-6CCB-4157-603C617119ED}"/>
              </a:ext>
            </a:extLst>
          </p:cNvPr>
          <p:cNvSpPr txBox="1"/>
          <p:nvPr/>
        </p:nvSpPr>
        <p:spPr>
          <a:xfrm>
            <a:off x="8515425" y="6294672"/>
            <a:ext cx="9217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46" name="CaixaDeTexto 85">
            <a:extLst>
              <a:ext uri="{FF2B5EF4-FFF2-40B4-BE49-F238E27FC236}">
                <a16:creationId xmlns:a16="http://schemas.microsoft.com/office/drawing/2014/main" id="{540DB049-3730-4B06-F881-EED327DF63D1}"/>
              </a:ext>
            </a:extLst>
          </p:cNvPr>
          <p:cNvSpPr txBox="1"/>
          <p:nvPr/>
        </p:nvSpPr>
        <p:spPr>
          <a:xfrm>
            <a:off x="9437158" y="6294672"/>
            <a:ext cx="79934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47" name="CaixaDeTexto 86">
            <a:extLst>
              <a:ext uri="{FF2B5EF4-FFF2-40B4-BE49-F238E27FC236}">
                <a16:creationId xmlns:a16="http://schemas.microsoft.com/office/drawing/2014/main" id="{C9A73C27-051E-49C2-64EF-3F8053790B15}"/>
              </a:ext>
            </a:extLst>
          </p:cNvPr>
          <p:cNvSpPr txBox="1"/>
          <p:nvPr/>
        </p:nvSpPr>
        <p:spPr>
          <a:xfrm>
            <a:off x="5820233" y="6290059"/>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50" name="CaixaDeTexto 87">
            <a:extLst>
              <a:ext uri="{FF2B5EF4-FFF2-40B4-BE49-F238E27FC236}">
                <a16:creationId xmlns:a16="http://schemas.microsoft.com/office/drawing/2014/main" id="{A9993516-3EA6-9CED-141A-F491E7DA7D9F}"/>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owertrain</a:t>
            </a:r>
          </a:p>
        </p:txBody>
      </p:sp>
      <p:cxnSp>
        <p:nvCxnSpPr>
          <p:cNvPr id="51" name="Conector Reto 31">
            <a:extLst>
              <a:ext uri="{FF2B5EF4-FFF2-40B4-BE49-F238E27FC236}">
                <a16:creationId xmlns:a16="http://schemas.microsoft.com/office/drawing/2014/main" id="{B89734B2-3D51-9BB6-0B79-2AD2746671B2}"/>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2" name="Conector Reto 31">
            <a:extLst>
              <a:ext uri="{FF2B5EF4-FFF2-40B4-BE49-F238E27FC236}">
                <a16:creationId xmlns:a16="http://schemas.microsoft.com/office/drawing/2014/main" id="{A0BD0CFF-90D9-43EF-E590-602FE57A64B9}"/>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3" name="Conector Reto 17">
            <a:extLst>
              <a:ext uri="{FF2B5EF4-FFF2-40B4-BE49-F238E27FC236}">
                <a16:creationId xmlns:a16="http://schemas.microsoft.com/office/drawing/2014/main" id="{E549404B-56EE-4896-A7FD-99FC42478A04}"/>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54" name="Rounded Rectangle 141">
            <a:extLst>
              <a:ext uri="{FF2B5EF4-FFF2-40B4-BE49-F238E27FC236}">
                <a16:creationId xmlns:a16="http://schemas.microsoft.com/office/drawing/2014/main" id="{7CFF78EF-52E7-1D2D-C576-BA9B92FF552A}"/>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55" name="CaixaDeTexto 89">
            <a:extLst>
              <a:ext uri="{FF2B5EF4-FFF2-40B4-BE49-F238E27FC236}">
                <a16:creationId xmlns:a16="http://schemas.microsoft.com/office/drawing/2014/main" id="{BC08DF11-68D4-0795-8427-C48F3A1956B9}"/>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56" name="Retângulo Arredondado 47">
            <a:extLst>
              <a:ext uri="{FF2B5EF4-FFF2-40B4-BE49-F238E27FC236}">
                <a16:creationId xmlns:a16="http://schemas.microsoft.com/office/drawing/2014/main" id="{E063D29D-C6E1-1C21-6B84-0F572F154EC4}"/>
              </a:ext>
            </a:extLst>
          </p:cNvPr>
          <p:cNvSpPr/>
          <p:nvPr/>
        </p:nvSpPr>
        <p:spPr>
          <a:xfrm>
            <a:off x="10456880"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57" name="TextBox 60">
            <a:extLst>
              <a:ext uri="{FF2B5EF4-FFF2-40B4-BE49-F238E27FC236}">
                <a16:creationId xmlns:a16="http://schemas.microsoft.com/office/drawing/2014/main" id="{5735899F-0E65-0F90-0FBD-4C3120A81227}"/>
              </a:ext>
            </a:extLst>
          </p:cNvPr>
          <p:cNvSpPr txBox="1"/>
          <p:nvPr/>
        </p:nvSpPr>
        <p:spPr>
          <a:xfrm>
            <a:off x="10397740"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5/5</a:t>
            </a:r>
          </a:p>
        </p:txBody>
      </p:sp>
      <p:pic>
        <p:nvPicPr>
          <p:cNvPr id="65" name="Gráfico 50" descr="Acento Circunflexo à Direita com preenchimento sólido">
            <a:extLst>
              <a:ext uri="{FF2B5EF4-FFF2-40B4-BE49-F238E27FC236}">
                <a16:creationId xmlns:a16="http://schemas.microsoft.com/office/drawing/2014/main" id="{9084E6C7-49AA-0BF3-96C2-9A398B2EC25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10320925" y="6546689"/>
            <a:ext cx="156462" cy="156462"/>
          </a:xfrm>
          <a:prstGeom prst="rect">
            <a:avLst/>
          </a:prstGeom>
        </p:spPr>
      </p:pic>
    </p:spTree>
    <p:extLst>
      <p:ext uri="{BB962C8B-B14F-4D97-AF65-F5344CB8AC3E}">
        <p14:creationId xmlns:p14="http://schemas.microsoft.com/office/powerpoint/2010/main" val="41407095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62BFC-2521-40A8-5F9B-B19719D3A9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C67193-F946-FFB8-3EBC-5732AB7A0625}"/>
              </a:ext>
            </a:extLst>
          </p:cNvPr>
          <p:cNvSpPr txBox="1">
            <a:spLocks/>
          </p:cNvSpPr>
          <p:nvPr/>
        </p:nvSpPr>
        <p:spPr>
          <a:xfrm>
            <a:off x="815248" y="657922"/>
            <a:ext cx="4740599" cy="5386039"/>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0000"/>
                </a:solidFill>
                <a:effectLst/>
                <a:uLnTx/>
                <a:uFillTx/>
                <a:latin typeface="Aptos" panose="020B0004020202020204" pitchFamily="34" charset="0"/>
                <a:cs typeface="Arial" panose="020B0604020202020204" pitchFamily="34" charset="0"/>
              </a:rPr>
              <a:t>Agenda</a:t>
            </a:r>
          </a:p>
        </p:txBody>
      </p:sp>
      <p:sp>
        <p:nvSpPr>
          <p:cNvPr id="3" name="TextBox 2">
            <a:extLst>
              <a:ext uri="{FF2B5EF4-FFF2-40B4-BE49-F238E27FC236}">
                <a16:creationId xmlns:a16="http://schemas.microsoft.com/office/drawing/2014/main" id="{D97DD4BB-CFB7-96D1-70AE-A003C3CCFA7A}"/>
              </a:ext>
            </a:extLst>
          </p:cNvPr>
          <p:cNvSpPr txBox="1"/>
          <p:nvPr/>
        </p:nvSpPr>
        <p:spPr>
          <a:xfrm>
            <a:off x="4321844" y="1528480"/>
            <a:ext cx="7751526" cy="3801041"/>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110004020202020204"/>
              <a:ea typeface="+mn-lt"/>
              <a:cs typeface="+mn-lt"/>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X10 Update </a:t>
            </a:r>
            <a:r>
              <a:rPr kumimoji="0" lang="en-US" sz="12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Greg Bohn)</a:t>
            </a:r>
            <a:endParaRPr kumimoji="0" lang="en-US" sz="28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rgbClr val="000000"/>
                </a:solidFill>
                <a:effectLst/>
                <a:uLnTx/>
                <a:uFillTx/>
                <a:latin typeface="Aptos" panose="02110004020202020204"/>
                <a:ea typeface="+mn-lt"/>
                <a:cs typeface="+mn-lt"/>
              </a:rPr>
              <a:t>L9 Routine Maintenance </a:t>
            </a:r>
            <a:r>
              <a:rPr kumimoji="0" lang="en-US" sz="1200" b="1" i="0" u="none" strike="noStrike" kern="1200" cap="none" spc="0" normalizeH="0" baseline="0" noProof="0" dirty="0">
                <a:ln>
                  <a:noFill/>
                </a:ln>
                <a:solidFill>
                  <a:srgbClr val="FF0000"/>
                </a:solidFill>
                <a:effectLst/>
                <a:uLnTx/>
                <a:uFillTx/>
                <a:latin typeface="Aptos" panose="02110004020202020204"/>
                <a:ea typeface="+mn-lt"/>
                <a:cs typeface="+mn-lt"/>
              </a:rPr>
              <a:t>(Rob Craig)</a:t>
            </a:r>
            <a:endParaRPr kumimoji="0" lang="en-US" sz="20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D9281C"/>
              </a:solidFill>
              <a:effectLst/>
              <a:uLnTx/>
              <a:uFillTx/>
              <a:latin typeface="Aptos"/>
              <a:ea typeface="+mn-ea"/>
              <a:cs typeface="+mn-cs"/>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err="1">
                <a:ln>
                  <a:noFill/>
                </a:ln>
                <a:solidFill>
                  <a:schemeClr val="bg1">
                    <a:lumMod val="95000"/>
                  </a:schemeClr>
                </a:solidFill>
                <a:effectLst/>
                <a:uLnTx/>
                <a:uFillTx/>
                <a:latin typeface="Aptos"/>
                <a:ea typeface="+mn-ea"/>
                <a:cs typeface="+mn-cs"/>
              </a:rPr>
              <a:t>Quickserve</a:t>
            </a:r>
            <a:r>
              <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rPr>
              <a:t> Online </a:t>
            </a:r>
            <a:r>
              <a:rPr kumimoji="0" lang="en-US" sz="1200" b="1" i="0" u="none" strike="noStrike" kern="1200" cap="none" spc="0" normalizeH="0" baseline="0" noProof="0" dirty="0">
                <a:ln>
                  <a:noFill/>
                </a:ln>
                <a:solidFill>
                  <a:schemeClr val="bg1">
                    <a:lumMod val="95000"/>
                  </a:schemeClr>
                </a:solidFill>
                <a:effectLst/>
                <a:uLnTx/>
                <a:uFillTx/>
                <a:latin typeface="Aptos"/>
                <a:ea typeface="+mn-ea"/>
                <a:cs typeface="+mn-cs"/>
              </a:rPr>
              <a:t>(Rob Craig)</a:t>
            </a:r>
            <a:endPar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rPr>
              <a:t>	</a:t>
            </a:r>
            <a:r>
              <a:rPr kumimoji="0" lang="en-US" sz="1600" b="1" i="0" u="none" strike="noStrike" kern="1200" cap="none" spc="0" normalizeH="0" baseline="0" noProof="0" dirty="0">
                <a:ln>
                  <a:noFill/>
                </a:ln>
                <a:solidFill>
                  <a:schemeClr val="bg1">
                    <a:lumMod val="95000"/>
                  </a:schemeClr>
                </a:solidFill>
                <a:effectLst/>
                <a:uLnTx/>
                <a:uFillTx/>
                <a:latin typeface="Aptos"/>
                <a:ea typeface="+mn-ea"/>
                <a:cs typeface="+mn-cs"/>
              </a:rPr>
              <a:t>Live Demo</a:t>
            </a:r>
            <a:endPar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rPr>
              <a:t>Diagnostic Service Tool (INSITE / </a:t>
            </a:r>
            <a:r>
              <a:rPr kumimoji="0" lang="en-US" sz="2800" b="1" i="0" u="none" strike="noStrike" kern="1200" cap="none" spc="0" normalizeH="0" baseline="0" noProof="0" dirty="0" err="1">
                <a:ln>
                  <a:noFill/>
                </a:ln>
                <a:solidFill>
                  <a:schemeClr val="bg1">
                    <a:lumMod val="95000"/>
                  </a:schemeClr>
                </a:solidFill>
                <a:effectLst/>
                <a:uLnTx/>
                <a:uFillTx/>
                <a:latin typeface="Aptos"/>
                <a:ea typeface="+mn-ea"/>
                <a:cs typeface="+mn-cs"/>
              </a:rPr>
              <a:t>Guidanz</a:t>
            </a:r>
            <a:r>
              <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rPr>
              <a:t> Diagnostic Toolkit) </a:t>
            </a:r>
            <a:r>
              <a:rPr kumimoji="0" lang="en-US" sz="1200" b="1" i="0" u="none" strike="noStrike" kern="1200" cap="none" spc="0" normalizeH="0" baseline="0" noProof="0" dirty="0">
                <a:ln>
                  <a:noFill/>
                </a:ln>
                <a:solidFill>
                  <a:schemeClr val="bg1">
                    <a:lumMod val="95000"/>
                  </a:schemeClr>
                </a:solidFill>
                <a:effectLst/>
                <a:uLnTx/>
                <a:uFillTx/>
                <a:latin typeface="Aptos"/>
                <a:ea typeface="+mn-ea"/>
                <a:cs typeface="+mn-cs"/>
              </a:rPr>
              <a:t>(Rob Craig)</a:t>
            </a:r>
            <a:endParaRPr kumimoji="0" lang="en-US" sz="2800" b="0" i="0" u="none" strike="noStrike" kern="1200" cap="none" spc="0" normalizeH="0" baseline="0" noProof="0" dirty="0">
              <a:ln>
                <a:noFill/>
              </a:ln>
              <a:solidFill>
                <a:schemeClr val="bg1">
                  <a:lumMod val="95000"/>
                </a:schemeClr>
              </a:solidFill>
              <a:effectLst/>
              <a:uLnTx/>
              <a:uFillTx/>
              <a:latin typeface="Aptos"/>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6" name="Text Placeholder 5">
            <a:extLst>
              <a:ext uri="{FF2B5EF4-FFF2-40B4-BE49-F238E27FC236}">
                <a16:creationId xmlns:a16="http://schemas.microsoft.com/office/drawing/2014/main" id="{23B595FB-2A96-96D4-12A8-7702DF026E3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1143966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F320E1-FED6-F831-4F14-29BE326C14D5}"/>
              </a:ext>
            </a:extLst>
          </p:cNvPr>
          <p:cNvSpPr>
            <a:spLocks noGrp="1"/>
          </p:cNvSpPr>
          <p:nvPr>
            <p:ph type="body" sz="quarter" idx="11"/>
          </p:nvPr>
        </p:nvSpPr>
        <p:spPr/>
        <p:txBody>
          <a:bodyPr/>
          <a:lstStyle/>
          <a:p>
            <a:endParaRPr lang="en-US"/>
          </a:p>
        </p:txBody>
      </p:sp>
      <p:sp>
        <p:nvSpPr>
          <p:cNvPr id="4" name="Title 1">
            <a:extLst>
              <a:ext uri="{FF2B5EF4-FFF2-40B4-BE49-F238E27FC236}">
                <a16:creationId xmlns:a16="http://schemas.microsoft.com/office/drawing/2014/main" id="{F929D059-787E-2767-398A-9F56D0722C46}"/>
              </a:ext>
            </a:extLst>
          </p:cNvPr>
          <p:cNvSpPr txBox="1">
            <a:spLocks/>
          </p:cNvSpPr>
          <p:nvPr/>
        </p:nvSpPr>
        <p:spPr>
          <a:xfrm>
            <a:off x="127221" y="179753"/>
            <a:ext cx="12406313" cy="552094"/>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L9 | </a:t>
            </a:r>
            <a:r>
              <a:rPr lang="en-US" sz="3400" dirty="0">
                <a:solidFill>
                  <a:srgbClr val="000000"/>
                </a:solidFill>
                <a:latin typeface="Roboto" panose="02000000000000000000" pitchFamily="2" charset="0"/>
                <a:ea typeface="Roboto" panose="02000000000000000000" pitchFamily="2" charset="0"/>
                <a:cs typeface="Roboto" panose="02000000000000000000" pitchFamily="2" charset="0"/>
              </a:rPr>
              <a:t>Daily Checks</a:t>
            </a:r>
            <a:endPar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 name="Rectangle 4">
            <a:extLst>
              <a:ext uri="{FF2B5EF4-FFF2-40B4-BE49-F238E27FC236}">
                <a16:creationId xmlns:a16="http://schemas.microsoft.com/office/drawing/2014/main" id="{751E09C8-E993-D68B-2EC3-AE94767986BB}"/>
              </a:ext>
            </a:extLst>
          </p:cNvPr>
          <p:cNvSpPr/>
          <p:nvPr/>
        </p:nvSpPr>
        <p:spPr>
          <a:xfrm>
            <a:off x="462987" y="1192192"/>
            <a:ext cx="11308466" cy="4768770"/>
          </a:xfrm>
          <a:prstGeom prst="rect">
            <a:avLst/>
          </a:prstGeom>
          <a:gradFill>
            <a:gsLst>
              <a:gs pos="26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6" name="TextBox 5">
            <a:extLst>
              <a:ext uri="{FF2B5EF4-FFF2-40B4-BE49-F238E27FC236}">
                <a16:creationId xmlns:a16="http://schemas.microsoft.com/office/drawing/2014/main" id="{8CD5F511-181A-751A-9115-FB09B101640D}"/>
              </a:ext>
            </a:extLst>
          </p:cNvPr>
          <p:cNvSpPr txBox="1"/>
          <p:nvPr/>
        </p:nvSpPr>
        <p:spPr>
          <a:xfrm>
            <a:off x="629520" y="1458410"/>
            <a:ext cx="4583178" cy="3508653"/>
          </a:xfrm>
          <a:prstGeom prst="rect">
            <a:avLst/>
          </a:prstGeom>
        </p:spPr>
        <p:txBody>
          <a:bodyPr wrap="none" rtlCol="0">
            <a:spAutoFit/>
          </a:bodyPr>
          <a:lstStyle/>
          <a:p>
            <a:pPr algn="l"/>
            <a:r>
              <a:rPr lang="en-US" sz="2400" b="1" dirty="0"/>
              <a:t>Daily Maintenance</a:t>
            </a:r>
          </a:p>
          <a:p>
            <a:pPr marL="285750" indent="-285750" algn="l">
              <a:buFont typeface="Wingdings" panose="05000000000000000000" pitchFamily="2" charset="2"/>
              <a:buChar char="Ø"/>
            </a:pPr>
            <a:endParaRPr lang="en-US" b="1" dirty="0"/>
          </a:p>
          <a:p>
            <a:pPr marL="285750" indent="-285750" algn="l">
              <a:buFont typeface="Wingdings" panose="05000000000000000000" pitchFamily="2" charset="2"/>
              <a:buChar char="Ø"/>
            </a:pPr>
            <a:r>
              <a:rPr lang="en-US" b="1" dirty="0"/>
              <a:t>Air Intake Piping – Check</a:t>
            </a:r>
          </a:p>
          <a:p>
            <a:pPr marL="285750" indent="-285750" algn="l">
              <a:buFont typeface="Wingdings" panose="05000000000000000000" pitchFamily="2" charset="2"/>
              <a:buChar char="Ø"/>
            </a:pPr>
            <a:r>
              <a:rPr lang="en-US" b="1" dirty="0"/>
              <a:t>Air Tanks and </a:t>
            </a:r>
            <a:r>
              <a:rPr lang="en-US" b="1" dirty="0" err="1"/>
              <a:t>Resevoirs</a:t>
            </a:r>
            <a:r>
              <a:rPr lang="en-US" b="1" dirty="0"/>
              <a:t> – Drain</a:t>
            </a:r>
          </a:p>
          <a:p>
            <a:pPr marL="285750" indent="-285750" algn="l">
              <a:buFont typeface="Wingdings" panose="05000000000000000000" pitchFamily="2" charset="2"/>
              <a:buChar char="Ø"/>
            </a:pPr>
            <a:r>
              <a:rPr lang="en-US" b="1" dirty="0"/>
              <a:t>Coolant Level – Check</a:t>
            </a:r>
          </a:p>
          <a:p>
            <a:pPr marL="285750" indent="-285750" algn="l">
              <a:buFont typeface="Wingdings" panose="05000000000000000000" pitchFamily="2" charset="2"/>
              <a:buChar char="Ø"/>
            </a:pPr>
            <a:r>
              <a:rPr lang="en-US" b="1" dirty="0"/>
              <a:t>Crankcase Breather Tube – Check</a:t>
            </a:r>
          </a:p>
          <a:p>
            <a:pPr marL="285750" indent="-285750" algn="l">
              <a:buFont typeface="Wingdings" panose="05000000000000000000" pitchFamily="2" charset="2"/>
              <a:buChar char="Ø"/>
            </a:pPr>
            <a:r>
              <a:rPr lang="en-US" b="1" dirty="0"/>
              <a:t>Fan, Cooling – Check</a:t>
            </a:r>
          </a:p>
          <a:p>
            <a:pPr marL="285750" indent="-285750" algn="l">
              <a:buFont typeface="Wingdings" panose="05000000000000000000" pitchFamily="2" charset="2"/>
              <a:buChar char="Ø"/>
            </a:pPr>
            <a:r>
              <a:rPr lang="en-US" b="1" dirty="0"/>
              <a:t>Fuel-Water Separator – Drain</a:t>
            </a:r>
          </a:p>
          <a:p>
            <a:pPr marL="285750" indent="-285750" algn="l">
              <a:buFont typeface="Wingdings" panose="05000000000000000000" pitchFamily="2" charset="2"/>
              <a:buChar char="Ø"/>
            </a:pPr>
            <a:r>
              <a:rPr lang="en-US" b="1" dirty="0"/>
              <a:t>Lubricating Oil Level – Check</a:t>
            </a:r>
          </a:p>
          <a:p>
            <a:pPr marL="285750" indent="-285750" algn="l">
              <a:buFont typeface="Wingdings" panose="05000000000000000000" pitchFamily="2" charset="2"/>
              <a:buChar char="Ø"/>
            </a:pPr>
            <a:r>
              <a:rPr lang="en-US" b="1" dirty="0"/>
              <a:t>Aftertreatment Exhaust Piping – Check</a:t>
            </a:r>
          </a:p>
          <a:p>
            <a:pPr marL="285750" indent="-285750" algn="l">
              <a:buFont typeface="Wingdings" panose="05000000000000000000" pitchFamily="2" charset="2"/>
              <a:buChar char="Ø"/>
            </a:pPr>
            <a:r>
              <a:rPr lang="en-US" b="1" dirty="0"/>
              <a:t>Diesel Exhaust Fluid (DEF Level - Check</a:t>
            </a:r>
          </a:p>
          <a:p>
            <a:pPr marL="285750" indent="-285750" algn="l">
              <a:buFont typeface="Wingdings" panose="05000000000000000000" pitchFamily="2" charset="2"/>
              <a:buChar char="Ø"/>
            </a:pPr>
            <a:endParaRPr lang="en-US" b="1" dirty="0"/>
          </a:p>
        </p:txBody>
      </p:sp>
      <p:pic>
        <p:nvPicPr>
          <p:cNvPr id="8" name="Picture 7">
            <a:extLst>
              <a:ext uri="{FF2B5EF4-FFF2-40B4-BE49-F238E27FC236}">
                <a16:creationId xmlns:a16="http://schemas.microsoft.com/office/drawing/2014/main" id="{8F43AB0C-924C-DBBE-8BBC-DD31CCC29B9F}"/>
              </a:ext>
            </a:extLst>
          </p:cNvPr>
          <p:cNvPicPr>
            <a:picLocks noChangeAspect="1"/>
          </p:cNvPicPr>
          <p:nvPr/>
        </p:nvPicPr>
        <p:blipFill>
          <a:blip r:embed="rId3"/>
          <a:stretch>
            <a:fillRect/>
          </a:stretch>
        </p:blipFill>
        <p:spPr>
          <a:xfrm>
            <a:off x="6330377" y="1581801"/>
            <a:ext cx="3193471" cy="3011852"/>
          </a:xfrm>
          <a:prstGeom prst="rect">
            <a:avLst/>
          </a:prstGeom>
        </p:spPr>
      </p:pic>
    </p:spTree>
    <p:extLst>
      <p:ext uri="{BB962C8B-B14F-4D97-AF65-F5344CB8AC3E}">
        <p14:creationId xmlns:p14="http://schemas.microsoft.com/office/powerpoint/2010/main" val="2231085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DF7AC1-D7D6-6E64-C938-5AAFA64C3B5C}"/>
              </a:ext>
            </a:extLst>
          </p:cNvPr>
          <p:cNvSpPr>
            <a:spLocks noGrp="1"/>
          </p:cNvSpPr>
          <p:nvPr>
            <p:ph type="body" sz="quarter" idx="11"/>
          </p:nvPr>
        </p:nvSpPr>
        <p:spPr>
          <a:xfrm>
            <a:off x="311080" y="6557852"/>
            <a:ext cx="3026050" cy="203032"/>
          </a:xfrm>
        </p:spPr>
        <p:txBody>
          <a:bodyPr/>
          <a:lstStyle/>
          <a:p>
            <a:r>
              <a:rPr lang="en-US" sz="1200" b="1" dirty="0">
                <a:solidFill>
                  <a:schemeClr val="tx1"/>
                </a:solidFill>
              </a:rPr>
              <a:t>Can be referenced in </a:t>
            </a:r>
            <a:r>
              <a:rPr lang="en-US" sz="1200" b="1" dirty="0" err="1">
                <a:solidFill>
                  <a:schemeClr val="tx1"/>
                </a:solidFill>
              </a:rPr>
              <a:t>Quickserve</a:t>
            </a:r>
            <a:r>
              <a:rPr lang="en-US" sz="1200" b="1" dirty="0">
                <a:solidFill>
                  <a:schemeClr val="tx1"/>
                </a:solidFill>
              </a:rPr>
              <a:t> Online</a:t>
            </a:r>
          </a:p>
        </p:txBody>
      </p:sp>
      <p:sp>
        <p:nvSpPr>
          <p:cNvPr id="4" name="Title 1">
            <a:extLst>
              <a:ext uri="{FF2B5EF4-FFF2-40B4-BE49-F238E27FC236}">
                <a16:creationId xmlns:a16="http://schemas.microsoft.com/office/drawing/2014/main" id="{B1D45078-FD06-C33B-B8C3-BEAFFD23FEB4}"/>
              </a:ext>
            </a:extLst>
          </p:cNvPr>
          <p:cNvSpPr txBox="1">
            <a:spLocks/>
          </p:cNvSpPr>
          <p:nvPr/>
        </p:nvSpPr>
        <p:spPr>
          <a:xfrm>
            <a:off x="127221" y="0"/>
            <a:ext cx="12406313" cy="552094"/>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L9 | 2024 Maintenance Schedule</a:t>
            </a:r>
          </a:p>
        </p:txBody>
      </p:sp>
      <p:pic>
        <p:nvPicPr>
          <p:cNvPr id="6" name="Picture 5">
            <a:extLst>
              <a:ext uri="{FF2B5EF4-FFF2-40B4-BE49-F238E27FC236}">
                <a16:creationId xmlns:a16="http://schemas.microsoft.com/office/drawing/2014/main" id="{16A38724-AA7B-8175-E81D-10C03328D13F}"/>
              </a:ext>
            </a:extLst>
          </p:cNvPr>
          <p:cNvPicPr>
            <a:picLocks noChangeAspect="1"/>
          </p:cNvPicPr>
          <p:nvPr/>
        </p:nvPicPr>
        <p:blipFill>
          <a:blip r:embed="rId3"/>
          <a:stretch>
            <a:fillRect/>
          </a:stretch>
        </p:blipFill>
        <p:spPr>
          <a:xfrm>
            <a:off x="311080" y="550158"/>
            <a:ext cx="9967735" cy="5902879"/>
          </a:xfrm>
          <a:prstGeom prst="rect">
            <a:avLst/>
          </a:prstGeom>
          <a:ln>
            <a:solidFill>
              <a:schemeClr val="accent1"/>
            </a:solidFill>
          </a:ln>
        </p:spPr>
      </p:pic>
    </p:spTree>
    <p:extLst>
      <p:ext uri="{BB962C8B-B14F-4D97-AF65-F5344CB8AC3E}">
        <p14:creationId xmlns:p14="http://schemas.microsoft.com/office/powerpoint/2010/main" val="11699583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01D869-2EFC-23AE-33A8-5269812A12F9}"/>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50EE3D0C-455B-EFB8-F35C-1A39D870B286}"/>
              </a:ext>
            </a:extLst>
          </p:cNvPr>
          <p:cNvSpPr>
            <a:spLocks noGrp="1"/>
          </p:cNvSpPr>
          <p:nvPr>
            <p:ph type="body" sz="quarter" idx="12"/>
          </p:nvPr>
        </p:nvSpPr>
        <p:spPr/>
        <p:txBody>
          <a:bodyPr/>
          <a:lstStyle/>
          <a:p>
            <a:endParaRPr lang="en-US"/>
          </a:p>
        </p:txBody>
      </p:sp>
      <p:graphicFrame>
        <p:nvGraphicFramePr>
          <p:cNvPr id="13" name="Table 12">
            <a:extLst>
              <a:ext uri="{FF2B5EF4-FFF2-40B4-BE49-F238E27FC236}">
                <a16:creationId xmlns:a16="http://schemas.microsoft.com/office/drawing/2014/main" id="{797434B6-7F2D-2058-9803-98EA26254983}"/>
              </a:ext>
            </a:extLst>
          </p:cNvPr>
          <p:cNvGraphicFramePr>
            <a:graphicFrameLocks noGrp="1"/>
          </p:cNvGraphicFramePr>
          <p:nvPr>
            <p:extLst>
              <p:ext uri="{D42A27DB-BD31-4B8C-83A1-F6EECF244321}">
                <p14:modId xmlns:p14="http://schemas.microsoft.com/office/powerpoint/2010/main" val="3274301337"/>
              </p:ext>
            </p:extLst>
          </p:nvPr>
        </p:nvGraphicFramePr>
        <p:xfrm>
          <a:off x="835025" y="1504151"/>
          <a:ext cx="10515599" cy="2570347"/>
        </p:xfrm>
        <a:graphic>
          <a:graphicData uri="http://schemas.openxmlformats.org/drawingml/2006/table">
            <a:tbl>
              <a:tblPr/>
              <a:tblGrid>
                <a:gridCol w="1974649">
                  <a:extLst>
                    <a:ext uri="{9D8B030D-6E8A-4147-A177-3AD203B41FA5}">
                      <a16:colId xmlns:a16="http://schemas.microsoft.com/office/drawing/2014/main" val="385544841"/>
                    </a:ext>
                  </a:extLst>
                </a:gridCol>
                <a:gridCol w="1546412">
                  <a:extLst>
                    <a:ext uri="{9D8B030D-6E8A-4147-A177-3AD203B41FA5}">
                      <a16:colId xmlns:a16="http://schemas.microsoft.com/office/drawing/2014/main" val="2929419641"/>
                    </a:ext>
                  </a:extLst>
                </a:gridCol>
                <a:gridCol w="1760530">
                  <a:extLst>
                    <a:ext uri="{9D8B030D-6E8A-4147-A177-3AD203B41FA5}">
                      <a16:colId xmlns:a16="http://schemas.microsoft.com/office/drawing/2014/main" val="186104439"/>
                    </a:ext>
                  </a:extLst>
                </a:gridCol>
                <a:gridCol w="1760530">
                  <a:extLst>
                    <a:ext uri="{9D8B030D-6E8A-4147-A177-3AD203B41FA5}">
                      <a16:colId xmlns:a16="http://schemas.microsoft.com/office/drawing/2014/main" val="1357636140"/>
                    </a:ext>
                  </a:extLst>
                </a:gridCol>
                <a:gridCol w="1736739">
                  <a:extLst>
                    <a:ext uri="{9D8B030D-6E8A-4147-A177-3AD203B41FA5}">
                      <a16:colId xmlns:a16="http://schemas.microsoft.com/office/drawing/2014/main" val="1035694575"/>
                    </a:ext>
                  </a:extLst>
                </a:gridCol>
                <a:gridCol w="1736739">
                  <a:extLst>
                    <a:ext uri="{9D8B030D-6E8A-4147-A177-3AD203B41FA5}">
                      <a16:colId xmlns:a16="http://schemas.microsoft.com/office/drawing/2014/main" val="3076299757"/>
                    </a:ext>
                  </a:extLst>
                </a:gridCol>
              </a:tblGrid>
              <a:tr h="19724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Total Oil Capacity*</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BFBFBF"/>
                    </a:solidFill>
                  </a:tcPr>
                </a:tc>
                <a:tc rowSpan="4">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Engine Distance or Run Time</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gridSpan="4">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buNone/>
                      </a:pPr>
                      <a:r>
                        <a:rPr lang="en-US" sz="1200" b="1" i="0" u="none" strike="noStrike">
                          <a:solidFill>
                            <a:srgbClr val="333333"/>
                          </a:solidFill>
                          <a:effectLst/>
                          <a:latin typeface="Roboto" panose="02000000000000000000" pitchFamily="2" charset="0"/>
                        </a:rPr>
                        <a:t>Fuel Economy</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14574650"/>
                  </a:ext>
                </a:extLst>
              </a:tr>
              <a:tr h="19108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Oil Pan + Lube Filter)</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FBFBF"/>
                    </a:solidFill>
                  </a:tcPr>
                </a:tc>
                <a:tc v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Extreme Severe</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Severe</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Normal</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Light</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3033956226"/>
                  </a:ext>
                </a:extLst>
              </a:tr>
              <a:tr h="19724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0" i="0" u="none" strike="noStrike" dirty="0">
                          <a:solidFill>
                            <a:srgbClr val="000000"/>
                          </a:solidFill>
                          <a:effectLst/>
                          <a:latin typeface="Aptos Narrow" panose="020B0004020202020204" pitchFamily="34" charset="0"/>
                        </a:rPr>
                        <a:t> </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FBFBF"/>
                    </a:solidFill>
                  </a:tcPr>
                </a:tc>
                <a:tc v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lt; 2.9 mpg</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3 – 4.9 mpg</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5 – 7.9 mpg</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gt; 8 mpg</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3718305730"/>
                  </a:ext>
                </a:extLst>
              </a:tr>
              <a:tr h="20340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0" i="0" u="none" strike="noStrike">
                          <a:solidFill>
                            <a:srgbClr val="000000"/>
                          </a:solidFill>
                          <a:effectLst/>
                          <a:latin typeface="Aptos Narrow" panose="020B0004020202020204" pitchFamily="34" charset="0"/>
                        </a:rPr>
                        <a:t> </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v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lt;1.2km/liter)</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1.3 - 2.1km/liter)</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2.1 – 3.3 km/liter)</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gt;3.4 km/liter)</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2814206858"/>
                  </a:ext>
                </a:extLst>
              </a:tr>
              <a:tr h="19724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 29 U.S. qt</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Mile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6,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5,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30,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50,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3616944"/>
                  </a:ext>
                </a:extLst>
              </a:tr>
              <a:tr h="19724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27.4 lite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Kilomete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9,6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24,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48,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80,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44030483"/>
                  </a:ext>
                </a:extLst>
              </a:tr>
              <a:tr h="20340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000000"/>
                          </a:solidFill>
                          <a:effectLst/>
                          <a:latin typeface="Aptos Narrow" panose="020B0004020202020204" pitchFamily="34" charset="0"/>
                        </a:rPr>
                        <a:t> </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Hou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2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5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5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5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03908"/>
                  </a:ext>
                </a:extLst>
              </a:tr>
              <a:tr h="19724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lt; 29 U.S. qt</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Mile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5,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2,5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25,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40,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72367852"/>
                  </a:ext>
                </a:extLst>
              </a:tr>
              <a:tr h="19724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27.4 lite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Kilomete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8,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20,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40,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64,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6861353"/>
                  </a:ext>
                </a:extLst>
              </a:tr>
              <a:tr h="19724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to &gt; 23 U.S. qt (21.8 lite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Hou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2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2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2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92747921"/>
                  </a:ext>
                </a:extLst>
              </a:tr>
              <a:tr h="197245">
                <a:tc row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 23 U.S. qt (21.8 lite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Mile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5,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0,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20,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30,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9357460"/>
                  </a:ext>
                </a:extLst>
              </a:tr>
              <a:tr h="197245">
                <a:tc v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Kilomete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8,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7,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33,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53,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87840412"/>
                  </a:ext>
                </a:extLst>
              </a:tr>
              <a:tr h="197245">
                <a:tc v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fontAlgn="ctr">
                        <a:buNone/>
                      </a:pPr>
                      <a:r>
                        <a:rPr lang="en-US" sz="1200" b="1" i="0" u="none" strike="noStrike">
                          <a:solidFill>
                            <a:srgbClr val="333333"/>
                          </a:solidFill>
                          <a:effectLst/>
                          <a:latin typeface="Roboto" panose="02000000000000000000" pitchFamily="2" charset="0"/>
                        </a:rPr>
                        <a:t>Hours</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a:solidFill>
                            <a:srgbClr val="333333"/>
                          </a:solidFill>
                          <a:effectLst/>
                          <a:latin typeface="Roboto" panose="02000000000000000000" pitchFamily="2" charset="0"/>
                        </a:rPr>
                        <a:t>1,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r" fontAlgn="ctr">
                        <a:buNone/>
                      </a:pPr>
                      <a:r>
                        <a:rPr lang="en-US" sz="1200" b="1" i="0" u="none" strike="noStrike" dirty="0">
                          <a:solidFill>
                            <a:srgbClr val="333333"/>
                          </a:solidFill>
                          <a:effectLst/>
                          <a:latin typeface="Roboto" panose="02000000000000000000" pitchFamily="2" charset="0"/>
                        </a:rPr>
                        <a:t>1,000</a:t>
                      </a:r>
                    </a:p>
                  </a:txBody>
                  <a:tcPr marL="6164" marR="6164" marT="616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59928811"/>
                  </a:ext>
                </a:extLst>
              </a:tr>
            </a:tbl>
          </a:graphicData>
        </a:graphic>
      </p:graphicFrame>
      <p:pic>
        <p:nvPicPr>
          <p:cNvPr id="3" name="Picture 2" descr="A picture containing sitting, indoor&#10;&#10;Description generated with high confidence">
            <a:extLst>
              <a:ext uri="{FF2B5EF4-FFF2-40B4-BE49-F238E27FC236}">
                <a16:creationId xmlns:a16="http://schemas.microsoft.com/office/drawing/2014/main" id="{B4C331A9-8408-4307-A38C-E9612967FEDC}"/>
              </a:ext>
            </a:extLst>
          </p:cNvPr>
          <p:cNvPicPr>
            <a:picLocks noChangeAspect="1"/>
          </p:cNvPicPr>
          <p:nvPr/>
        </p:nvPicPr>
        <p:blipFill rotWithShape="1">
          <a:blip r:embed="rId3">
            <a:extLst>
              <a:ext uri="{28A0092B-C50C-407E-A947-70E740481C1C}">
                <a14:useLocalDpi xmlns:a14="http://schemas.microsoft.com/office/drawing/2010/main" val="0"/>
              </a:ext>
            </a:extLst>
          </a:blip>
          <a:srcRect l="-99" t="22542" r="9688" b="36439"/>
          <a:stretch/>
        </p:blipFill>
        <p:spPr>
          <a:xfrm>
            <a:off x="-758862" y="4074498"/>
            <a:ext cx="7643453" cy="2768262"/>
          </a:xfrm>
          <a:prstGeom prst="rect">
            <a:avLst/>
          </a:prstGeom>
        </p:spPr>
      </p:pic>
      <p:sp>
        <p:nvSpPr>
          <p:cNvPr id="6" name="Rectangle 5">
            <a:extLst>
              <a:ext uri="{FF2B5EF4-FFF2-40B4-BE49-F238E27FC236}">
                <a16:creationId xmlns:a16="http://schemas.microsoft.com/office/drawing/2014/main" id="{90D0D2E4-11DD-4EAE-8868-E9D220FD7072}"/>
              </a:ext>
            </a:extLst>
          </p:cNvPr>
          <p:cNvSpPr/>
          <p:nvPr/>
        </p:nvSpPr>
        <p:spPr>
          <a:xfrm>
            <a:off x="6266980" y="4220672"/>
            <a:ext cx="5513908" cy="461665"/>
          </a:xfrm>
          <a:prstGeom prst="rect">
            <a:avLst/>
          </a:prstGeom>
        </p:spPr>
        <p:txBody>
          <a:bodyPr wrap="square">
            <a:spAutoFit/>
          </a:bodyPr>
          <a:lstStyle/>
          <a:p>
            <a:pPr>
              <a:defRPr/>
            </a:pPr>
            <a:r>
              <a:rPr lang="en-US" sz="1200" dirty="0">
                <a:solidFill>
                  <a:srgbClr val="000000"/>
                </a:solidFill>
                <a:latin typeface="Arial" panose="020B0604020202020204"/>
              </a:rPr>
              <a:t>Drain the oil and change the lube filter according to engine distance OR run time from the table OR 18 months, </a:t>
            </a:r>
            <a:r>
              <a:rPr lang="en-US" sz="1200" b="1" dirty="0">
                <a:solidFill>
                  <a:srgbClr val="000000"/>
                </a:solidFill>
                <a:latin typeface="Arial" panose="020B0604020202020204"/>
              </a:rPr>
              <a:t>whichever comes first.</a:t>
            </a:r>
            <a:endParaRPr lang="en-US" sz="1200" dirty="0">
              <a:solidFill>
                <a:srgbClr val="000000"/>
              </a:solidFill>
              <a:latin typeface="Arial" panose="020B0604020202020204"/>
            </a:endParaRPr>
          </a:p>
        </p:txBody>
      </p:sp>
      <p:sp>
        <p:nvSpPr>
          <p:cNvPr id="9" name="Title 1">
            <a:extLst>
              <a:ext uri="{FF2B5EF4-FFF2-40B4-BE49-F238E27FC236}">
                <a16:creationId xmlns:a16="http://schemas.microsoft.com/office/drawing/2014/main" id="{4194F414-44E2-4366-9E1E-431686D0AEF3}"/>
              </a:ext>
            </a:extLst>
          </p:cNvPr>
          <p:cNvSpPr txBox="1">
            <a:spLocks/>
          </p:cNvSpPr>
          <p:nvPr/>
        </p:nvSpPr>
        <p:spPr>
          <a:xfrm>
            <a:off x="127221" y="179753"/>
            <a:ext cx="12406313" cy="552094"/>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L9 | Oil Drain Interval Schedule</a:t>
            </a:r>
          </a:p>
        </p:txBody>
      </p:sp>
      <p:pic>
        <p:nvPicPr>
          <p:cNvPr id="12" name="Picture 11">
            <a:extLst>
              <a:ext uri="{FF2B5EF4-FFF2-40B4-BE49-F238E27FC236}">
                <a16:creationId xmlns:a16="http://schemas.microsoft.com/office/drawing/2014/main" id="{B576E045-EE7E-0BB2-FFE7-D37653D0B6CE}"/>
              </a:ext>
            </a:extLst>
          </p:cNvPr>
          <p:cNvPicPr>
            <a:picLocks noChangeAspect="1"/>
          </p:cNvPicPr>
          <p:nvPr/>
        </p:nvPicPr>
        <p:blipFill>
          <a:blip r:embed="rId4"/>
          <a:stretch>
            <a:fillRect/>
          </a:stretch>
        </p:blipFill>
        <p:spPr>
          <a:xfrm>
            <a:off x="694602" y="1108854"/>
            <a:ext cx="7876715" cy="18290"/>
          </a:xfrm>
          <a:prstGeom prst="rect">
            <a:avLst/>
          </a:prstGeom>
        </p:spPr>
      </p:pic>
    </p:spTree>
    <p:extLst>
      <p:ext uri="{BB962C8B-B14F-4D97-AF65-F5344CB8AC3E}">
        <p14:creationId xmlns:p14="http://schemas.microsoft.com/office/powerpoint/2010/main" val="4263262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147150-C90E-FB31-AAF8-DDDDE4EBC131}"/>
              </a:ext>
            </a:extLst>
          </p:cNvPr>
          <p:cNvSpPr>
            <a:spLocks noGrp="1"/>
          </p:cNvSpPr>
          <p:nvPr>
            <p:ph type="body" sz="quarter" idx="12"/>
          </p:nvPr>
        </p:nvSpPr>
        <p:spPr/>
        <p:txBody>
          <a:bodyPr/>
          <a:lstStyle/>
          <a:p>
            <a:endParaRPr lang="en-US"/>
          </a:p>
        </p:txBody>
      </p:sp>
      <p:pic>
        <p:nvPicPr>
          <p:cNvPr id="1026" name="Picture 1">
            <a:extLst>
              <a:ext uri="{FF2B5EF4-FFF2-40B4-BE49-F238E27FC236}">
                <a16:creationId xmlns:a16="http://schemas.microsoft.com/office/drawing/2014/main" id="{9C0A1C88-FFDA-69FE-1E26-9B91604D3E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9877" y="1252537"/>
            <a:ext cx="5305425" cy="435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9D2C796A-3372-F984-BEFA-D275D1CFFAA4}"/>
              </a:ext>
            </a:extLst>
          </p:cNvPr>
          <p:cNvSpPr txBox="1">
            <a:spLocks/>
          </p:cNvSpPr>
          <p:nvPr/>
        </p:nvSpPr>
        <p:spPr>
          <a:xfrm>
            <a:off x="127221" y="179753"/>
            <a:ext cx="12406313" cy="552094"/>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400" dirty="0" err="1">
                <a:solidFill>
                  <a:srgbClr val="000000"/>
                </a:solidFill>
                <a:latin typeface="Roboto" panose="02000000000000000000" pitchFamily="2" charset="0"/>
                <a:ea typeface="Roboto" panose="02000000000000000000" pitchFamily="2" charset="0"/>
                <a:cs typeface="Roboto" panose="02000000000000000000" pitchFamily="2" charset="0"/>
              </a:rPr>
              <a:t>Hourmeter</a:t>
            </a:r>
            <a:r>
              <a:rPr lang="en-US" sz="3400" dirty="0">
                <a:solidFill>
                  <a:srgbClr val="000000"/>
                </a:solidFill>
                <a:latin typeface="Roboto" panose="02000000000000000000" pitchFamily="2" charset="0"/>
                <a:ea typeface="Roboto" panose="02000000000000000000" pitchFamily="2" charset="0"/>
                <a:cs typeface="Roboto" panose="02000000000000000000" pitchFamily="2" charset="0"/>
              </a:rPr>
              <a:t>/Odometer Conversion Table</a:t>
            </a:r>
            <a:endPar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217513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119A4-33DA-69B1-7696-A9F4D5174FB8}"/>
            </a:ext>
          </a:extLst>
        </p:cNvPr>
        <p:cNvGrpSpPr/>
        <p:nvPr/>
      </p:nvGrpSpPr>
      <p:grpSpPr>
        <a:xfrm>
          <a:off x="0" y="0"/>
          <a:ext cx="0" cy="0"/>
          <a:chOff x="0" y="0"/>
          <a:chExt cx="0" cy="0"/>
        </a:xfrm>
      </p:grpSpPr>
      <p:sp>
        <p:nvSpPr>
          <p:cNvPr id="12" name="Retângulo Arredondado 125">
            <a:extLst>
              <a:ext uri="{FF2B5EF4-FFF2-40B4-BE49-F238E27FC236}">
                <a16:creationId xmlns:a16="http://schemas.microsoft.com/office/drawing/2014/main" id="{B19E96C3-96C7-9329-C308-97FFE44804A7}"/>
              </a:ext>
            </a:extLst>
          </p:cNvPr>
          <p:cNvSpPr/>
          <p:nvPr/>
        </p:nvSpPr>
        <p:spPr>
          <a:xfrm>
            <a:off x="5541259" y="1217042"/>
            <a:ext cx="5695931" cy="470827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2" name="TextBox 137">
            <a:extLst>
              <a:ext uri="{FF2B5EF4-FFF2-40B4-BE49-F238E27FC236}">
                <a16:creationId xmlns:a16="http://schemas.microsoft.com/office/drawing/2014/main" id="{91C5F35F-FF13-4762-101A-723E8DEFC90F}"/>
              </a:ext>
            </a:extLst>
          </p:cNvPr>
          <p:cNvSpPr txBox="1"/>
          <p:nvPr/>
        </p:nvSpPr>
        <p:spPr>
          <a:xfrm>
            <a:off x="5979073" y="2055452"/>
            <a:ext cx="5258117"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A281C"/>
                </a:solidFill>
                <a:effectLst/>
                <a:uLnTx/>
                <a:uFillTx/>
                <a:latin typeface="Aptos" panose="020B0004020202020204" pitchFamily="34" charset="0"/>
                <a:ea typeface="+mn-ea"/>
                <a:cs typeface="+mn-cs"/>
              </a:rPr>
              <a:t>Next in the Cummins HELM™ platform launching in North America in 2027 demonstrating Cummins’ continued commitment to advancing internal combustion technolog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DA281C"/>
              </a:solidFill>
              <a:effectLst/>
              <a:uLnTx/>
              <a:uFillTx/>
              <a:latin typeface="Aptos" panose="020B0004020202020204" pitchFamily="34" charset="0"/>
              <a:ea typeface="+mn-ea"/>
              <a:cs typeface="+mn-cs"/>
            </a:endParaRPr>
          </a:p>
        </p:txBody>
      </p:sp>
      <p:sp>
        <p:nvSpPr>
          <p:cNvPr id="8" name="TextBox 137">
            <a:extLst>
              <a:ext uri="{FF2B5EF4-FFF2-40B4-BE49-F238E27FC236}">
                <a16:creationId xmlns:a16="http://schemas.microsoft.com/office/drawing/2014/main" id="{B06AB585-40B4-B602-156A-A878A7643279}"/>
              </a:ext>
            </a:extLst>
          </p:cNvPr>
          <p:cNvSpPr txBox="1"/>
          <p:nvPr/>
        </p:nvSpPr>
        <p:spPr>
          <a:xfrm>
            <a:off x="5979073" y="3137664"/>
            <a:ext cx="4750056" cy="2246769"/>
          </a:xfrm>
          <a:prstGeom prst="rect">
            <a:avLst/>
          </a:prstGeom>
          <a:noFill/>
        </p:spPr>
        <p:txBody>
          <a:bodyPr wrap="square" lIns="0" tIns="0" rIns="0" bIns="0" rtlCol="0" anchor="t">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The X10 architecture uses a belt-driven, high output 48-volt alternator and aftertreatment heater solution optimized for increasingly stringent emission standards.</a:t>
            </a:r>
          </a:p>
          <a:p>
            <a:pPr marL="0" marR="0" lvl="0" indent="0" algn="l" defTabSz="914400" rtl="0" eaLnBrk="1" fontAlgn="auto" latinLnBrk="0" hangingPunct="1">
              <a:lnSpc>
                <a:spcPct val="100000"/>
              </a:lnSpc>
              <a:spcBef>
                <a:spcPts val="0"/>
              </a:spcBef>
              <a:spcAft>
                <a:spcPts val="0"/>
              </a:spcAft>
              <a:buClr>
                <a:srgbClr val="DA281C"/>
              </a:buClr>
              <a:buSzTx/>
              <a:buFontTx/>
              <a:buNone/>
              <a:tabLst/>
              <a:defRPr/>
            </a:pPr>
            <a:endParaRPr kumimoji="0" lang="en-US" sz="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Improved GHG Efficiency &amp; Fuel Economy built upon Cummins’ Uptime legac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endParaRPr kumimoji="0" lang="en-US" sz="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Ratings up to 450 hp / 1250 ft-lb available.</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endParaRPr kumimoji="0" lang="en-US" sz="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Extended maintenance intervals to reduce visits to the shop and minimize cost of operation.</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endParaRPr kumimoji="0" lang="en-US" sz="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Optimized for a diverse range of applications such as P&amp;D, Vocational, Regional Haul, Transit bus, Recreational Vehicle and Emergenc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endParaRPr kumimoji="0" lang="en-US" sz="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Base Warranty: 2 years / 250k miles for truck &amp; transit, 5 years / 100k miles for EV/RV (no change from current product).</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cxnSp>
        <p:nvCxnSpPr>
          <p:cNvPr id="11" name="Conector Reto 10">
            <a:extLst>
              <a:ext uri="{FF2B5EF4-FFF2-40B4-BE49-F238E27FC236}">
                <a16:creationId xmlns:a16="http://schemas.microsoft.com/office/drawing/2014/main" id="{7578C88C-4713-33C9-1BFA-51DF377B96DD}"/>
              </a:ext>
            </a:extLst>
          </p:cNvPr>
          <p:cNvCxnSpPr/>
          <p:nvPr/>
        </p:nvCxnSpPr>
        <p:spPr>
          <a:xfrm>
            <a:off x="5979073" y="2871640"/>
            <a:ext cx="4007529" cy="0"/>
          </a:xfrm>
          <a:prstGeom prst="line">
            <a:avLst/>
          </a:prstGeom>
          <a:ln>
            <a:solidFill>
              <a:srgbClr val="D9281C"/>
            </a:solidFill>
          </a:ln>
        </p:spPr>
        <p:style>
          <a:lnRef idx="2">
            <a:schemeClr val="accent1"/>
          </a:lnRef>
          <a:fillRef idx="0">
            <a:schemeClr val="accent1"/>
          </a:fillRef>
          <a:effectRef idx="1">
            <a:schemeClr val="accent1"/>
          </a:effectRef>
          <a:fontRef idx="minor">
            <a:schemeClr val="tx1"/>
          </a:fontRef>
        </p:style>
      </p:cxnSp>
      <p:sp>
        <p:nvSpPr>
          <p:cNvPr id="4" name="Espaço Reservado para Conteúdo 3">
            <a:extLst>
              <a:ext uri="{FF2B5EF4-FFF2-40B4-BE49-F238E27FC236}">
                <a16:creationId xmlns:a16="http://schemas.microsoft.com/office/drawing/2014/main" id="{F873C61F-2CAD-95FA-F0B8-6736D6B9170A}"/>
              </a:ext>
            </a:extLst>
          </p:cNvPr>
          <p:cNvSpPr>
            <a:spLocks noGrp="1"/>
          </p:cNvSpPr>
          <p:nvPr>
            <p:ph idx="1"/>
          </p:nvPr>
        </p:nvSpPr>
        <p:spPr/>
        <p:txBody>
          <a:bodyPr/>
          <a:lstStyle/>
          <a:p>
            <a:pPr lvl="0">
              <a:defRPr/>
            </a:pPr>
            <a:r>
              <a:rPr lang="en-US" sz="2400" b="1" noProof="0">
                <a:solidFill>
                  <a:schemeClr val="accent1"/>
                </a:solidFill>
                <a:latin typeface="Aptos" panose="020B0004020202020204" pitchFamily="34" charset="0"/>
              </a:rPr>
              <a:t>Highlights</a:t>
            </a:r>
          </a:p>
        </p:txBody>
      </p:sp>
      <p:sp>
        <p:nvSpPr>
          <p:cNvPr id="73" name="Rounded Rectangle 56">
            <a:extLst>
              <a:ext uri="{FF2B5EF4-FFF2-40B4-BE49-F238E27FC236}">
                <a16:creationId xmlns:a16="http://schemas.microsoft.com/office/drawing/2014/main" id="{1EBCA01A-4E7F-AE01-40B6-C01C7F69FC03}"/>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75" name="Conector Reto 31">
            <a:extLst>
              <a:ext uri="{FF2B5EF4-FFF2-40B4-BE49-F238E27FC236}">
                <a16:creationId xmlns:a16="http://schemas.microsoft.com/office/drawing/2014/main" id="{D238ACEE-E2F6-82D6-8A14-280736681CFC}"/>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6" name="Conector Reto 75">
            <a:extLst>
              <a:ext uri="{FF2B5EF4-FFF2-40B4-BE49-F238E27FC236}">
                <a16:creationId xmlns:a16="http://schemas.microsoft.com/office/drawing/2014/main" id="{A3ACE3A7-C07F-933B-4B58-619A2C0AC989}"/>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7" name="Conector Reto 31">
            <a:extLst>
              <a:ext uri="{FF2B5EF4-FFF2-40B4-BE49-F238E27FC236}">
                <a16:creationId xmlns:a16="http://schemas.microsoft.com/office/drawing/2014/main" id="{8FDE799F-5621-A2AF-E20D-78095B91E2B7}"/>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8" name="Conector Reto 31">
            <a:extLst>
              <a:ext uri="{FF2B5EF4-FFF2-40B4-BE49-F238E27FC236}">
                <a16:creationId xmlns:a16="http://schemas.microsoft.com/office/drawing/2014/main" id="{AC4D476A-2896-26AE-3461-E30C3173FDC8}"/>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9" name="Conector Reto 78">
            <a:extLst>
              <a:ext uri="{FF2B5EF4-FFF2-40B4-BE49-F238E27FC236}">
                <a16:creationId xmlns:a16="http://schemas.microsoft.com/office/drawing/2014/main" id="{7D1AD60A-6165-F093-EA22-4BFEF0B96F48}"/>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0" name="Conector Reto 31">
            <a:extLst>
              <a:ext uri="{FF2B5EF4-FFF2-40B4-BE49-F238E27FC236}">
                <a16:creationId xmlns:a16="http://schemas.microsoft.com/office/drawing/2014/main" id="{E5DB5280-38C8-11A6-7AB6-882A7EC9BAE8}"/>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81" name="CaixaDeTexto 80">
            <a:extLst>
              <a:ext uri="{FF2B5EF4-FFF2-40B4-BE49-F238E27FC236}">
                <a16:creationId xmlns:a16="http://schemas.microsoft.com/office/drawing/2014/main" id="{47FACE72-96AF-9174-39CD-F5D5AB6A509C}"/>
              </a:ext>
            </a:extLst>
          </p:cNvPr>
          <p:cNvSpPr txBox="1"/>
          <p:nvPr/>
        </p:nvSpPr>
        <p:spPr>
          <a:xfrm>
            <a:off x="783241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82" name="CaixaDeTexto 81">
            <a:extLst>
              <a:ext uri="{FF2B5EF4-FFF2-40B4-BE49-F238E27FC236}">
                <a16:creationId xmlns:a16="http://schemas.microsoft.com/office/drawing/2014/main" id="{3D9D606D-5D68-A46B-E97E-E6DA15453A9B}"/>
              </a:ext>
            </a:extLst>
          </p:cNvPr>
          <p:cNvSpPr txBox="1"/>
          <p:nvPr/>
        </p:nvSpPr>
        <p:spPr>
          <a:xfrm>
            <a:off x="4262028" y="6294672"/>
            <a:ext cx="7466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83" name="CaixaDeTexto 82">
            <a:extLst>
              <a:ext uri="{FF2B5EF4-FFF2-40B4-BE49-F238E27FC236}">
                <a16:creationId xmlns:a16="http://schemas.microsoft.com/office/drawing/2014/main" id="{F832B339-E1A2-D587-6F3A-10FC1F5DB253}"/>
              </a:ext>
            </a:extLst>
          </p:cNvPr>
          <p:cNvSpPr txBox="1"/>
          <p:nvPr/>
        </p:nvSpPr>
        <p:spPr>
          <a:xfrm>
            <a:off x="6457787" y="6294672"/>
            <a:ext cx="139885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84" name="CaixaDeTexto 83">
            <a:extLst>
              <a:ext uri="{FF2B5EF4-FFF2-40B4-BE49-F238E27FC236}">
                <a16:creationId xmlns:a16="http://schemas.microsoft.com/office/drawing/2014/main" id="{C42A6B6E-184D-C6BE-CB2A-A2B0AF6CFCD9}"/>
              </a:ext>
            </a:extLst>
          </p:cNvPr>
          <p:cNvSpPr txBox="1"/>
          <p:nvPr/>
        </p:nvSpPr>
        <p:spPr>
          <a:xfrm>
            <a:off x="4950538" y="6294672"/>
            <a:ext cx="9498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85" name="CaixaDeTexto 84">
            <a:extLst>
              <a:ext uri="{FF2B5EF4-FFF2-40B4-BE49-F238E27FC236}">
                <a16:creationId xmlns:a16="http://schemas.microsoft.com/office/drawing/2014/main" id="{9ECDD56F-312C-E6EF-6F59-450359536E1B}"/>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86" name="CaixaDeTexto 85">
            <a:extLst>
              <a:ext uri="{FF2B5EF4-FFF2-40B4-BE49-F238E27FC236}">
                <a16:creationId xmlns:a16="http://schemas.microsoft.com/office/drawing/2014/main" id="{9B570C85-3971-E803-0F33-0AF0497F85EF}"/>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87" name="CaixaDeTexto 86">
            <a:extLst>
              <a:ext uri="{FF2B5EF4-FFF2-40B4-BE49-F238E27FC236}">
                <a16:creationId xmlns:a16="http://schemas.microsoft.com/office/drawing/2014/main" id="{9AF6B1B4-E0BE-CA14-BF0D-C145E07A1229}"/>
              </a:ext>
            </a:extLst>
          </p:cNvPr>
          <p:cNvSpPr txBox="1"/>
          <p:nvPr/>
        </p:nvSpPr>
        <p:spPr>
          <a:xfrm>
            <a:off x="5868247" y="6294672"/>
            <a:ext cx="60165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88" name="CaixaDeTexto 87">
            <a:extLst>
              <a:ext uri="{FF2B5EF4-FFF2-40B4-BE49-F238E27FC236}">
                <a16:creationId xmlns:a16="http://schemas.microsoft.com/office/drawing/2014/main" id="{307A605C-751C-4BB0-9ABD-2BD8B2C8962E}"/>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89" name="Conector Reto 31">
            <a:extLst>
              <a:ext uri="{FF2B5EF4-FFF2-40B4-BE49-F238E27FC236}">
                <a16:creationId xmlns:a16="http://schemas.microsoft.com/office/drawing/2014/main" id="{80481D32-6748-38E4-E1A3-DFDC75CEBAEF}"/>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90" name="CaixaDeTexto 89">
            <a:extLst>
              <a:ext uri="{FF2B5EF4-FFF2-40B4-BE49-F238E27FC236}">
                <a16:creationId xmlns:a16="http://schemas.microsoft.com/office/drawing/2014/main" id="{4289EEC6-5D9A-5726-3C77-4AB35EC92E31}"/>
              </a:ext>
            </a:extLst>
          </p:cNvPr>
          <p:cNvSpPr txBox="1"/>
          <p:nvPr/>
        </p:nvSpPr>
        <p:spPr>
          <a:xfrm>
            <a:off x="3380575" y="6294672"/>
            <a:ext cx="82134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Highlights</a:t>
            </a:r>
          </a:p>
        </p:txBody>
      </p:sp>
      <p:cxnSp>
        <p:nvCxnSpPr>
          <p:cNvPr id="91" name="Conector Reto 31">
            <a:extLst>
              <a:ext uri="{FF2B5EF4-FFF2-40B4-BE49-F238E27FC236}">
                <a16:creationId xmlns:a16="http://schemas.microsoft.com/office/drawing/2014/main" id="{7D5933EE-CB85-43E2-B0A5-7BCF3087025E}"/>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6" name="TextBox 137">
            <a:extLst>
              <a:ext uri="{FF2B5EF4-FFF2-40B4-BE49-F238E27FC236}">
                <a16:creationId xmlns:a16="http://schemas.microsoft.com/office/drawing/2014/main" id="{D1BB14EC-4978-82C7-5D09-E81339247FBD}"/>
              </a:ext>
            </a:extLst>
          </p:cNvPr>
          <p:cNvSpPr txBox="1"/>
          <p:nvPr/>
        </p:nvSpPr>
        <p:spPr>
          <a:xfrm>
            <a:off x="3744697" y="5353584"/>
            <a:ext cx="1097136" cy="21544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A281C"/>
                </a:solidFill>
                <a:effectLst/>
                <a:uLnTx/>
                <a:uFillTx/>
                <a:latin typeface="Aptos" panose="020B0004020202020204" pitchFamily="34" charset="0"/>
                <a:ea typeface="+mn-ea"/>
                <a:cs typeface="+mn-cs"/>
              </a:rPr>
              <a:t>Coming Soon</a:t>
            </a:r>
          </a:p>
        </p:txBody>
      </p:sp>
      <p:sp>
        <p:nvSpPr>
          <p:cNvPr id="7" name="Retângulo Arredondado 6">
            <a:extLst>
              <a:ext uri="{FF2B5EF4-FFF2-40B4-BE49-F238E27FC236}">
                <a16:creationId xmlns:a16="http://schemas.microsoft.com/office/drawing/2014/main" id="{8BAF53F2-FEAA-7EA4-2406-73B237F27785}"/>
              </a:ext>
            </a:extLst>
          </p:cNvPr>
          <p:cNvSpPr/>
          <p:nvPr/>
        </p:nvSpPr>
        <p:spPr>
          <a:xfrm>
            <a:off x="3657175" y="5317129"/>
            <a:ext cx="1267785" cy="311490"/>
          </a:xfrm>
          <a:prstGeom prst="roundRect">
            <a:avLst/>
          </a:prstGeom>
          <a:noFill/>
          <a:ln>
            <a:solidFill>
              <a:srgbClr val="DA291C"/>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3" name="Picture 37" descr="A picture containing engine&#10;&#10;Description automatically generated">
            <a:extLst>
              <a:ext uri="{FF2B5EF4-FFF2-40B4-BE49-F238E27FC236}">
                <a16:creationId xmlns:a16="http://schemas.microsoft.com/office/drawing/2014/main" id="{427F03AD-FF81-9989-3E53-971AA4E950CC}"/>
              </a:ext>
            </a:extLst>
          </p:cNvPr>
          <p:cNvPicPr>
            <a:picLocks noChangeAspect="1"/>
          </p:cNvPicPr>
          <p:nvPr/>
        </p:nvPicPr>
        <p:blipFill rotWithShape="1">
          <a:blip r:embed="rId2">
            <a:extLst>
              <a:ext uri="{28A0092B-C50C-407E-A947-70E740481C1C}">
                <a14:useLocalDpi xmlns:a14="http://schemas.microsoft.com/office/drawing/2010/main" val="0"/>
              </a:ext>
            </a:extLst>
          </a:blip>
          <a:srcRect l="8346" t="8752" r="10412" b="8502"/>
          <a:stretch/>
        </p:blipFill>
        <p:spPr>
          <a:xfrm>
            <a:off x="898255" y="1371312"/>
            <a:ext cx="4312373" cy="4392162"/>
          </a:xfrm>
          <a:prstGeom prst="rect">
            <a:avLst/>
          </a:prstGeom>
        </p:spPr>
      </p:pic>
      <p:cxnSp>
        <p:nvCxnSpPr>
          <p:cNvPr id="5" name="Conector Reto 17">
            <a:extLst>
              <a:ext uri="{FF2B5EF4-FFF2-40B4-BE49-F238E27FC236}">
                <a16:creationId xmlns:a16="http://schemas.microsoft.com/office/drawing/2014/main" id="{C021393B-5299-5299-59C3-B29F8ACD7016}"/>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9" name="Rounded Rectangle 141">
            <a:extLst>
              <a:ext uri="{FF2B5EF4-FFF2-40B4-BE49-F238E27FC236}">
                <a16:creationId xmlns:a16="http://schemas.microsoft.com/office/drawing/2014/main" id="{AE232E89-D3C5-D783-B19A-ECE3DFB1B17A}"/>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Tree>
    <p:extLst>
      <p:ext uri="{BB962C8B-B14F-4D97-AF65-F5344CB8AC3E}">
        <p14:creationId xmlns:p14="http://schemas.microsoft.com/office/powerpoint/2010/main" val="19328295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0E1852-3B38-0DDC-E518-F2B3CCFAB9DD}"/>
              </a:ext>
            </a:extLst>
          </p:cNvPr>
          <p:cNvSpPr>
            <a:spLocks noGrp="1"/>
          </p:cNvSpPr>
          <p:nvPr>
            <p:ph type="body" sz="quarter" idx="11"/>
          </p:nvPr>
        </p:nvSpPr>
        <p:spPr/>
        <p:txBody>
          <a:bodyPr/>
          <a:lstStyle/>
          <a:p>
            <a:endParaRPr lang="en-US"/>
          </a:p>
        </p:txBody>
      </p:sp>
      <p:sp>
        <p:nvSpPr>
          <p:cNvPr id="4" name="Title 1">
            <a:extLst>
              <a:ext uri="{FF2B5EF4-FFF2-40B4-BE49-F238E27FC236}">
                <a16:creationId xmlns:a16="http://schemas.microsoft.com/office/drawing/2014/main" id="{BC5F8418-5973-8DDA-B1CE-AAF85DDC8F89}"/>
              </a:ext>
            </a:extLst>
          </p:cNvPr>
          <p:cNvSpPr txBox="1">
            <a:spLocks/>
          </p:cNvSpPr>
          <p:nvPr/>
        </p:nvSpPr>
        <p:spPr>
          <a:xfrm>
            <a:off x="127221" y="179753"/>
            <a:ext cx="12406313" cy="552094"/>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L9 | Fuel Filter Intervals</a:t>
            </a:r>
          </a:p>
        </p:txBody>
      </p:sp>
      <p:graphicFrame>
        <p:nvGraphicFramePr>
          <p:cNvPr id="5" name="Table 4">
            <a:extLst>
              <a:ext uri="{FF2B5EF4-FFF2-40B4-BE49-F238E27FC236}">
                <a16:creationId xmlns:a16="http://schemas.microsoft.com/office/drawing/2014/main" id="{FD49E50F-DCCE-F049-0D7D-6E7DE7BC895F}"/>
              </a:ext>
            </a:extLst>
          </p:cNvPr>
          <p:cNvGraphicFramePr>
            <a:graphicFrameLocks noGrp="1"/>
          </p:cNvGraphicFramePr>
          <p:nvPr>
            <p:extLst>
              <p:ext uri="{D42A27DB-BD31-4B8C-83A1-F6EECF244321}">
                <p14:modId xmlns:p14="http://schemas.microsoft.com/office/powerpoint/2010/main" val="3450431262"/>
              </p:ext>
            </p:extLst>
          </p:nvPr>
        </p:nvGraphicFramePr>
        <p:xfrm>
          <a:off x="967377" y="1489143"/>
          <a:ext cx="7670800" cy="2960370"/>
        </p:xfrm>
        <a:graphic>
          <a:graphicData uri="http://schemas.openxmlformats.org/drawingml/2006/table">
            <a:tbl>
              <a:tblPr/>
              <a:tblGrid>
                <a:gridCol w="1917700">
                  <a:extLst>
                    <a:ext uri="{9D8B030D-6E8A-4147-A177-3AD203B41FA5}">
                      <a16:colId xmlns:a16="http://schemas.microsoft.com/office/drawing/2014/main" val="1537047331"/>
                    </a:ext>
                  </a:extLst>
                </a:gridCol>
                <a:gridCol w="1917700">
                  <a:extLst>
                    <a:ext uri="{9D8B030D-6E8A-4147-A177-3AD203B41FA5}">
                      <a16:colId xmlns:a16="http://schemas.microsoft.com/office/drawing/2014/main" val="227520811"/>
                    </a:ext>
                  </a:extLst>
                </a:gridCol>
                <a:gridCol w="1917700">
                  <a:extLst>
                    <a:ext uri="{9D8B030D-6E8A-4147-A177-3AD203B41FA5}">
                      <a16:colId xmlns:a16="http://schemas.microsoft.com/office/drawing/2014/main" val="3404240617"/>
                    </a:ext>
                  </a:extLst>
                </a:gridCol>
                <a:gridCol w="1917700">
                  <a:extLst>
                    <a:ext uri="{9D8B030D-6E8A-4147-A177-3AD203B41FA5}">
                      <a16:colId xmlns:a16="http://schemas.microsoft.com/office/drawing/2014/main" val="1547689729"/>
                    </a:ext>
                  </a:extLst>
                </a:gridCol>
              </a:tblGrid>
              <a:tr h="304800">
                <a:tc gridSpan="4">
                  <a:txBody>
                    <a:bodyPr/>
                    <a:lstStyle/>
                    <a:p>
                      <a:pPr algn="ctr" fontAlgn="ctr">
                        <a:buNone/>
                      </a:pPr>
                      <a:r>
                        <a:rPr lang="en-US" sz="1800" b="1" i="0" u="none" strike="noStrike">
                          <a:solidFill>
                            <a:srgbClr val="FFFFFF"/>
                          </a:solidFill>
                          <a:effectLst/>
                          <a:latin typeface="Roboto" panose="02000000000000000000" pitchFamily="2" charset="0"/>
                        </a:rPr>
                        <a:t>Table 1: Pressure Side Fuel Filter (Primary)</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89248301"/>
                  </a:ext>
                </a:extLst>
              </a:tr>
              <a:tr h="882650">
                <a:tc>
                  <a:txBody>
                    <a:bodyPr/>
                    <a:lstStyle/>
                    <a:p>
                      <a:pPr algn="ctr" fontAlgn="ctr">
                        <a:buNone/>
                      </a:pPr>
                      <a:r>
                        <a:rPr lang="en-US" sz="1800" b="1" i="0" u="none" strike="noStrike">
                          <a:solidFill>
                            <a:srgbClr val="FFFFFF"/>
                          </a:solidFill>
                          <a:effectLst/>
                          <a:latin typeface="Roboto" panose="02000000000000000000" pitchFamily="2" charset="0"/>
                        </a:rPr>
                        <a:t>Kilometer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buNone/>
                      </a:pPr>
                      <a:r>
                        <a:rPr lang="en-US" sz="1800" b="1" i="0" u="none" strike="noStrike" dirty="0">
                          <a:solidFill>
                            <a:srgbClr val="FFFFFF"/>
                          </a:solidFill>
                          <a:effectLst/>
                          <a:latin typeface="Roboto" panose="02000000000000000000" pitchFamily="2" charset="0"/>
                        </a:rPr>
                        <a:t>Mile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buNone/>
                      </a:pPr>
                      <a:r>
                        <a:rPr lang="en-US" sz="1800" b="1" i="0" u="none" strike="noStrike">
                          <a:solidFill>
                            <a:srgbClr val="FFFFFF"/>
                          </a:solidFill>
                          <a:effectLst/>
                          <a:latin typeface="Roboto" panose="02000000000000000000" pitchFamily="2" charset="0"/>
                        </a:rPr>
                        <a:t>Hour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buNone/>
                      </a:pPr>
                      <a:r>
                        <a:rPr lang="en-US" sz="1800" b="1" i="0" u="none" strike="noStrike">
                          <a:solidFill>
                            <a:srgbClr val="FFFFFF"/>
                          </a:solidFill>
                          <a:effectLst/>
                          <a:latin typeface="Roboto" panose="02000000000000000000" pitchFamily="2" charset="0"/>
                        </a:rPr>
                        <a:t>Month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2931841089"/>
                  </a:ext>
                </a:extLst>
              </a:tr>
              <a:tr h="304800">
                <a:tc>
                  <a:txBody>
                    <a:bodyPr/>
                    <a:lstStyle/>
                    <a:p>
                      <a:pPr algn="ctr" fontAlgn="ctr">
                        <a:buNone/>
                      </a:pPr>
                      <a:r>
                        <a:rPr lang="en-US" sz="1800" b="0" i="0" u="none" strike="noStrike">
                          <a:solidFill>
                            <a:srgbClr val="333333"/>
                          </a:solidFill>
                          <a:effectLst/>
                          <a:latin typeface="Roboto" panose="02000000000000000000" pitchFamily="2" charset="0"/>
                        </a:rPr>
                        <a:t>80,00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buNone/>
                      </a:pPr>
                      <a:r>
                        <a:rPr lang="en-US" sz="1800" b="0" i="0" u="none" strike="noStrike">
                          <a:solidFill>
                            <a:srgbClr val="333333"/>
                          </a:solidFill>
                          <a:effectLst/>
                          <a:latin typeface="Roboto" panose="02000000000000000000" pitchFamily="2" charset="0"/>
                        </a:rPr>
                        <a:t>50,00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buNone/>
                      </a:pPr>
                      <a:r>
                        <a:rPr lang="en-US" sz="1800" b="0" i="0" u="none" strike="noStrike">
                          <a:solidFill>
                            <a:srgbClr val="333333"/>
                          </a:solidFill>
                          <a:effectLst/>
                          <a:latin typeface="Roboto" panose="02000000000000000000" pitchFamily="2" charset="0"/>
                        </a:rPr>
                        <a:t>150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buNone/>
                      </a:pPr>
                      <a:r>
                        <a:rPr lang="en-US" sz="1800" b="0" i="0" u="none" strike="noStrike">
                          <a:solidFill>
                            <a:srgbClr val="333333"/>
                          </a:solidFill>
                          <a:effectLst/>
                          <a:latin typeface="Roboto" panose="02000000000000000000" pitchFamily="2" charset="0"/>
                        </a:rPr>
                        <a:t>1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24216758"/>
                  </a:ext>
                </a:extLst>
              </a:tr>
              <a:tr h="266700">
                <a:tc gridSpan="4">
                  <a:txBody>
                    <a:bodyPr/>
                    <a:lstStyle/>
                    <a:p>
                      <a:pPr algn="ctr" fontAlgn="ctr">
                        <a:buNone/>
                      </a:pPr>
                      <a:r>
                        <a:rPr lang="en-US" sz="1800" b="1" i="0" u="none" strike="noStrike">
                          <a:solidFill>
                            <a:srgbClr val="FFFFFF"/>
                          </a:solidFill>
                          <a:effectLst/>
                          <a:latin typeface="Roboto" panose="02000000000000000000" pitchFamily="2" charset="0"/>
                        </a:rPr>
                        <a:t>Table 2: Suction Side Fuel Filter (Prefilter with Water in Fuel Sensor)1</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00824084"/>
                  </a:ext>
                </a:extLst>
              </a:tr>
              <a:tr h="882650">
                <a:tc>
                  <a:txBody>
                    <a:bodyPr/>
                    <a:lstStyle/>
                    <a:p>
                      <a:pPr algn="ctr" fontAlgn="ctr">
                        <a:buNone/>
                      </a:pPr>
                      <a:r>
                        <a:rPr lang="en-US" sz="1800" b="1" i="0" u="none" strike="noStrike">
                          <a:solidFill>
                            <a:srgbClr val="FFFFFF"/>
                          </a:solidFill>
                          <a:effectLst/>
                          <a:latin typeface="Roboto" panose="02000000000000000000" pitchFamily="2" charset="0"/>
                        </a:rPr>
                        <a:t>Kilometer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buNone/>
                      </a:pPr>
                      <a:r>
                        <a:rPr lang="en-US" sz="1800" b="1" i="0" u="none" strike="noStrike">
                          <a:solidFill>
                            <a:srgbClr val="FFFFFF"/>
                          </a:solidFill>
                          <a:effectLst/>
                          <a:latin typeface="Roboto" panose="02000000000000000000" pitchFamily="2" charset="0"/>
                        </a:rPr>
                        <a:t>Mile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buNone/>
                      </a:pPr>
                      <a:r>
                        <a:rPr lang="en-US" sz="1800" b="1" i="0" u="none" strike="noStrike">
                          <a:solidFill>
                            <a:srgbClr val="FFFFFF"/>
                          </a:solidFill>
                          <a:effectLst/>
                          <a:latin typeface="Roboto" panose="02000000000000000000" pitchFamily="2" charset="0"/>
                        </a:rPr>
                        <a:t>Hour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buNone/>
                      </a:pPr>
                      <a:r>
                        <a:rPr lang="en-US" sz="1800" b="1" i="0" u="none" strike="noStrike">
                          <a:solidFill>
                            <a:srgbClr val="FFFFFF"/>
                          </a:solidFill>
                          <a:effectLst/>
                          <a:latin typeface="Roboto" panose="02000000000000000000" pitchFamily="2" charset="0"/>
                        </a:rPr>
                        <a:t>Month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3607080559"/>
                  </a:ext>
                </a:extLst>
              </a:tr>
              <a:tr h="304800">
                <a:tc>
                  <a:txBody>
                    <a:bodyPr/>
                    <a:lstStyle/>
                    <a:p>
                      <a:pPr algn="ctr" fontAlgn="ctr">
                        <a:buNone/>
                      </a:pPr>
                      <a:r>
                        <a:rPr lang="en-US" sz="1800" b="0" i="0" u="none" strike="noStrike">
                          <a:solidFill>
                            <a:srgbClr val="333333"/>
                          </a:solidFill>
                          <a:effectLst/>
                          <a:latin typeface="Roboto" panose="02000000000000000000" pitchFamily="2" charset="0"/>
                        </a:rPr>
                        <a:t>80,00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buNone/>
                      </a:pPr>
                      <a:r>
                        <a:rPr lang="en-US" sz="1800" b="0" i="0" u="none" strike="noStrike">
                          <a:solidFill>
                            <a:srgbClr val="333333"/>
                          </a:solidFill>
                          <a:effectLst/>
                          <a:latin typeface="Roboto" panose="02000000000000000000" pitchFamily="2" charset="0"/>
                        </a:rPr>
                        <a:t>50,00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buNone/>
                      </a:pPr>
                      <a:r>
                        <a:rPr lang="en-US" sz="1800" b="0" i="0" u="none" strike="noStrike">
                          <a:solidFill>
                            <a:srgbClr val="333333"/>
                          </a:solidFill>
                          <a:effectLst/>
                          <a:latin typeface="Roboto" panose="02000000000000000000" pitchFamily="2" charset="0"/>
                        </a:rPr>
                        <a:t>150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buNone/>
                      </a:pPr>
                      <a:r>
                        <a:rPr lang="en-US" sz="1800" b="0" i="0" u="none" strike="noStrike" dirty="0">
                          <a:solidFill>
                            <a:srgbClr val="333333"/>
                          </a:solidFill>
                          <a:effectLst/>
                          <a:latin typeface="Roboto" panose="02000000000000000000" pitchFamily="2" charset="0"/>
                        </a:rPr>
                        <a:t>1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96627677"/>
                  </a:ext>
                </a:extLst>
              </a:tr>
            </a:tbl>
          </a:graphicData>
        </a:graphic>
      </p:graphicFrame>
      <p:sp>
        <p:nvSpPr>
          <p:cNvPr id="6" name="Rectangle 5">
            <a:extLst>
              <a:ext uri="{FF2B5EF4-FFF2-40B4-BE49-F238E27FC236}">
                <a16:creationId xmlns:a16="http://schemas.microsoft.com/office/drawing/2014/main" id="{818BD9CD-4F04-4954-CB83-7806D1A082A2}"/>
              </a:ext>
            </a:extLst>
          </p:cNvPr>
          <p:cNvSpPr/>
          <p:nvPr/>
        </p:nvSpPr>
        <p:spPr>
          <a:xfrm>
            <a:off x="755862" y="4738165"/>
            <a:ext cx="10900560" cy="1323439"/>
          </a:xfrm>
          <a:prstGeom prst="rect">
            <a:avLst/>
          </a:prstGeom>
        </p:spPr>
        <p:txBody>
          <a:bodyPr wrap="square">
            <a:spAutoFit/>
          </a:bodyPr>
          <a:lstStyle/>
          <a:p>
            <a:pPr>
              <a:defRPr/>
            </a:pPr>
            <a:r>
              <a:rPr lang="en-US" sz="1600" dirty="0">
                <a:solidFill>
                  <a:srgbClr val="000000"/>
                </a:solidFill>
                <a:latin typeface="Arial" panose="020B0604020202020204"/>
              </a:rPr>
              <a:t>Determine the maximum recommended fuel filter change interval in (miles, hours, or months whichever occurs first)</a:t>
            </a:r>
          </a:p>
          <a:p>
            <a:pPr>
              <a:defRPr/>
            </a:pPr>
            <a:endParaRPr lang="en-US" sz="1600" dirty="0">
              <a:solidFill>
                <a:srgbClr val="000000"/>
              </a:solidFill>
              <a:latin typeface="Arial" panose="020B0604020202020204"/>
            </a:endParaRPr>
          </a:p>
          <a:p>
            <a:pPr>
              <a:defRPr/>
            </a:pPr>
            <a:r>
              <a:rPr lang="en-US" sz="1600" dirty="0">
                <a:solidFill>
                  <a:srgbClr val="000000"/>
                </a:solidFill>
                <a:latin typeface="Arial" panose="020B0604020202020204"/>
              </a:rPr>
              <a:t>The equipment/vehicle OEM may use a non-Cummins branded stage 1 fuel filter.  See equipment manufacturer service information for interval details</a:t>
            </a:r>
          </a:p>
          <a:p>
            <a:pPr>
              <a:defRPr/>
            </a:pPr>
            <a:endParaRPr lang="en-US" sz="1600" dirty="0">
              <a:solidFill>
                <a:srgbClr val="000000"/>
              </a:solidFill>
              <a:latin typeface="Arial" panose="020B0604020202020204"/>
            </a:endParaRPr>
          </a:p>
        </p:txBody>
      </p:sp>
      <p:pic>
        <p:nvPicPr>
          <p:cNvPr id="8" name="Picture 7">
            <a:extLst>
              <a:ext uri="{FF2B5EF4-FFF2-40B4-BE49-F238E27FC236}">
                <a16:creationId xmlns:a16="http://schemas.microsoft.com/office/drawing/2014/main" id="{07A63516-332D-112C-8EF0-8BDD196E56F1}"/>
              </a:ext>
            </a:extLst>
          </p:cNvPr>
          <p:cNvPicPr>
            <a:picLocks noChangeAspect="1"/>
          </p:cNvPicPr>
          <p:nvPr/>
        </p:nvPicPr>
        <p:blipFill>
          <a:blip r:embed="rId3"/>
          <a:srcRect l="5055"/>
          <a:stretch>
            <a:fillRect/>
          </a:stretch>
        </p:blipFill>
        <p:spPr>
          <a:xfrm>
            <a:off x="9300754" y="1378462"/>
            <a:ext cx="2350504" cy="2960370"/>
          </a:xfrm>
          <a:prstGeom prst="rect">
            <a:avLst/>
          </a:prstGeom>
        </p:spPr>
      </p:pic>
    </p:spTree>
    <p:extLst>
      <p:ext uri="{BB962C8B-B14F-4D97-AF65-F5344CB8AC3E}">
        <p14:creationId xmlns:p14="http://schemas.microsoft.com/office/powerpoint/2010/main" val="15990259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A9E99-AA88-3E3B-1964-6198CD9AE06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2F68CB36-D6FF-8D7D-E047-7D399CB6CB54}"/>
              </a:ext>
            </a:extLst>
          </p:cNvPr>
          <p:cNvSpPr>
            <a:spLocks noGrp="1"/>
          </p:cNvSpPr>
          <p:nvPr>
            <p:ph type="body" sz="quarter" idx="11"/>
          </p:nvPr>
        </p:nvSpPr>
        <p:spPr/>
        <p:txBody>
          <a:bodyPr/>
          <a:lstStyle/>
          <a:p>
            <a:endParaRPr lang="en-US"/>
          </a:p>
        </p:txBody>
      </p:sp>
      <p:sp>
        <p:nvSpPr>
          <p:cNvPr id="4" name="Title 1">
            <a:extLst>
              <a:ext uri="{FF2B5EF4-FFF2-40B4-BE49-F238E27FC236}">
                <a16:creationId xmlns:a16="http://schemas.microsoft.com/office/drawing/2014/main" id="{5F9C14FC-7B2E-6C2E-5720-366A71D473E8}"/>
              </a:ext>
            </a:extLst>
          </p:cNvPr>
          <p:cNvSpPr txBox="1">
            <a:spLocks/>
          </p:cNvSpPr>
          <p:nvPr/>
        </p:nvSpPr>
        <p:spPr>
          <a:xfrm>
            <a:off x="127221" y="179753"/>
            <a:ext cx="12406313" cy="552094"/>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L9 | </a:t>
            </a:r>
            <a:r>
              <a:rPr lang="en-US" sz="3400" dirty="0">
                <a:solidFill>
                  <a:srgbClr val="000000"/>
                </a:solidFill>
                <a:latin typeface="Roboto" panose="02000000000000000000" pitchFamily="2" charset="0"/>
                <a:ea typeface="Roboto" panose="02000000000000000000" pitchFamily="2" charset="0"/>
                <a:cs typeface="Roboto" panose="02000000000000000000" pitchFamily="2" charset="0"/>
              </a:rPr>
              <a:t>Coolant Interval</a:t>
            </a:r>
            <a:endPar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 name="Rectangle 5">
            <a:extLst>
              <a:ext uri="{FF2B5EF4-FFF2-40B4-BE49-F238E27FC236}">
                <a16:creationId xmlns:a16="http://schemas.microsoft.com/office/drawing/2014/main" id="{E05F8523-ABD5-88D8-1F1C-1DFDD1EDB126}"/>
              </a:ext>
            </a:extLst>
          </p:cNvPr>
          <p:cNvSpPr/>
          <p:nvPr/>
        </p:nvSpPr>
        <p:spPr>
          <a:xfrm>
            <a:off x="645720" y="5127661"/>
            <a:ext cx="10900560" cy="830997"/>
          </a:xfrm>
          <a:prstGeom prst="rect">
            <a:avLst/>
          </a:prstGeom>
        </p:spPr>
        <p:txBody>
          <a:bodyPr wrap="square">
            <a:spAutoFit/>
          </a:bodyPr>
          <a:lstStyle/>
          <a:p>
            <a:pPr>
              <a:defRPr/>
            </a:pPr>
            <a:r>
              <a:rPr lang="en-US" sz="1600" dirty="0">
                <a:solidFill>
                  <a:srgbClr val="000000"/>
                </a:solidFill>
                <a:latin typeface="Arial" panose="020B0604020202020204"/>
              </a:rPr>
              <a:t>Definitions:</a:t>
            </a:r>
          </a:p>
          <a:p>
            <a:pPr marL="285750" indent="-285750">
              <a:buFont typeface="Arial" panose="020B0604020202020204" pitchFamily="34" charset="0"/>
              <a:buChar char="•"/>
              <a:defRPr/>
            </a:pPr>
            <a:r>
              <a:rPr lang="en-US" sz="1600" dirty="0">
                <a:solidFill>
                  <a:srgbClr val="000000"/>
                </a:solidFill>
                <a:latin typeface="Arial" panose="020B0604020202020204"/>
              </a:rPr>
              <a:t>ELC – Extended Life Coolant</a:t>
            </a:r>
          </a:p>
          <a:p>
            <a:pPr marL="285750" indent="-285750">
              <a:buFont typeface="Arial" panose="020B0604020202020204" pitchFamily="34" charset="0"/>
              <a:buChar char="•"/>
              <a:defRPr/>
            </a:pPr>
            <a:r>
              <a:rPr lang="en-US" sz="1600" dirty="0">
                <a:solidFill>
                  <a:srgbClr val="000000"/>
                </a:solidFill>
                <a:latin typeface="Arial" panose="020B0604020202020204"/>
              </a:rPr>
              <a:t>OAT – Organic Additive Technology</a:t>
            </a:r>
          </a:p>
        </p:txBody>
      </p:sp>
      <p:graphicFrame>
        <p:nvGraphicFramePr>
          <p:cNvPr id="2" name="Table 1">
            <a:extLst>
              <a:ext uri="{FF2B5EF4-FFF2-40B4-BE49-F238E27FC236}">
                <a16:creationId xmlns:a16="http://schemas.microsoft.com/office/drawing/2014/main" id="{87D22D5A-2A79-F126-4DD2-9B94957956F7}"/>
              </a:ext>
            </a:extLst>
          </p:cNvPr>
          <p:cNvGraphicFramePr>
            <a:graphicFrameLocks noGrp="1"/>
          </p:cNvGraphicFramePr>
          <p:nvPr>
            <p:extLst>
              <p:ext uri="{D42A27DB-BD31-4B8C-83A1-F6EECF244321}">
                <p14:modId xmlns:p14="http://schemas.microsoft.com/office/powerpoint/2010/main" val="2577759058"/>
              </p:ext>
            </p:extLst>
          </p:nvPr>
        </p:nvGraphicFramePr>
        <p:xfrm>
          <a:off x="300447" y="982241"/>
          <a:ext cx="10515601" cy="3895025"/>
        </p:xfrm>
        <a:graphic>
          <a:graphicData uri="http://schemas.openxmlformats.org/drawingml/2006/table">
            <a:tbl>
              <a:tblPr/>
              <a:tblGrid>
                <a:gridCol w="1288617">
                  <a:extLst>
                    <a:ext uri="{9D8B030D-6E8A-4147-A177-3AD203B41FA5}">
                      <a16:colId xmlns:a16="http://schemas.microsoft.com/office/drawing/2014/main" val="645000425"/>
                    </a:ext>
                  </a:extLst>
                </a:gridCol>
                <a:gridCol w="1288617">
                  <a:extLst>
                    <a:ext uri="{9D8B030D-6E8A-4147-A177-3AD203B41FA5}">
                      <a16:colId xmlns:a16="http://schemas.microsoft.com/office/drawing/2014/main" val="2711659995"/>
                    </a:ext>
                  </a:extLst>
                </a:gridCol>
                <a:gridCol w="1288617">
                  <a:extLst>
                    <a:ext uri="{9D8B030D-6E8A-4147-A177-3AD203B41FA5}">
                      <a16:colId xmlns:a16="http://schemas.microsoft.com/office/drawing/2014/main" val="3608200178"/>
                    </a:ext>
                  </a:extLst>
                </a:gridCol>
                <a:gridCol w="1288617">
                  <a:extLst>
                    <a:ext uri="{9D8B030D-6E8A-4147-A177-3AD203B41FA5}">
                      <a16:colId xmlns:a16="http://schemas.microsoft.com/office/drawing/2014/main" val="1747961702"/>
                    </a:ext>
                  </a:extLst>
                </a:gridCol>
                <a:gridCol w="1495282">
                  <a:extLst>
                    <a:ext uri="{9D8B030D-6E8A-4147-A177-3AD203B41FA5}">
                      <a16:colId xmlns:a16="http://schemas.microsoft.com/office/drawing/2014/main" val="3501945895"/>
                    </a:ext>
                  </a:extLst>
                </a:gridCol>
                <a:gridCol w="1288617">
                  <a:extLst>
                    <a:ext uri="{9D8B030D-6E8A-4147-A177-3AD203B41FA5}">
                      <a16:colId xmlns:a16="http://schemas.microsoft.com/office/drawing/2014/main" val="1185000760"/>
                    </a:ext>
                  </a:extLst>
                </a:gridCol>
                <a:gridCol w="1288617">
                  <a:extLst>
                    <a:ext uri="{9D8B030D-6E8A-4147-A177-3AD203B41FA5}">
                      <a16:colId xmlns:a16="http://schemas.microsoft.com/office/drawing/2014/main" val="1461633029"/>
                    </a:ext>
                  </a:extLst>
                </a:gridCol>
                <a:gridCol w="1288617">
                  <a:extLst>
                    <a:ext uri="{9D8B030D-6E8A-4147-A177-3AD203B41FA5}">
                      <a16:colId xmlns:a16="http://schemas.microsoft.com/office/drawing/2014/main" val="1225742071"/>
                    </a:ext>
                  </a:extLst>
                </a:gridCol>
              </a:tblGrid>
              <a:tr h="449800">
                <a:tc gridSpan="8">
                  <a:txBody>
                    <a:bodyPr/>
                    <a:lstStyle/>
                    <a:p>
                      <a:pPr algn="l" fontAlgn="b">
                        <a:buNone/>
                      </a:pPr>
                      <a:r>
                        <a:rPr lang="en-US" sz="1700" b="1" i="0" u="none" strike="noStrike">
                          <a:solidFill>
                            <a:srgbClr val="FFFFFF"/>
                          </a:solidFill>
                          <a:effectLst/>
                          <a:latin typeface="Aptos Narrow" panose="020B0004020202020204" pitchFamily="34" charset="0"/>
                        </a:rPr>
                        <a:t>Coolant Interval</a:t>
                      </a:r>
                    </a:p>
                  </a:txBody>
                  <a:tcPr marL="6078" marR="6078" marT="6078" marB="0" anchor="b">
                    <a:lnL>
                      <a:noFill/>
                    </a:lnL>
                    <a:lnR>
                      <a:noFill/>
                    </a:lnR>
                    <a:lnT>
                      <a:noFill/>
                    </a:lnT>
                    <a:lnB w="12700" cap="flat" cmpd="sng" algn="ctr">
                      <a:solidFill>
                        <a:srgbClr val="000000"/>
                      </a:solidFill>
                      <a:prstDash val="solid"/>
                      <a:round/>
                      <a:headEnd type="none" w="med" len="med"/>
                      <a:tailEnd type="none" w="med" len="med"/>
                    </a:lnB>
                    <a:solidFill>
                      <a:srgbClr val="80808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6020930"/>
                  </a:ext>
                </a:extLst>
              </a:tr>
              <a:tr h="472898">
                <a:tc gridSpan="2">
                  <a:txBody>
                    <a:bodyPr/>
                    <a:lstStyle/>
                    <a:p>
                      <a:pPr algn="l" fontAlgn="ctr">
                        <a:buNone/>
                      </a:pPr>
                      <a:r>
                        <a:rPr lang="en-US" sz="1500" b="1" i="0" u="none" strike="noStrike">
                          <a:solidFill>
                            <a:srgbClr val="FFFFFF"/>
                          </a:solidFill>
                          <a:effectLst/>
                          <a:latin typeface="Roboto" panose="02000000000000000000" pitchFamily="2" charset="0"/>
                        </a:rPr>
                        <a:t>Table A</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hMerge="1">
                  <a:txBody>
                    <a:bodyPr/>
                    <a:lstStyle/>
                    <a:p>
                      <a:endParaRPr lang="en-US"/>
                    </a:p>
                  </a:txBody>
                  <a:tcPr/>
                </a:tc>
                <a:tc gridSpan="3">
                  <a:txBody>
                    <a:bodyPr/>
                    <a:lstStyle/>
                    <a:p>
                      <a:pPr algn="l" fontAlgn="ctr">
                        <a:buNone/>
                      </a:pPr>
                      <a:r>
                        <a:rPr lang="en-US" sz="1500" b="1" i="0" u="none" strike="noStrike">
                          <a:solidFill>
                            <a:srgbClr val="FFFFFF"/>
                          </a:solidFill>
                          <a:effectLst/>
                          <a:latin typeface="Roboto" panose="02000000000000000000" pitchFamily="2" charset="0"/>
                        </a:rPr>
                        <a:t>Glycol Check</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hMerge="1">
                  <a:txBody>
                    <a:bodyPr/>
                    <a:lstStyle/>
                    <a:p>
                      <a:endParaRPr lang="en-US"/>
                    </a:p>
                  </a:txBody>
                  <a:tcPr/>
                </a:tc>
                <a:tc hMerge="1">
                  <a:txBody>
                    <a:bodyPr/>
                    <a:lstStyle/>
                    <a:p>
                      <a:endParaRPr lang="en-US"/>
                    </a:p>
                  </a:txBody>
                  <a:tcPr/>
                </a:tc>
                <a:tc gridSpan="2">
                  <a:txBody>
                    <a:bodyPr/>
                    <a:lstStyle/>
                    <a:p>
                      <a:pPr algn="l" fontAlgn="ctr">
                        <a:buNone/>
                      </a:pPr>
                      <a:r>
                        <a:rPr lang="en-US" sz="1500" b="1" i="0" u="none" strike="noStrike">
                          <a:solidFill>
                            <a:srgbClr val="FFFFFF"/>
                          </a:solidFill>
                          <a:effectLst/>
                          <a:latin typeface="Roboto" panose="02000000000000000000" pitchFamily="2" charset="0"/>
                        </a:rPr>
                        <a:t>SCA </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hMerge="1">
                  <a:txBody>
                    <a:bodyPr/>
                    <a:lstStyle/>
                    <a:p>
                      <a:endParaRPr lang="en-US"/>
                    </a:p>
                  </a:txBody>
                  <a:tcPr/>
                </a:tc>
                <a:tc>
                  <a:txBody>
                    <a:bodyPr/>
                    <a:lstStyle/>
                    <a:p>
                      <a:pPr algn="l" fontAlgn="ctr">
                        <a:buNone/>
                      </a:pPr>
                      <a:r>
                        <a:rPr lang="en-US" sz="1500" b="1" i="0" u="none" strike="noStrike">
                          <a:solidFill>
                            <a:srgbClr val="FFFFFF"/>
                          </a:solidFill>
                          <a:effectLst/>
                          <a:latin typeface="Roboto" panose="02000000000000000000" pitchFamily="2" charset="0"/>
                        </a:rPr>
                        <a:t>Coolant Replacement</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2293240049"/>
                  </a:ext>
                </a:extLst>
              </a:tr>
              <a:tr h="449800">
                <a:tc>
                  <a:txBody>
                    <a:bodyPr/>
                    <a:lstStyle/>
                    <a:p>
                      <a:pPr algn="l" fontAlgn="ctr">
                        <a:buNone/>
                      </a:pPr>
                      <a:r>
                        <a:rPr lang="en-US" sz="1500" b="1" i="0" u="none" strike="noStrike">
                          <a:solidFill>
                            <a:srgbClr val="FFFFFF"/>
                          </a:solidFill>
                          <a:effectLst/>
                          <a:latin typeface="Roboto" panose="02000000000000000000" pitchFamily="2" charset="0"/>
                        </a:rPr>
                        <a:t>Coolant Type</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500" b="1" i="0" u="none" strike="noStrike">
                          <a:solidFill>
                            <a:srgbClr val="FFFFFF"/>
                          </a:solidFill>
                          <a:effectLst/>
                          <a:latin typeface="Roboto" panose="02000000000000000000" pitchFamily="2" charset="0"/>
                        </a:rPr>
                        <a:t>Additive Type</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500" b="1" i="0" u="none" strike="noStrike">
                          <a:solidFill>
                            <a:srgbClr val="FFFFFF"/>
                          </a:solidFill>
                          <a:effectLst/>
                          <a:latin typeface="Roboto" panose="02000000000000000000" pitchFamily="2" charset="0"/>
                        </a:rPr>
                        <a:t>Interval (hrs)</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500" b="1" i="0" u="none" strike="noStrike">
                          <a:solidFill>
                            <a:srgbClr val="FFFFFF"/>
                          </a:solidFill>
                          <a:effectLst/>
                          <a:latin typeface="Roboto" panose="02000000000000000000" pitchFamily="2" charset="0"/>
                        </a:rPr>
                        <a:t>Test Strip</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500" b="1" i="0" u="none" strike="noStrike">
                          <a:solidFill>
                            <a:srgbClr val="FFFFFF"/>
                          </a:solidFill>
                          <a:effectLst/>
                          <a:latin typeface="Roboto" panose="02000000000000000000" pitchFamily="2" charset="0"/>
                        </a:rPr>
                        <a:t>Refractometer</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500" b="1" i="0" u="none" strike="noStrike">
                          <a:solidFill>
                            <a:srgbClr val="FFFFFF"/>
                          </a:solidFill>
                          <a:effectLst/>
                          <a:latin typeface="Roboto" panose="02000000000000000000" pitchFamily="2" charset="0"/>
                        </a:rPr>
                        <a:t> Interval (hrs)</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500" b="1" i="0" u="none" strike="noStrike">
                          <a:solidFill>
                            <a:srgbClr val="FFFFFF"/>
                          </a:solidFill>
                          <a:effectLst/>
                          <a:latin typeface="Roboto" panose="02000000000000000000" pitchFamily="2" charset="0"/>
                        </a:rPr>
                        <a:t>Test Strip</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500" b="1" i="0" u="none" strike="noStrike">
                          <a:solidFill>
                            <a:srgbClr val="FFFFFF"/>
                          </a:solidFill>
                          <a:effectLst/>
                          <a:latin typeface="Roboto" panose="02000000000000000000" pitchFamily="2" charset="0"/>
                        </a:rPr>
                        <a:t>Interval (hrs)</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3227607104"/>
                  </a:ext>
                </a:extLst>
              </a:tr>
              <a:tr h="449800">
                <a:tc>
                  <a:txBody>
                    <a:bodyPr/>
                    <a:lstStyle/>
                    <a:p>
                      <a:pPr algn="l" fontAlgn="ctr">
                        <a:buNone/>
                      </a:pPr>
                      <a:r>
                        <a:rPr lang="en-US" sz="1500" b="0" i="0" u="none" strike="noStrike">
                          <a:solidFill>
                            <a:srgbClr val="333333"/>
                          </a:solidFill>
                          <a:effectLst/>
                          <a:latin typeface="Roboto" panose="02000000000000000000" pitchFamily="2" charset="0"/>
                        </a:rPr>
                        <a:t>Conventional</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buNone/>
                      </a:pPr>
                      <a:r>
                        <a:rPr lang="en-US" sz="1500" b="0" i="0" u="none" strike="noStrike">
                          <a:solidFill>
                            <a:srgbClr val="333333"/>
                          </a:solidFill>
                          <a:effectLst/>
                          <a:latin typeface="Roboto" panose="02000000000000000000" pitchFamily="2" charset="0"/>
                        </a:rPr>
                        <a:t>SCA</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4">
                  <a:txBody>
                    <a:bodyPr/>
                    <a:lstStyle/>
                    <a:p>
                      <a:pPr algn="r" fontAlgn="ctr">
                        <a:buNone/>
                      </a:pPr>
                      <a:r>
                        <a:rPr lang="en-US" sz="1500" b="0" i="0" u="none" strike="noStrike">
                          <a:solidFill>
                            <a:srgbClr val="333333"/>
                          </a:solidFill>
                          <a:effectLst/>
                          <a:latin typeface="Roboto" panose="02000000000000000000" pitchFamily="2" charset="0"/>
                        </a:rPr>
                        <a:t>500</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4">
                  <a:txBody>
                    <a:bodyPr/>
                    <a:lstStyle/>
                    <a:p>
                      <a:pPr algn="l" fontAlgn="ctr">
                        <a:buNone/>
                      </a:pPr>
                      <a:r>
                        <a:rPr lang="en-US" sz="1500" b="0" i="0" u="none" strike="noStrike">
                          <a:solidFill>
                            <a:srgbClr val="333333"/>
                          </a:solidFill>
                          <a:effectLst/>
                          <a:latin typeface="Roboto" panose="02000000000000000000" pitchFamily="2" charset="0"/>
                        </a:rPr>
                        <a:t>CC2602 CC2602A CC2602B CC2602M CC2602AM</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l" fontAlgn="ctr">
                        <a:buNone/>
                      </a:pPr>
                      <a:r>
                        <a:rPr lang="en-US" sz="1500" b="0" i="0" u="none" strike="noStrike">
                          <a:solidFill>
                            <a:srgbClr val="333333"/>
                          </a:solidFill>
                          <a:effectLst/>
                          <a:latin typeface="Roboto" panose="02000000000000000000" pitchFamily="2" charset="0"/>
                        </a:rPr>
                        <a:t>CC2806</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r" fontAlgn="ctr">
                        <a:buNone/>
                      </a:pPr>
                      <a:r>
                        <a:rPr lang="en-US" sz="1500" b="0" i="0" u="none" strike="noStrike">
                          <a:solidFill>
                            <a:srgbClr val="333333"/>
                          </a:solidFill>
                          <a:effectLst/>
                          <a:latin typeface="Roboto" panose="02000000000000000000" pitchFamily="2" charset="0"/>
                        </a:rPr>
                        <a:t>500</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l" fontAlgn="ctr">
                        <a:buNone/>
                      </a:pPr>
                      <a:r>
                        <a:rPr lang="en-US" sz="1500" b="0" i="0" u="none" strike="noStrike">
                          <a:solidFill>
                            <a:srgbClr val="333333"/>
                          </a:solidFill>
                          <a:effectLst/>
                          <a:latin typeface="Roboto" panose="02000000000000000000" pitchFamily="2" charset="0"/>
                        </a:rPr>
                        <a:t>CC2602 CC2602A CC2602B CC2602M CC2602AM</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buNone/>
                      </a:pPr>
                      <a:r>
                        <a:rPr lang="en-US" sz="1500" b="0" i="0" u="none" strike="noStrike">
                          <a:solidFill>
                            <a:srgbClr val="333333"/>
                          </a:solidFill>
                          <a:effectLst/>
                          <a:latin typeface="Roboto" panose="02000000000000000000" pitchFamily="2" charset="0"/>
                        </a:rPr>
                        <a:t>1500</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751553"/>
                  </a:ext>
                </a:extLst>
              </a:tr>
              <a:tr h="723327">
                <a:tc>
                  <a:txBody>
                    <a:bodyPr/>
                    <a:lstStyle/>
                    <a:p>
                      <a:pPr algn="l" fontAlgn="ctr">
                        <a:buNone/>
                      </a:pPr>
                      <a:r>
                        <a:rPr lang="en-US" sz="1500" b="0" i="0" u="none" strike="noStrike">
                          <a:solidFill>
                            <a:srgbClr val="333333"/>
                          </a:solidFill>
                          <a:effectLst/>
                          <a:latin typeface="Roboto" panose="02000000000000000000" pitchFamily="2" charset="0"/>
                        </a:rPr>
                        <a:t>Hybrid</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buNone/>
                      </a:pPr>
                      <a:r>
                        <a:rPr lang="en-US" sz="1500" b="0" i="0" u="none" strike="noStrike">
                          <a:solidFill>
                            <a:srgbClr val="333333"/>
                          </a:solidFill>
                          <a:effectLst/>
                          <a:latin typeface="Roboto" panose="02000000000000000000" pitchFamily="2" charset="0"/>
                        </a:rPr>
                        <a:t>SCA</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r" fontAlgn="ctr">
                        <a:buNone/>
                      </a:pPr>
                      <a:r>
                        <a:rPr lang="en-US" sz="1500" b="0" i="0" u="none" strike="noStrike">
                          <a:solidFill>
                            <a:srgbClr val="333333"/>
                          </a:solidFill>
                          <a:effectLst/>
                          <a:latin typeface="Roboto" panose="02000000000000000000" pitchFamily="2" charset="0"/>
                        </a:rPr>
                        <a:t>4000</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56188360"/>
                  </a:ext>
                </a:extLst>
              </a:tr>
              <a:tr h="449800">
                <a:tc>
                  <a:txBody>
                    <a:bodyPr/>
                    <a:lstStyle/>
                    <a:p>
                      <a:pPr algn="l" fontAlgn="ctr">
                        <a:buNone/>
                      </a:pPr>
                      <a:r>
                        <a:rPr lang="en-US" sz="1500" b="0" i="0" u="none" strike="noStrike">
                          <a:solidFill>
                            <a:srgbClr val="333333"/>
                          </a:solidFill>
                          <a:effectLst/>
                          <a:latin typeface="Roboto" panose="02000000000000000000" pitchFamily="2" charset="0"/>
                        </a:rPr>
                        <a:t>Hybrid</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buNone/>
                      </a:pPr>
                      <a:r>
                        <a:rPr lang="en-US" sz="1500" b="0" i="0" u="none" strike="noStrike">
                          <a:solidFill>
                            <a:srgbClr val="333333"/>
                          </a:solidFill>
                          <a:effectLst/>
                          <a:latin typeface="Roboto" panose="02000000000000000000" pitchFamily="2" charset="0"/>
                        </a:rPr>
                        <a:t>Organic</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rowSpan="2">
                  <a:txBody>
                    <a:bodyPr/>
                    <a:lstStyle/>
                    <a:p>
                      <a:pPr algn="l" fontAlgn="ctr">
                        <a:buNone/>
                      </a:pPr>
                      <a:r>
                        <a:rPr lang="en-US" sz="1500" b="0" i="0" u="none" strike="noStrike">
                          <a:solidFill>
                            <a:srgbClr val="333333"/>
                          </a:solidFill>
                          <a:effectLst/>
                          <a:latin typeface="Roboto" panose="02000000000000000000" pitchFamily="2" charset="0"/>
                        </a:rPr>
                        <a:t>CC8998</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buNone/>
                      </a:pPr>
                      <a:r>
                        <a:rPr lang="en-US" sz="1500" b="0" i="0" u="none" strike="noStrike">
                          <a:solidFill>
                            <a:srgbClr val="333333"/>
                          </a:solidFill>
                          <a:effectLst/>
                          <a:latin typeface="Roboto" panose="02000000000000000000" pitchFamily="2" charset="0"/>
                        </a:rPr>
                        <a:t>N/A*</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buNone/>
                      </a:pPr>
                      <a:r>
                        <a:rPr lang="en-US" sz="1500" b="0" i="0" u="none" strike="noStrike" dirty="0">
                          <a:solidFill>
                            <a:srgbClr val="333333"/>
                          </a:solidFill>
                          <a:effectLst/>
                          <a:latin typeface="Roboto" panose="02000000000000000000" pitchFamily="2" charset="0"/>
                        </a:rPr>
                        <a:t>N/A</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buNone/>
                      </a:pPr>
                      <a:r>
                        <a:rPr lang="en-US" sz="1500" b="0" i="0" u="none" strike="noStrike">
                          <a:solidFill>
                            <a:srgbClr val="333333"/>
                          </a:solidFill>
                          <a:effectLst/>
                          <a:latin typeface="Roboto" panose="02000000000000000000" pitchFamily="2" charset="0"/>
                        </a:rPr>
                        <a:t>4000</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18626834"/>
                  </a:ext>
                </a:extLst>
              </a:tr>
              <a:tr h="449800">
                <a:tc>
                  <a:txBody>
                    <a:bodyPr/>
                    <a:lstStyle/>
                    <a:p>
                      <a:pPr algn="l" fontAlgn="ctr">
                        <a:buNone/>
                      </a:pPr>
                      <a:r>
                        <a:rPr lang="en-US" sz="1500" b="0" i="0" u="none" strike="noStrike">
                          <a:solidFill>
                            <a:srgbClr val="333333"/>
                          </a:solidFill>
                          <a:effectLst/>
                          <a:latin typeface="Roboto" panose="02000000000000000000" pitchFamily="2" charset="0"/>
                        </a:rPr>
                        <a:t>ELC/OAT</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buNone/>
                      </a:pPr>
                      <a:r>
                        <a:rPr lang="en-US" sz="1500" b="0" i="0" u="none" strike="noStrike">
                          <a:solidFill>
                            <a:srgbClr val="333333"/>
                          </a:solidFill>
                          <a:effectLst/>
                          <a:latin typeface="Roboto" panose="02000000000000000000" pitchFamily="2" charset="0"/>
                        </a:rPr>
                        <a:t>Organic</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buNone/>
                      </a:pPr>
                      <a:r>
                        <a:rPr lang="en-US" sz="1500" b="0" i="0" u="none" strike="noStrike">
                          <a:solidFill>
                            <a:srgbClr val="333333"/>
                          </a:solidFill>
                          <a:effectLst/>
                          <a:latin typeface="Roboto" panose="02000000000000000000" pitchFamily="2" charset="0"/>
                        </a:rPr>
                        <a:t>N/A</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buNone/>
                      </a:pPr>
                      <a:r>
                        <a:rPr lang="en-US" sz="1500" b="0" i="0" u="none" strike="noStrike">
                          <a:solidFill>
                            <a:srgbClr val="333333"/>
                          </a:solidFill>
                          <a:effectLst/>
                          <a:latin typeface="Roboto" panose="02000000000000000000" pitchFamily="2" charset="0"/>
                        </a:rPr>
                        <a:t>N/A</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buNone/>
                      </a:pPr>
                      <a:r>
                        <a:rPr lang="en-US" sz="1500" b="0" i="0" u="none" strike="noStrike">
                          <a:solidFill>
                            <a:srgbClr val="333333"/>
                          </a:solidFill>
                          <a:effectLst/>
                          <a:latin typeface="Roboto" panose="02000000000000000000" pitchFamily="2" charset="0"/>
                        </a:rPr>
                        <a:t>6000</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1369581"/>
                  </a:ext>
                </a:extLst>
              </a:tr>
              <a:tr h="449800">
                <a:tc gridSpan="8">
                  <a:txBody>
                    <a:bodyPr/>
                    <a:lstStyle/>
                    <a:p>
                      <a:pPr algn="l" fontAlgn="ctr">
                        <a:buNone/>
                      </a:pPr>
                      <a:r>
                        <a:rPr lang="en-US" sz="1500" b="0" i="0" u="none" strike="noStrike" dirty="0">
                          <a:solidFill>
                            <a:srgbClr val="333333"/>
                          </a:solidFill>
                          <a:effectLst/>
                          <a:latin typeface="Roboto" panose="02000000000000000000" pitchFamily="2" charset="0"/>
                        </a:rPr>
                        <a:t>*If extender is used, follow coolant manufacturer's guideline</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19501522"/>
                  </a:ext>
                </a:extLst>
              </a:tr>
            </a:tbl>
          </a:graphicData>
        </a:graphic>
      </p:graphicFrame>
    </p:spTree>
    <p:extLst>
      <p:ext uri="{BB962C8B-B14F-4D97-AF65-F5344CB8AC3E}">
        <p14:creationId xmlns:p14="http://schemas.microsoft.com/office/powerpoint/2010/main" val="11412908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5964554-5220-4CF3-6727-60AF5DEDB853}"/>
              </a:ext>
            </a:extLst>
          </p:cNvPr>
          <p:cNvSpPr>
            <a:spLocks noGrp="1"/>
          </p:cNvSpPr>
          <p:nvPr>
            <p:ph type="body" sz="quarter" idx="12"/>
          </p:nvPr>
        </p:nvSpPr>
        <p:spPr/>
        <p:txBody>
          <a:bodyPr/>
          <a:lstStyle/>
          <a:p>
            <a:endParaRPr lang="en-US"/>
          </a:p>
        </p:txBody>
      </p:sp>
      <p:pic>
        <p:nvPicPr>
          <p:cNvPr id="3" name="Picture 2">
            <a:extLst>
              <a:ext uri="{FF2B5EF4-FFF2-40B4-BE49-F238E27FC236}">
                <a16:creationId xmlns:a16="http://schemas.microsoft.com/office/drawing/2014/main" id="{54DBC925-4256-3FD5-8247-17FCD16E0AE7}"/>
              </a:ext>
            </a:extLst>
          </p:cNvPr>
          <p:cNvPicPr>
            <a:picLocks noChangeAspect="1"/>
          </p:cNvPicPr>
          <p:nvPr/>
        </p:nvPicPr>
        <p:blipFill>
          <a:blip r:embed="rId3"/>
          <a:stretch>
            <a:fillRect/>
          </a:stretch>
        </p:blipFill>
        <p:spPr>
          <a:xfrm>
            <a:off x="229306" y="450937"/>
            <a:ext cx="11570212" cy="5873293"/>
          </a:xfrm>
          <a:prstGeom prst="rect">
            <a:avLst/>
          </a:prstGeom>
        </p:spPr>
      </p:pic>
    </p:spTree>
    <p:extLst>
      <p:ext uri="{BB962C8B-B14F-4D97-AF65-F5344CB8AC3E}">
        <p14:creationId xmlns:p14="http://schemas.microsoft.com/office/powerpoint/2010/main" val="2276740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EE4435F-197F-FF64-7DF3-3053E1409AE8}"/>
              </a:ext>
            </a:extLst>
          </p:cNvPr>
          <p:cNvSpPr>
            <a:spLocks noGrp="1"/>
          </p:cNvSpPr>
          <p:nvPr>
            <p:ph type="body" sz="quarter" idx="12"/>
          </p:nvPr>
        </p:nvSpPr>
        <p:spPr/>
        <p:txBody>
          <a:bodyPr/>
          <a:lstStyle/>
          <a:p>
            <a:endParaRPr lang="en-US" dirty="0"/>
          </a:p>
        </p:txBody>
      </p:sp>
      <p:pic>
        <p:nvPicPr>
          <p:cNvPr id="5" name="Picture 4">
            <a:extLst>
              <a:ext uri="{FF2B5EF4-FFF2-40B4-BE49-F238E27FC236}">
                <a16:creationId xmlns:a16="http://schemas.microsoft.com/office/drawing/2014/main" id="{3380CBDF-406C-D6AC-CB68-67BABC46BB87}"/>
              </a:ext>
            </a:extLst>
          </p:cNvPr>
          <p:cNvPicPr>
            <a:picLocks noChangeAspect="1"/>
          </p:cNvPicPr>
          <p:nvPr/>
        </p:nvPicPr>
        <p:blipFill>
          <a:blip r:embed="rId3"/>
          <a:stretch>
            <a:fillRect/>
          </a:stretch>
        </p:blipFill>
        <p:spPr>
          <a:xfrm>
            <a:off x="241765" y="118574"/>
            <a:ext cx="11708470" cy="6053358"/>
          </a:xfrm>
          <a:prstGeom prst="rect">
            <a:avLst/>
          </a:prstGeom>
        </p:spPr>
      </p:pic>
    </p:spTree>
    <p:extLst>
      <p:ext uri="{BB962C8B-B14F-4D97-AF65-F5344CB8AC3E}">
        <p14:creationId xmlns:p14="http://schemas.microsoft.com/office/powerpoint/2010/main" val="33295696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5964554-5220-4CF3-6727-60AF5DEDB853}"/>
              </a:ext>
            </a:extLst>
          </p:cNvPr>
          <p:cNvSpPr>
            <a:spLocks noGrp="1"/>
          </p:cNvSpPr>
          <p:nvPr>
            <p:ph type="body" sz="quarter" idx="12"/>
          </p:nvPr>
        </p:nvSpPr>
        <p:spPr/>
        <p:txBody>
          <a:bodyPr/>
          <a:lstStyle/>
          <a:p>
            <a:endParaRPr lang="en-US"/>
          </a:p>
        </p:txBody>
      </p:sp>
      <p:pic>
        <p:nvPicPr>
          <p:cNvPr id="6" name="Picture 5">
            <a:extLst>
              <a:ext uri="{FF2B5EF4-FFF2-40B4-BE49-F238E27FC236}">
                <a16:creationId xmlns:a16="http://schemas.microsoft.com/office/drawing/2014/main" id="{48C03C9C-398F-D33C-D394-C21AD834A77F}"/>
              </a:ext>
            </a:extLst>
          </p:cNvPr>
          <p:cNvPicPr>
            <a:picLocks noChangeAspect="1"/>
          </p:cNvPicPr>
          <p:nvPr/>
        </p:nvPicPr>
        <p:blipFill>
          <a:blip r:embed="rId3"/>
          <a:stretch>
            <a:fillRect/>
          </a:stretch>
        </p:blipFill>
        <p:spPr>
          <a:xfrm>
            <a:off x="164185" y="413359"/>
            <a:ext cx="11547651" cy="5870643"/>
          </a:xfrm>
          <a:prstGeom prst="rect">
            <a:avLst/>
          </a:prstGeom>
        </p:spPr>
      </p:pic>
    </p:spTree>
    <p:extLst>
      <p:ext uri="{BB962C8B-B14F-4D97-AF65-F5344CB8AC3E}">
        <p14:creationId xmlns:p14="http://schemas.microsoft.com/office/powerpoint/2010/main" val="26999442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5964554-5220-4CF3-6727-60AF5DEDB853}"/>
              </a:ext>
            </a:extLst>
          </p:cNvPr>
          <p:cNvSpPr>
            <a:spLocks noGrp="1"/>
          </p:cNvSpPr>
          <p:nvPr>
            <p:ph type="body" sz="quarter" idx="12"/>
          </p:nvPr>
        </p:nvSpPr>
        <p:spPr/>
        <p:txBody>
          <a:bodyPr/>
          <a:lstStyle/>
          <a:p>
            <a:endParaRPr lang="en-US"/>
          </a:p>
        </p:txBody>
      </p:sp>
      <p:pic>
        <p:nvPicPr>
          <p:cNvPr id="3" name="Picture 2">
            <a:extLst>
              <a:ext uri="{FF2B5EF4-FFF2-40B4-BE49-F238E27FC236}">
                <a16:creationId xmlns:a16="http://schemas.microsoft.com/office/drawing/2014/main" id="{0CDBF26C-A2A3-4412-AA1B-2669167737EB}"/>
              </a:ext>
            </a:extLst>
          </p:cNvPr>
          <p:cNvPicPr>
            <a:picLocks noChangeAspect="1"/>
          </p:cNvPicPr>
          <p:nvPr/>
        </p:nvPicPr>
        <p:blipFill>
          <a:blip r:embed="rId3"/>
          <a:stretch>
            <a:fillRect/>
          </a:stretch>
        </p:blipFill>
        <p:spPr>
          <a:xfrm>
            <a:off x="489997" y="206254"/>
            <a:ext cx="11212006" cy="5772771"/>
          </a:xfrm>
          <a:prstGeom prst="rect">
            <a:avLst/>
          </a:prstGeom>
        </p:spPr>
      </p:pic>
    </p:spTree>
    <p:extLst>
      <p:ext uri="{BB962C8B-B14F-4D97-AF65-F5344CB8AC3E}">
        <p14:creationId xmlns:p14="http://schemas.microsoft.com/office/powerpoint/2010/main" val="27063602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5964554-5220-4CF3-6727-60AF5DEDB853}"/>
              </a:ext>
            </a:extLst>
          </p:cNvPr>
          <p:cNvSpPr>
            <a:spLocks noGrp="1"/>
          </p:cNvSpPr>
          <p:nvPr>
            <p:ph type="body" sz="quarter" idx="12"/>
          </p:nvPr>
        </p:nvSpPr>
        <p:spPr/>
        <p:txBody>
          <a:bodyPr/>
          <a:lstStyle/>
          <a:p>
            <a:endParaRPr lang="en-US"/>
          </a:p>
        </p:txBody>
      </p:sp>
      <p:pic>
        <p:nvPicPr>
          <p:cNvPr id="3" name="Picture 2">
            <a:extLst>
              <a:ext uri="{FF2B5EF4-FFF2-40B4-BE49-F238E27FC236}">
                <a16:creationId xmlns:a16="http://schemas.microsoft.com/office/drawing/2014/main" id="{EA885B63-B16F-5CAA-F53E-9F25EA2CE127}"/>
              </a:ext>
            </a:extLst>
          </p:cNvPr>
          <p:cNvPicPr>
            <a:picLocks noChangeAspect="1"/>
          </p:cNvPicPr>
          <p:nvPr/>
        </p:nvPicPr>
        <p:blipFill>
          <a:blip r:embed="rId3"/>
          <a:stretch>
            <a:fillRect/>
          </a:stretch>
        </p:blipFill>
        <p:spPr>
          <a:xfrm>
            <a:off x="232559" y="338204"/>
            <a:ext cx="11726882" cy="5974914"/>
          </a:xfrm>
          <a:prstGeom prst="rect">
            <a:avLst/>
          </a:prstGeom>
        </p:spPr>
      </p:pic>
    </p:spTree>
    <p:extLst>
      <p:ext uri="{BB962C8B-B14F-4D97-AF65-F5344CB8AC3E}">
        <p14:creationId xmlns:p14="http://schemas.microsoft.com/office/powerpoint/2010/main" val="16139497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5964554-5220-4CF3-6727-60AF5DEDB853}"/>
              </a:ext>
            </a:extLst>
          </p:cNvPr>
          <p:cNvSpPr>
            <a:spLocks noGrp="1"/>
          </p:cNvSpPr>
          <p:nvPr>
            <p:ph type="body" sz="quarter" idx="12"/>
          </p:nvPr>
        </p:nvSpPr>
        <p:spPr/>
        <p:txBody>
          <a:bodyPr/>
          <a:lstStyle/>
          <a:p>
            <a:endParaRPr lang="en-US"/>
          </a:p>
        </p:txBody>
      </p:sp>
      <p:pic>
        <p:nvPicPr>
          <p:cNvPr id="3" name="Picture 2">
            <a:extLst>
              <a:ext uri="{FF2B5EF4-FFF2-40B4-BE49-F238E27FC236}">
                <a16:creationId xmlns:a16="http://schemas.microsoft.com/office/drawing/2014/main" id="{9DAA825A-B4F6-ABC2-5790-982E05BD7CAE}"/>
              </a:ext>
            </a:extLst>
          </p:cNvPr>
          <p:cNvPicPr>
            <a:picLocks noChangeAspect="1"/>
          </p:cNvPicPr>
          <p:nvPr/>
        </p:nvPicPr>
        <p:blipFill>
          <a:blip r:embed="rId3"/>
          <a:stretch>
            <a:fillRect/>
          </a:stretch>
        </p:blipFill>
        <p:spPr>
          <a:xfrm>
            <a:off x="343098" y="143625"/>
            <a:ext cx="11256003" cy="5949354"/>
          </a:xfrm>
          <a:prstGeom prst="rect">
            <a:avLst/>
          </a:prstGeom>
        </p:spPr>
      </p:pic>
    </p:spTree>
    <p:extLst>
      <p:ext uri="{BB962C8B-B14F-4D97-AF65-F5344CB8AC3E}">
        <p14:creationId xmlns:p14="http://schemas.microsoft.com/office/powerpoint/2010/main" val="15695434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5964554-5220-4CF3-6727-60AF5DEDB853}"/>
              </a:ext>
            </a:extLst>
          </p:cNvPr>
          <p:cNvSpPr>
            <a:spLocks noGrp="1"/>
          </p:cNvSpPr>
          <p:nvPr>
            <p:ph type="body" sz="quarter" idx="12"/>
          </p:nvPr>
        </p:nvSpPr>
        <p:spPr/>
        <p:txBody>
          <a:bodyPr/>
          <a:lstStyle/>
          <a:p>
            <a:endParaRPr lang="en-US"/>
          </a:p>
        </p:txBody>
      </p:sp>
      <p:pic>
        <p:nvPicPr>
          <p:cNvPr id="3" name="Picture 2">
            <a:extLst>
              <a:ext uri="{FF2B5EF4-FFF2-40B4-BE49-F238E27FC236}">
                <a16:creationId xmlns:a16="http://schemas.microsoft.com/office/drawing/2014/main" id="{CC20C873-B75F-20C3-59D6-8D23AB400402}"/>
              </a:ext>
            </a:extLst>
          </p:cNvPr>
          <p:cNvPicPr>
            <a:picLocks noChangeAspect="1"/>
          </p:cNvPicPr>
          <p:nvPr/>
        </p:nvPicPr>
        <p:blipFill>
          <a:blip r:embed="rId3"/>
          <a:stretch>
            <a:fillRect/>
          </a:stretch>
        </p:blipFill>
        <p:spPr>
          <a:xfrm>
            <a:off x="353463" y="325677"/>
            <a:ext cx="11485074" cy="5962389"/>
          </a:xfrm>
          <a:prstGeom prst="rect">
            <a:avLst/>
          </a:prstGeom>
        </p:spPr>
      </p:pic>
    </p:spTree>
    <p:extLst>
      <p:ext uri="{BB962C8B-B14F-4D97-AF65-F5344CB8AC3E}">
        <p14:creationId xmlns:p14="http://schemas.microsoft.com/office/powerpoint/2010/main" val="28179656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6F7F0-E3F6-C2CA-3DF3-3BD4E6A77B0F}"/>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19FEBFD2-B0D1-3B6C-1AC7-8AB10168A9A6}"/>
              </a:ext>
            </a:extLst>
          </p:cNvPr>
          <p:cNvSpPr>
            <a:spLocks noGrp="1"/>
          </p:cNvSpPr>
          <p:nvPr>
            <p:ph type="body" sz="quarter" idx="12"/>
          </p:nvPr>
        </p:nvSpPr>
        <p:spPr/>
        <p:txBody>
          <a:bodyPr/>
          <a:lstStyle/>
          <a:p>
            <a:endParaRPr lang="en-US"/>
          </a:p>
        </p:txBody>
      </p:sp>
      <p:sp>
        <p:nvSpPr>
          <p:cNvPr id="5" name="Title 1">
            <a:extLst>
              <a:ext uri="{FF2B5EF4-FFF2-40B4-BE49-F238E27FC236}">
                <a16:creationId xmlns:a16="http://schemas.microsoft.com/office/drawing/2014/main" id="{40366014-3EC2-618E-C1A4-F469FB7A4ED7}"/>
              </a:ext>
            </a:extLst>
          </p:cNvPr>
          <p:cNvSpPr txBox="1">
            <a:spLocks/>
          </p:cNvSpPr>
          <p:nvPr/>
        </p:nvSpPr>
        <p:spPr>
          <a:xfrm>
            <a:off x="127221" y="179753"/>
            <a:ext cx="12406313" cy="552094"/>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L9 | Aftertreatment </a:t>
            </a:r>
            <a:r>
              <a:rPr lang="en-US" sz="3400" dirty="0">
                <a:solidFill>
                  <a:srgbClr val="000000"/>
                </a:solidFill>
                <a:latin typeface="Roboto" panose="02000000000000000000" pitchFamily="2" charset="0"/>
                <a:ea typeface="Roboto" panose="02000000000000000000" pitchFamily="2" charset="0"/>
                <a:cs typeface="Roboto" panose="02000000000000000000" pitchFamily="2" charset="0"/>
              </a:rPr>
              <a:t>DPF Filter Intervals</a:t>
            </a:r>
            <a:endParaRPr kumimoji="0" lang="en-US" sz="3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6" name="Table 5">
            <a:extLst>
              <a:ext uri="{FF2B5EF4-FFF2-40B4-BE49-F238E27FC236}">
                <a16:creationId xmlns:a16="http://schemas.microsoft.com/office/drawing/2014/main" id="{0192695F-44C9-4656-07D4-FBB704F21059}"/>
              </a:ext>
            </a:extLst>
          </p:cNvPr>
          <p:cNvGraphicFramePr>
            <a:graphicFrameLocks noGrp="1"/>
          </p:cNvGraphicFramePr>
          <p:nvPr>
            <p:extLst>
              <p:ext uri="{D42A27DB-BD31-4B8C-83A1-F6EECF244321}">
                <p14:modId xmlns:p14="http://schemas.microsoft.com/office/powerpoint/2010/main" val="450603133"/>
              </p:ext>
            </p:extLst>
          </p:nvPr>
        </p:nvGraphicFramePr>
        <p:xfrm>
          <a:off x="682975" y="911245"/>
          <a:ext cx="4766188" cy="1666872"/>
        </p:xfrm>
        <a:graphic>
          <a:graphicData uri="http://schemas.openxmlformats.org/drawingml/2006/table">
            <a:tbl>
              <a:tblPr/>
              <a:tblGrid>
                <a:gridCol w="2383094">
                  <a:extLst>
                    <a:ext uri="{9D8B030D-6E8A-4147-A177-3AD203B41FA5}">
                      <a16:colId xmlns:a16="http://schemas.microsoft.com/office/drawing/2014/main" val="1700937758"/>
                    </a:ext>
                  </a:extLst>
                </a:gridCol>
                <a:gridCol w="2383094">
                  <a:extLst>
                    <a:ext uri="{9D8B030D-6E8A-4147-A177-3AD203B41FA5}">
                      <a16:colId xmlns:a16="http://schemas.microsoft.com/office/drawing/2014/main" val="4144799088"/>
                    </a:ext>
                  </a:extLst>
                </a:gridCol>
              </a:tblGrid>
              <a:tr h="637848">
                <a:tc gridSpan="2">
                  <a:txBody>
                    <a:bodyPr/>
                    <a:lstStyle/>
                    <a:p>
                      <a:pPr algn="l" fontAlgn="ctr">
                        <a:buNone/>
                      </a:pPr>
                      <a:r>
                        <a:rPr lang="fr-FR" sz="1800" b="1" i="0" u="none" strike="noStrike" dirty="0">
                          <a:solidFill>
                            <a:srgbClr val="FFFFFF"/>
                          </a:solidFill>
                          <a:effectLst/>
                          <a:latin typeface="Roboto" panose="02000000000000000000" pitchFamily="2" charset="0"/>
                        </a:rPr>
                        <a:t>Table 2: Diesel </a:t>
                      </a:r>
                      <a:r>
                        <a:rPr lang="fr-FR" sz="1800" b="1" i="0" u="none" strike="noStrike" dirty="0" err="1">
                          <a:solidFill>
                            <a:srgbClr val="FFFFFF"/>
                          </a:solidFill>
                          <a:effectLst/>
                          <a:latin typeface="Roboto" panose="02000000000000000000" pitchFamily="2" charset="0"/>
                        </a:rPr>
                        <a:t>Particulate</a:t>
                      </a:r>
                      <a:r>
                        <a:rPr lang="fr-FR" sz="1800" b="1" i="0" u="none" strike="noStrike" dirty="0">
                          <a:solidFill>
                            <a:srgbClr val="FFFFFF"/>
                          </a:solidFill>
                          <a:effectLst/>
                          <a:latin typeface="Roboto" panose="02000000000000000000" pitchFamily="2" charset="0"/>
                        </a:rPr>
                        <a:t> </a:t>
                      </a:r>
                      <a:r>
                        <a:rPr lang="fr-FR" sz="1800" b="1" i="0" u="none" strike="noStrike" dirty="0" err="1">
                          <a:solidFill>
                            <a:srgbClr val="FFFFFF"/>
                          </a:solidFill>
                          <a:effectLst/>
                          <a:latin typeface="Roboto" panose="02000000000000000000" pitchFamily="2" charset="0"/>
                        </a:rPr>
                        <a:t>Filter</a:t>
                      </a:r>
                      <a:r>
                        <a:rPr lang="fr-FR" sz="1800" b="1" i="0" u="none" strike="noStrike" dirty="0">
                          <a:solidFill>
                            <a:srgbClr val="FFFFFF"/>
                          </a:solidFill>
                          <a:effectLst/>
                          <a:latin typeface="Roboto" panose="02000000000000000000" pitchFamily="2" charset="0"/>
                        </a:rPr>
                        <a:t> (DPF) Maintenance </a:t>
                      </a:r>
                      <a:r>
                        <a:rPr lang="fr-FR" sz="1800" b="1" i="0" u="none" strike="noStrike" dirty="0" err="1">
                          <a:solidFill>
                            <a:srgbClr val="FFFFFF"/>
                          </a:solidFill>
                          <a:effectLst/>
                          <a:latin typeface="Roboto" panose="02000000000000000000" pitchFamily="2" charset="0"/>
                        </a:rPr>
                        <a:t>Intervals</a:t>
                      </a:r>
                      <a:endParaRPr lang="fr-FR" sz="1800" b="1" i="0" u="none" strike="noStrike" dirty="0">
                        <a:solidFill>
                          <a:srgbClr val="FFFFFF"/>
                        </a:solidFill>
                        <a:effectLst/>
                        <a:latin typeface="Roboto" panose="02000000000000000000" pitchFamily="2"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hMerge="1">
                  <a:txBody>
                    <a:bodyPr/>
                    <a:lstStyle/>
                    <a:p>
                      <a:endParaRPr lang="en-US"/>
                    </a:p>
                  </a:txBody>
                  <a:tcPr/>
                </a:tc>
                <a:extLst>
                  <a:ext uri="{0D108BD9-81ED-4DB2-BD59-A6C34878D82A}">
                    <a16:rowId xmlns:a16="http://schemas.microsoft.com/office/drawing/2014/main" val="1920676921"/>
                  </a:ext>
                </a:extLst>
              </a:tr>
              <a:tr h="343008">
                <a:tc>
                  <a:txBody>
                    <a:bodyPr/>
                    <a:lstStyle/>
                    <a:p>
                      <a:pPr algn="l" fontAlgn="ctr">
                        <a:buNone/>
                      </a:pPr>
                      <a:r>
                        <a:rPr lang="en-US" sz="1800" b="1" i="0" u="none" strike="noStrike" dirty="0">
                          <a:solidFill>
                            <a:srgbClr val="FFFFFF"/>
                          </a:solidFill>
                          <a:effectLst/>
                          <a:latin typeface="Roboto" panose="02000000000000000000" pitchFamily="2" charset="0"/>
                        </a:rPr>
                        <a:t>Truck</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800" b="1" i="0" u="none" strike="noStrike">
                          <a:solidFill>
                            <a:srgbClr val="FFFFFF"/>
                          </a:solidFill>
                          <a:effectLst/>
                          <a:latin typeface="Roboto" panose="02000000000000000000" pitchFamily="2" charset="0"/>
                        </a:rPr>
                        <a:t>Transit Bu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3777841238"/>
                  </a:ext>
                </a:extLst>
              </a:tr>
              <a:tr h="343008">
                <a:tc>
                  <a:txBody>
                    <a:bodyPr/>
                    <a:lstStyle/>
                    <a:p>
                      <a:pPr algn="l" fontAlgn="ctr">
                        <a:buNone/>
                      </a:pPr>
                      <a:r>
                        <a:rPr lang="en-US" sz="1800" b="0" i="0" u="none" strike="noStrike">
                          <a:solidFill>
                            <a:srgbClr val="333333"/>
                          </a:solidFill>
                          <a:effectLst/>
                          <a:latin typeface="Roboto" panose="02000000000000000000" pitchFamily="2" charset="0"/>
                        </a:rPr>
                        <a:t>6500 hour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l" fontAlgn="ctr">
                        <a:buNone/>
                      </a:pPr>
                      <a:r>
                        <a:rPr lang="en-US" sz="1800" b="0" i="0" u="none" strike="noStrike">
                          <a:solidFill>
                            <a:srgbClr val="333333"/>
                          </a:solidFill>
                          <a:effectLst/>
                          <a:latin typeface="Roboto" panose="02000000000000000000" pitchFamily="2" charset="0"/>
                        </a:rPr>
                        <a:t>5000 hour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1719391"/>
                  </a:ext>
                </a:extLst>
              </a:tr>
              <a:tr h="343008">
                <a:tc>
                  <a:txBody>
                    <a:bodyPr/>
                    <a:lstStyle/>
                    <a:p>
                      <a:pPr algn="l" fontAlgn="ctr">
                        <a:buNone/>
                      </a:pPr>
                      <a:r>
                        <a:rPr lang="en-US" sz="1800" b="0" i="0" u="none" strike="noStrike" dirty="0">
                          <a:solidFill>
                            <a:srgbClr val="333333"/>
                          </a:solidFill>
                          <a:effectLst/>
                          <a:latin typeface="Roboto" panose="02000000000000000000" pitchFamily="2" charset="0"/>
                        </a:rPr>
                        <a:t>200,000 mile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extLst>
                  <a:ext uri="{0D108BD9-81ED-4DB2-BD59-A6C34878D82A}">
                    <a16:rowId xmlns:a16="http://schemas.microsoft.com/office/drawing/2014/main" val="3206248921"/>
                  </a:ext>
                </a:extLst>
              </a:tr>
            </a:tbl>
          </a:graphicData>
        </a:graphic>
      </p:graphicFrame>
      <p:graphicFrame>
        <p:nvGraphicFramePr>
          <p:cNvPr id="9" name="Table 8">
            <a:extLst>
              <a:ext uri="{FF2B5EF4-FFF2-40B4-BE49-F238E27FC236}">
                <a16:creationId xmlns:a16="http://schemas.microsoft.com/office/drawing/2014/main" id="{50BA165A-89CE-92C7-8440-4B5916929C14}"/>
              </a:ext>
            </a:extLst>
          </p:cNvPr>
          <p:cNvGraphicFramePr>
            <a:graphicFrameLocks noGrp="1"/>
          </p:cNvGraphicFramePr>
          <p:nvPr>
            <p:extLst>
              <p:ext uri="{D42A27DB-BD31-4B8C-83A1-F6EECF244321}">
                <p14:modId xmlns:p14="http://schemas.microsoft.com/office/powerpoint/2010/main" val="3637767287"/>
              </p:ext>
            </p:extLst>
          </p:nvPr>
        </p:nvGraphicFramePr>
        <p:xfrm>
          <a:off x="6232191" y="868441"/>
          <a:ext cx="4922277" cy="4351338"/>
        </p:xfrm>
        <a:graphic>
          <a:graphicData uri="http://schemas.openxmlformats.org/drawingml/2006/table">
            <a:tbl>
              <a:tblPr/>
              <a:tblGrid>
                <a:gridCol w="1640759">
                  <a:extLst>
                    <a:ext uri="{9D8B030D-6E8A-4147-A177-3AD203B41FA5}">
                      <a16:colId xmlns:a16="http://schemas.microsoft.com/office/drawing/2014/main" val="1588553338"/>
                    </a:ext>
                  </a:extLst>
                </a:gridCol>
                <a:gridCol w="1640759">
                  <a:extLst>
                    <a:ext uri="{9D8B030D-6E8A-4147-A177-3AD203B41FA5}">
                      <a16:colId xmlns:a16="http://schemas.microsoft.com/office/drawing/2014/main" val="2789307733"/>
                    </a:ext>
                  </a:extLst>
                </a:gridCol>
                <a:gridCol w="1640759">
                  <a:extLst>
                    <a:ext uri="{9D8B030D-6E8A-4147-A177-3AD203B41FA5}">
                      <a16:colId xmlns:a16="http://schemas.microsoft.com/office/drawing/2014/main" val="933394091"/>
                    </a:ext>
                  </a:extLst>
                </a:gridCol>
              </a:tblGrid>
              <a:tr h="260526">
                <a:tc gridSpan="3">
                  <a:txBody>
                    <a:bodyPr/>
                    <a:lstStyle/>
                    <a:p>
                      <a:pPr algn="l" fontAlgn="ctr">
                        <a:buNone/>
                      </a:pPr>
                      <a:r>
                        <a:rPr lang="fr-FR" sz="1600" b="1" i="0" u="none" strike="noStrike">
                          <a:solidFill>
                            <a:srgbClr val="FFFFFF"/>
                          </a:solidFill>
                          <a:effectLst/>
                          <a:latin typeface="Roboto" panose="02000000000000000000" pitchFamily="2" charset="0"/>
                        </a:rPr>
                        <a:t>Table 1: Maintenance Fault Code</a:t>
                      </a:r>
                    </a:p>
                  </a:txBody>
                  <a:tcPr marL="5543" marR="5543" marT="5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66625496"/>
                  </a:ext>
                </a:extLst>
              </a:tr>
              <a:tr h="515509">
                <a:tc>
                  <a:txBody>
                    <a:bodyPr/>
                    <a:lstStyle/>
                    <a:p>
                      <a:pPr algn="l" fontAlgn="ctr">
                        <a:buNone/>
                      </a:pPr>
                      <a:r>
                        <a:rPr lang="en-US" sz="1600" b="1" i="0" u="none" strike="noStrike">
                          <a:solidFill>
                            <a:srgbClr val="FFFFFF"/>
                          </a:solidFill>
                          <a:effectLst/>
                          <a:latin typeface="Roboto" panose="02000000000000000000" pitchFamily="2" charset="0"/>
                        </a:rPr>
                        <a:t>Maintenance Item</a:t>
                      </a:r>
                    </a:p>
                  </a:txBody>
                  <a:tcPr marL="5543" marR="5543" marT="5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600" b="1" i="0" u="none" strike="noStrike">
                          <a:solidFill>
                            <a:srgbClr val="FFFFFF"/>
                          </a:solidFill>
                          <a:effectLst/>
                          <a:latin typeface="Roboto" panose="02000000000000000000" pitchFamily="2" charset="0"/>
                        </a:rPr>
                        <a:t>Cummins® Fault Code Number</a:t>
                      </a:r>
                    </a:p>
                  </a:txBody>
                  <a:tcPr marL="5543" marR="5543" marT="5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ctr">
                        <a:buNone/>
                      </a:pPr>
                      <a:r>
                        <a:rPr lang="en-US" sz="1600" b="1" i="0" u="none" strike="noStrike">
                          <a:solidFill>
                            <a:srgbClr val="FFFFFF"/>
                          </a:solidFill>
                          <a:effectLst/>
                          <a:latin typeface="Roboto" panose="02000000000000000000" pitchFamily="2" charset="0"/>
                        </a:rPr>
                        <a:t>Fault Code Description</a:t>
                      </a:r>
                    </a:p>
                  </a:txBody>
                  <a:tcPr marL="5543" marR="5543" marT="5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2439864099"/>
                  </a:ext>
                </a:extLst>
              </a:tr>
              <a:tr h="3575303">
                <a:tc>
                  <a:txBody>
                    <a:bodyPr/>
                    <a:lstStyle/>
                    <a:p>
                      <a:pPr algn="l" fontAlgn="ctr">
                        <a:buNone/>
                      </a:pPr>
                      <a:r>
                        <a:rPr lang="en-US" sz="1600" b="0" i="0" u="none" strike="noStrike">
                          <a:solidFill>
                            <a:srgbClr val="333333"/>
                          </a:solidFill>
                          <a:effectLst/>
                          <a:latin typeface="Roboto" panose="02000000000000000000" pitchFamily="2" charset="0"/>
                        </a:rPr>
                        <a:t>Aftertreatment DPF</a:t>
                      </a:r>
                    </a:p>
                  </a:txBody>
                  <a:tcPr marL="5543" marR="5543" marT="5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buNone/>
                      </a:pPr>
                      <a:r>
                        <a:rPr lang="en-US" sz="1600" b="0" i="0" u="none" strike="noStrike">
                          <a:solidFill>
                            <a:srgbClr val="333333"/>
                          </a:solidFill>
                          <a:effectLst/>
                          <a:latin typeface="Roboto" panose="02000000000000000000" pitchFamily="2" charset="0"/>
                        </a:rPr>
                        <a:t>5383</a:t>
                      </a:r>
                    </a:p>
                  </a:txBody>
                  <a:tcPr marL="5543" marR="5543" marT="5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buNone/>
                      </a:pPr>
                      <a:r>
                        <a:rPr lang="en-US" sz="1600" b="0" i="0" u="none" strike="noStrike" dirty="0">
                          <a:solidFill>
                            <a:srgbClr val="333333"/>
                          </a:solidFill>
                          <a:effectLst/>
                          <a:latin typeface="Roboto" panose="02000000000000000000" pitchFamily="2" charset="0"/>
                        </a:rPr>
                        <a:t>Aftertreatment 1 Diesel Particulate Filter Ash Load Percent - Data Valid But Above Normal Operating Range - Least Severe Level. The aftertreatment DPF requires cleaning or replacement.</a:t>
                      </a:r>
                    </a:p>
                  </a:txBody>
                  <a:tcPr marL="5543" marR="5543" marT="5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84230313"/>
                  </a:ext>
                </a:extLst>
              </a:tr>
            </a:tbl>
          </a:graphicData>
        </a:graphic>
      </p:graphicFrame>
      <p:grpSp>
        <p:nvGrpSpPr>
          <p:cNvPr id="12" name="Group 11">
            <a:extLst>
              <a:ext uri="{FF2B5EF4-FFF2-40B4-BE49-F238E27FC236}">
                <a16:creationId xmlns:a16="http://schemas.microsoft.com/office/drawing/2014/main" id="{111D4AE0-CEF0-ECFE-716D-CB3E2EDE7946}"/>
              </a:ext>
            </a:extLst>
          </p:cNvPr>
          <p:cNvGrpSpPr/>
          <p:nvPr/>
        </p:nvGrpSpPr>
        <p:grpSpPr>
          <a:xfrm>
            <a:off x="127221" y="3058978"/>
            <a:ext cx="5464429" cy="3091703"/>
            <a:chOff x="6513571" y="1556803"/>
            <a:chExt cx="5464429" cy="3091703"/>
          </a:xfrm>
        </p:grpSpPr>
        <p:sp>
          <p:nvSpPr>
            <p:cNvPr id="13" name="Text Box 6">
              <a:extLst>
                <a:ext uri="{FF2B5EF4-FFF2-40B4-BE49-F238E27FC236}">
                  <a16:creationId xmlns:a16="http://schemas.microsoft.com/office/drawing/2014/main" id="{1AC23F92-D326-91DF-2158-28F4E0CB610B}"/>
                </a:ext>
              </a:extLst>
            </p:cNvPr>
            <p:cNvSpPr txBox="1">
              <a:spLocks noChangeArrowheads="1"/>
            </p:cNvSpPr>
            <p:nvPr/>
          </p:nvSpPr>
          <p:spPr bwMode="auto">
            <a:xfrm>
              <a:off x="6513571" y="1556803"/>
              <a:ext cx="3048000" cy="276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spAutoFit/>
            </a:bodyPr>
            <a:lstStyle>
              <a:lvl1pPr eaLnBrk="0" hangingPunct="0">
                <a:defRPr sz="2400">
                  <a:solidFill>
                    <a:schemeClr val="tx1"/>
                  </a:solidFill>
                  <a:latin typeface="Times New Roman" panose="02020603050405020304" pitchFamily="18" charset="0"/>
                  <a:cs typeface="Arial" panose="020B0604020202020204" pitchFamily="34" charset="0"/>
                </a:defRPr>
              </a:lvl1pPr>
              <a:lvl2pPr marL="742950" indent="-285750" eaLnBrk="0" hangingPunct="0">
                <a:defRPr sz="2400">
                  <a:solidFill>
                    <a:schemeClr val="tx1"/>
                  </a:solidFill>
                  <a:latin typeface="Times New Roman" panose="02020603050405020304" pitchFamily="18" charset="0"/>
                  <a:cs typeface="Arial" panose="020B0604020202020204" pitchFamily="34" charset="0"/>
                </a:defRPr>
              </a:lvl2pPr>
              <a:lvl3pPr marL="1143000" indent="-228600" eaLnBrk="0" hangingPunct="0">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defRPr sz="2400">
                  <a:solidFill>
                    <a:schemeClr val="tx1"/>
                  </a:solidFill>
                  <a:latin typeface="Times New Roman" panose="02020603050405020304" pitchFamily="18" charset="0"/>
                  <a:cs typeface="Arial" panose="020B0604020202020204" pitchFamily="34" charset="0"/>
                </a:defRPr>
              </a:lvl4pPr>
              <a:lvl5pPr marL="2057400" indent="-228600" eaLnBrk="0" hangingPunct="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ctr" defTabSz="1219140" eaLnBrk="1" fontAlgn="base" latinLnBrk="0" hangingPunct="1">
                <a:lnSpc>
                  <a:spcPct val="100000"/>
                </a:lnSpc>
                <a:spcBef>
                  <a:spcPct val="50000"/>
                </a:spcBef>
                <a:spcAft>
                  <a:spcPct val="0"/>
                </a:spcAft>
                <a:buClrTx/>
                <a:buSzTx/>
                <a:buFontTx/>
                <a:buNone/>
                <a:tabLst/>
                <a:defRPr/>
              </a:pPr>
              <a:r>
                <a:rPr kumimoji="0" lang="en-US" altLang="en-US" sz="1200" b="0" i="0" u="none" strike="noStrike" kern="0" cap="none" spc="0" normalizeH="0" baseline="0" noProof="0" dirty="0">
                  <a:ln>
                    <a:noFill/>
                  </a:ln>
                  <a:solidFill>
                    <a:srgbClr val="000000"/>
                  </a:solidFill>
                  <a:effectLst/>
                  <a:uLnTx/>
                  <a:uFillTx/>
                  <a:latin typeface="Arial Black" panose="020B0A04020102020204" pitchFamily="34" charset="0"/>
                  <a:cs typeface="Arial" panose="020B0604020202020204" pitchFamily="34" charset="0"/>
                </a:rPr>
                <a:t>DOC</a:t>
              </a:r>
              <a:r>
                <a:rPr kumimoji="0" lang="en-US" altLang="en-US" sz="1200" b="0" i="0" u="none" strike="noStrike" kern="0" cap="none" spc="0" normalizeH="0" baseline="0" noProof="0" dirty="0">
                  <a:ln>
                    <a:noFill/>
                  </a:ln>
                  <a:solidFill>
                    <a:srgbClr val="000000"/>
                  </a:solidFill>
                  <a:effectLst/>
                  <a:uLnTx/>
                  <a:uFillTx/>
                  <a:latin typeface="Times New Roman" panose="02020603050405020304" pitchFamily="18" charset="0"/>
                  <a:cs typeface="Arial" panose="020B0604020202020204" pitchFamily="34" charset="0"/>
                </a:rPr>
                <a:t> </a:t>
              </a:r>
            </a:p>
          </p:txBody>
        </p:sp>
        <p:sp>
          <p:nvSpPr>
            <p:cNvPr id="14" name="Text Box 8">
              <a:extLst>
                <a:ext uri="{FF2B5EF4-FFF2-40B4-BE49-F238E27FC236}">
                  <a16:creationId xmlns:a16="http://schemas.microsoft.com/office/drawing/2014/main" id="{51B57A30-C778-3019-463E-7056B4B786B9}"/>
                </a:ext>
              </a:extLst>
            </p:cNvPr>
            <p:cNvSpPr txBox="1">
              <a:spLocks noChangeArrowheads="1"/>
            </p:cNvSpPr>
            <p:nvPr/>
          </p:nvSpPr>
          <p:spPr bwMode="auto">
            <a:xfrm>
              <a:off x="6739915" y="3213845"/>
              <a:ext cx="2209800" cy="424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spAutoFit/>
            </a:bodyPr>
            <a:lstStyle>
              <a:lvl1pPr eaLnBrk="0" hangingPunct="0">
                <a:defRPr sz="2400">
                  <a:solidFill>
                    <a:schemeClr val="tx1"/>
                  </a:solidFill>
                  <a:latin typeface="Times New Roman" panose="02020603050405020304" pitchFamily="18" charset="0"/>
                  <a:cs typeface="Arial" panose="020B0604020202020204" pitchFamily="34" charset="0"/>
                </a:defRPr>
              </a:lvl1pPr>
              <a:lvl2pPr marL="742950" indent="-285750" eaLnBrk="0" hangingPunct="0">
                <a:defRPr sz="2400">
                  <a:solidFill>
                    <a:schemeClr val="tx1"/>
                  </a:solidFill>
                  <a:latin typeface="Times New Roman" panose="02020603050405020304" pitchFamily="18" charset="0"/>
                  <a:cs typeface="Arial" panose="020B0604020202020204" pitchFamily="34" charset="0"/>
                </a:defRPr>
              </a:lvl2pPr>
              <a:lvl3pPr marL="1143000" indent="-228600" eaLnBrk="0" hangingPunct="0">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defRPr sz="2400">
                  <a:solidFill>
                    <a:schemeClr val="tx1"/>
                  </a:solidFill>
                  <a:latin typeface="Times New Roman" panose="02020603050405020304" pitchFamily="18" charset="0"/>
                  <a:cs typeface="Arial" panose="020B0604020202020204" pitchFamily="34" charset="0"/>
                </a:defRPr>
              </a:lvl4pPr>
              <a:lvl5pPr marL="2057400" indent="-228600" eaLnBrk="0" hangingPunct="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ctr" defTabSz="1219140" eaLnBrk="1" fontAlgn="base" latinLnBrk="0" hangingPunct="1">
                <a:lnSpc>
                  <a:spcPct val="90000"/>
                </a:lnSpc>
                <a:spcBef>
                  <a:spcPct val="40000"/>
                </a:spcBef>
                <a:spcAft>
                  <a:spcPct val="0"/>
                </a:spcAft>
                <a:buClrTx/>
                <a:buSzTx/>
                <a:buFontTx/>
                <a:buNone/>
                <a:tabLst/>
                <a:defRPr/>
              </a:pPr>
              <a:r>
                <a:rPr kumimoji="0" lang="en-US" altLang="en-US" sz="1200" b="0" i="0" u="none" strike="noStrike" kern="0" cap="none" spc="0" normalizeH="0" baseline="0" noProof="0" dirty="0">
                  <a:ln>
                    <a:noFill/>
                  </a:ln>
                  <a:solidFill>
                    <a:srgbClr val="000000"/>
                  </a:solidFill>
                  <a:effectLst/>
                  <a:uLnTx/>
                  <a:uFillTx/>
                  <a:latin typeface="Arial Black" panose="020B0A04020102020204" pitchFamily="34" charset="0"/>
                  <a:cs typeface="Arial" panose="020B0604020202020204" pitchFamily="34" charset="0"/>
                </a:rPr>
                <a:t>Cummins Particulate Filter </a:t>
              </a:r>
              <a:r>
                <a:rPr kumimoji="0" lang="en-US" altLang="en-US" sz="1200" b="0" i="0" u="none" strike="noStrike" kern="0" cap="none" spc="0" normalizeH="0" baseline="0" noProof="0" dirty="0">
                  <a:ln>
                    <a:noFill/>
                  </a:ln>
                  <a:solidFill>
                    <a:srgbClr val="000000"/>
                  </a:solidFill>
                  <a:effectLst/>
                  <a:uLnTx/>
                  <a:uFillTx/>
                  <a:latin typeface="Times New Roman" panose="02020603050405020304" pitchFamily="18" charset="0"/>
                  <a:cs typeface="Arial" panose="020B0604020202020204" pitchFamily="34" charset="0"/>
                </a:rPr>
                <a:t> </a:t>
              </a:r>
            </a:p>
          </p:txBody>
        </p:sp>
        <p:pic>
          <p:nvPicPr>
            <p:cNvPr id="15" name="Picture 14">
              <a:extLst>
                <a:ext uri="{FF2B5EF4-FFF2-40B4-BE49-F238E27FC236}">
                  <a16:creationId xmlns:a16="http://schemas.microsoft.com/office/drawing/2014/main" id="{7F4A9F2F-3C43-31E3-1120-5E3EB0C514E6}"/>
                </a:ext>
              </a:extLst>
            </p:cNvPr>
            <p:cNvPicPr>
              <a:picLocks noChangeAspect="1"/>
            </p:cNvPicPr>
            <p:nvPr/>
          </p:nvPicPr>
          <p:blipFill>
            <a:blip r:embed="rId2"/>
            <a:stretch>
              <a:fillRect/>
            </a:stretch>
          </p:blipFill>
          <p:spPr>
            <a:xfrm>
              <a:off x="8461345" y="2046877"/>
              <a:ext cx="2487384" cy="2487384"/>
            </a:xfrm>
            <a:prstGeom prst="rect">
              <a:avLst/>
            </a:prstGeom>
          </p:spPr>
        </p:pic>
        <p:sp>
          <p:nvSpPr>
            <p:cNvPr id="16" name="Line 5">
              <a:extLst>
                <a:ext uri="{FF2B5EF4-FFF2-40B4-BE49-F238E27FC236}">
                  <a16:creationId xmlns:a16="http://schemas.microsoft.com/office/drawing/2014/main" id="{11F7C602-9938-5C73-D220-39A2EDE8B12B}"/>
                </a:ext>
              </a:extLst>
            </p:cNvPr>
            <p:cNvSpPr>
              <a:spLocks noChangeShapeType="1"/>
            </p:cNvSpPr>
            <p:nvPr/>
          </p:nvSpPr>
          <p:spPr bwMode="auto">
            <a:xfrm>
              <a:off x="8024407" y="1777810"/>
              <a:ext cx="635378" cy="558157"/>
            </a:xfrm>
            <a:prstGeom prst="line">
              <a:avLst/>
            </a:prstGeom>
            <a:noFill/>
            <a:ln w="19050">
              <a:solidFill>
                <a:srgbClr val="000000"/>
              </a:solidFill>
              <a:round/>
              <a:headEnd/>
              <a:tailEnd type="oval" w="med" len="med"/>
            </a:ln>
            <a:extLst>
              <a:ext uri="{909E8E84-426E-40DD-AFC4-6F175D3DCCD1}">
                <a14:hiddenFill xmlns:a14="http://schemas.microsoft.com/office/drawing/2010/main">
                  <a:noFill/>
                </a14:hiddenFill>
              </a:ext>
            </a:extLst>
          </p:spPr>
          <p:txBody>
            <a:bodyPr/>
            <a:lstStyle/>
            <a:p>
              <a:pPr marL="0" marR="0" lvl="0" indent="0" defTabSz="121914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cs typeface="Arial" panose="020B0604020202020204" pitchFamily="34" charset="0"/>
              </a:endParaRPr>
            </a:p>
          </p:txBody>
        </p:sp>
        <p:sp>
          <p:nvSpPr>
            <p:cNvPr id="17" name="Line 5">
              <a:extLst>
                <a:ext uri="{FF2B5EF4-FFF2-40B4-BE49-F238E27FC236}">
                  <a16:creationId xmlns:a16="http://schemas.microsoft.com/office/drawing/2014/main" id="{77CA88AC-5338-85A2-D621-9BDADF45F16B}"/>
                </a:ext>
              </a:extLst>
            </p:cNvPr>
            <p:cNvSpPr>
              <a:spLocks noChangeShapeType="1"/>
            </p:cNvSpPr>
            <p:nvPr/>
          </p:nvSpPr>
          <p:spPr bwMode="auto">
            <a:xfrm flipV="1">
              <a:off x="8251901" y="2797979"/>
              <a:ext cx="635378" cy="424723"/>
            </a:xfrm>
            <a:prstGeom prst="line">
              <a:avLst/>
            </a:prstGeom>
            <a:noFill/>
            <a:ln w="19050">
              <a:solidFill>
                <a:srgbClr val="000000"/>
              </a:solidFill>
              <a:round/>
              <a:headEnd/>
              <a:tailEnd type="oval" w="med" len="med"/>
            </a:ln>
            <a:extLst>
              <a:ext uri="{909E8E84-426E-40DD-AFC4-6F175D3DCCD1}">
                <a14:hiddenFill xmlns:a14="http://schemas.microsoft.com/office/drawing/2010/main">
                  <a:noFill/>
                </a14:hiddenFill>
              </a:ext>
            </a:extLst>
          </p:spPr>
          <p:txBody>
            <a:bodyPr/>
            <a:lstStyle/>
            <a:p>
              <a:pPr marL="0" marR="0" lvl="0" indent="0" defTabSz="121914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cs typeface="Arial" panose="020B0604020202020204" pitchFamily="34" charset="0"/>
              </a:endParaRPr>
            </a:p>
          </p:txBody>
        </p:sp>
        <p:sp>
          <p:nvSpPr>
            <p:cNvPr id="18" name="Text Box 7">
              <a:extLst>
                <a:ext uri="{FF2B5EF4-FFF2-40B4-BE49-F238E27FC236}">
                  <a16:creationId xmlns:a16="http://schemas.microsoft.com/office/drawing/2014/main" id="{B1A892BE-FDF9-A52C-93AB-9B43EE9492E3}"/>
                </a:ext>
              </a:extLst>
            </p:cNvPr>
            <p:cNvSpPr txBox="1">
              <a:spLocks noChangeArrowheads="1"/>
            </p:cNvSpPr>
            <p:nvPr/>
          </p:nvSpPr>
          <p:spPr bwMode="auto">
            <a:xfrm>
              <a:off x="9768200" y="1670525"/>
              <a:ext cx="2209800" cy="258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a:spAutoFit/>
            </a:bodyPr>
            <a:lstStyle>
              <a:lvl1pPr eaLnBrk="0" hangingPunct="0">
                <a:defRPr sz="2400">
                  <a:solidFill>
                    <a:schemeClr val="tx1"/>
                  </a:solidFill>
                  <a:latin typeface="Times New Roman" panose="02020603050405020304" pitchFamily="18" charset="0"/>
                  <a:cs typeface="Arial" panose="020B0604020202020204" pitchFamily="34" charset="0"/>
                </a:defRPr>
              </a:lvl1pPr>
              <a:lvl2pPr marL="742950" indent="-285750" eaLnBrk="0" hangingPunct="0">
                <a:defRPr sz="2400">
                  <a:solidFill>
                    <a:schemeClr val="tx1"/>
                  </a:solidFill>
                  <a:latin typeface="Times New Roman" panose="02020603050405020304" pitchFamily="18" charset="0"/>
                  <a:cs typeface="Arial" panose="020B0604020202020204" pitchFamily="34" charset="0"/>
                </a:defRPr>
              </a:lvl2pPr>
              <a:lvl3pPr marL="1143000" indent="-228600" eaLnBrk="0" hangingPunct="0">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defRPr sz="2400">
                  <a:solidFill>
                    <a:schemeClr val="tx1"/>
                  </a:solidFill>
                  <a:latin typeface="Times New Roman" panose="02020603050405020304" pitchFamily="18" charset="0"/>
                  <a:cs typeface="Arial" panose="020B0604020202020204" pitchFamily="34" charset="0"/>
                </a:defRPr>
              </a:lvl4pPr>
              <a:lvl5pPr marL="2057400" indent="-228600" eaLnBrk="0" hangingPunct="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ctr" defTabSz="1219140" eaLnBrk="1" fontAlgn="base" latinLnBrk="0" hangingPunct="1">
                <a:lnSpc>
                  <a:spcPct val="90000"/>
                </a:lnSpc>
                <a:spcBef>
                  <a:spcPct val="40000"/>
                </a:spcBef>
                <a:spcAft>
                  <a:spcPct val="0"/>
                </a:spcAft>
                <a:buClrTx/>
                <a:buSzTx/>
                <a:buFontTx/>
                <a:buNone/>
                <a:tabLst/>
                <a:defRPr/>
              </a:pPr>
              <a:r>
                <a:rPr kumimoji="0" lang="en-US" altLang="en-US" sz="1200" b="0" i="0" u="none" strike="noStrike" kern="0" cap="none" spc="0" normalizeH="0" baseline="0" noProof="0" dirty="0">
                  <a:ln>
                    <a:noFill/>
                  </a:ln>
                  <a:solidFill>
                    <a:srgbClr val="000000"/>
                  </a:solidFill>
                  <a:effectLst/>
                  <a:uLnTx/>
                  <a:uFillTx/>
                  <a:latin typeface="Arial Black" panose="020B0A04020102020204" pitchFamily="34" charset="0"/>
                  <a:cs typeface="Arial" panose="020B0604020202020204" pitchFamily="34" charset="0"/>
                </a:rPr>
                <a:t>Urea Dosing &amp; Mixing </a:t>
              </a:r>
              <a:r>
                <a:rPr kumimoji="0" lang="en-US" altLang="en-US" sz="1200" b="0" i="0" u="none" strike="noStrike" kern="0" cap="none" spc="0" normalizeH="0" baseline="0" noProof="0" dirty="0">
                  <a:ln>
                    <a:noFill/>
                  </a:ln>
                  <a:solidFill>
                    <a:srgbClr val="000000"/>
                  </a:solidFill>
                  <a:effectLst/>
                  <a:uLnTx/>
                  <a:uFillTx/>
                  <a:latin typeface="Times New Roman" panose="02020603050405020304" pitchFamily="18" charset="0"/>
                  <a:cs typeface="Arial" panose="020B0604020202020204" pitchFamily="34" charset="0"/>
                </a:rPr>
                <a:t> </a:t>
              </a:r>
            </a:p>
          </p:txBody>
        </p:sp>
        <p:sp>
          <p:nvSpPr>
            <p:cNvPr id="19" name="Line 5">
              <a:extLst>
                <a:ext uri="{FF2B5EF4-FFF2-40B4-BE49-F238E27FC236}">
                  <a16:creationId xmlns:a16="http://schemas.microsoft.com/office/drawing/2014/main" id="{B41A31DB-BC66-FBBD-B668-9D901664670E}"/>
                </a:ext>
              </a:extLst>
            </p:cNvPr>
            <p:cNvSpPr>
              <a:spLocks noChangeShapeType="1"/>
            </p:cNvSpPr>
            <p:nvPr/>
          </p:nvSpPr>
          <p:spPr bwMode="auto">
            <a:xfrm flipH="1">
              <a:off x="9561571" y="1929048"/>
              <a:ext cx="1026270" cy="656032"/>
            </a:xfrm>
            <a:prstGeom prst="line">
              <a:avLst/>
            </a:prstGeom>
            <a:noFill/>
            <a:ln w="19050">
              <a:solidFill>
                <a:srgbClr val="000000"/>
              </a:solidFill>
              <a:round/>
              <a:headEnd/>
              <a:tailEnd type="oval" w="med" len="med"/>
            </a:ln>
            <a:extLst>
              <a:ext uri="{909E8E84-426E-40DD-AFC4-6F175D3DCCD1}">
                <a14:hiddenFill xmlns:a14="http://schemas.microsoft.com/office/drawing/2010/main">
                  <a:noFill/>
                </a14:hiddenFill>
              </a:ext>
            </a:extLst>
          </p:spPr>
          <p:txBody>
            <a:bodyPr/>
            <a:lstStyle/>
            <a:p>
              <a:pPr marL="0" marR="0" lvl="0" indent="0" defTabSz="121914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cs typeface="Arial" panose="020B0604020202020204" pitchFamily="34" charset="0"/>
              </a:endParaRPr>
            </a:p>
          </p:txBody>
        </p:sp>
        <p:sp>
          <p:nvSpPr>
            <p:cNvPr id="20" name="Line 5">
              <a:extLst>
                <a:ext uri="{FF2B5EF4-FFF2-40B4-BE49-F238E27FC236}">
                  <a16:creationId xmlns:a16="http://schemas.microsoft.com/office/drawing/2014/main" id="{217438A5-29CC-E7E2-0616-64FACB9BF1CF}"/>
                </a:ext>
              </a:extLst>
            </p:cNvPr>
            <p:cNvSpPr>
              <a:spLocks noChangeShapeType="1"/>
            </p:cNvSpPr>
            <p:nvPr/>
          </p:nvSpPr>
          <p:spPr bwMode="auto">
            <a:xfrm flipH="1">
              <a:off x="9860665" y="1929049"/>
              <a:ext cx="727175" cy="868930"/>
            </a:xfrm>
            <a:prstGeom prst="line">
              <a:avLst/>
            </a:prstGeom>
            <a:noFill/>
            <a:ln w="19050">
              <a:solidFill>
                <a:srgbClr val="000000"/>
              </a:solidFill>
              <a:round/>
              <a:headEnd/>
              <a:tailEnd type="oval" w="med" len="med"/>
            </a:ln>
            <a:extLst>
              <a:ext uri="{909E8E84-426E-40DD-AFC4-6F175D3DCCD1}">
                <a14:hiddenFill xmlns:a14="http://schemas.microsoft.com/office/drawing/2010/main">
                  <a:noFill/>
                </a14:hiddenFill>
              </a:ext>
            </a:extLst>
          </p:spPr>
          <p:txBody>
            <a:bodyPr/>
            <a:lstStyle/>
            <a:p>
              <a:pPr marL="0" marR="0" lvl="0" indent="0" defTabSz="121914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cs typeface="Arial" panose="020B0604020202020204" pitchFamily="34" charset="0"/>
              </a:endParaRPr>
            </a:p>
          </p:txBody>
        </p:sp>
        <p:sp>
          <p:nvSpPr>
            <p:cNvPr id="21" name="Text Box 4">
              <a:extLst>
                <a:ext uri="{FF2B5EF4-FFF2-40B4-BE49-F238E27FC236}">
                  <a16:creationId xmlns:a16="http://schemas.microsoft.com/office/drawing/2014/main" id="{FBF0C35E-8787-D952-A507-9AAA85899546}"/>
                </a:ext>
              </a:extLst>
            </p:cNvPr>
            <p:cNvSpPr txBox="1">
              <a:spLocks noChangeArrowheads="1"/>
            </p:cNvSpPr>
            <p:nvPr/>
          </p:nvSpPr>
          <p:spPr bwMode="auto">
            <a:xfrm>
              <a:off x="7620649" y="4002183"/>
              <a:ext cx="2084388" cy="646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spAutoFit/>
            </a:bodyPr>
            <a:lstStyle>
              <a:lvl1pPr eaLnBrk="0" hangingPunct="0">
                <a:defRPr sz="2400">
                  <a:solidFill>
                    <a:schemeClr val="tx1"/>
                  </a:solidFill>
                  <a:latin typeface="Times New Roman" panose="02020603050405020304" pitchFamily="18" charset="0"/>
                  <a:cs typeface="Arial" panose="020B0604020202020204" pitchFamily="34" charset="0"/>
                </a:defRPr>
              </a:lvl1pPr>
              <a:lvl2pPr marL="742950" indent="-285750" eaLnBrk="0" hangingPunct="0">
                <a:defRPr sz="2400">
                  <a:solidFill>
                    <a:schemeClr val="tx1"/>
                  </a:solidFill>
                  <a:latin typeface="Times New Roman" panose="02020603050405020304" pitchFamily="18" charset="0"/>
                  <a:cs typeface="Arial" panose="020B0604020202020204" pitchFamily="34" charset="0"/>
                </a:defRPr>
              </a:lvl2pPr>
              <a:lvl3pPr marL="1143000" indent="-228600" eaLnBrk="0" hangingPunct="0">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defRPr sz="2400">
                  <a:solidFill>
                    <a:schemeClr val="tx1"/>
                  </a:solidFill>
                  <a:latin typeface="Times New Roman" panose="02020603050405020304" pitchFamily="18" charset="0"/>
                  <a:cs typeface="Arial" panose="020B0604020202020204" pitchFamily="34" charset="0"/>
                </a:defRPr>
              </a:lvl4pPr>
              <a:lvl5pPr marL="2057400" indent="-228600" eaLnBrk="0" hangingPunct="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ctr" defTabSz="1219140" eaLnBrk="1" fontAlgn="base" latinLnBrk="0" hangingPunct="1">
                <a:lnSpc>
                  <a:spcPct val="100000"/>
                </a:lnSpc>
                <a:spcBef>
                  <a:spcPct val="50000"/>
                </a:spcBef>
                <a:spcAft>
                  <a:spcPct val="0"/>
                </a:spcAft>
                <a:buClrTx/>
                <a:buSzTx/>
                <a:buFontTx/>
                <a:buNone/>
                <a:tabLst/>
                <a:defRPr/>
              </a:pPr>
              <a:r>
                <a:rPr kumimoji="0" lang="en-US" altLang="en-US" sz="1200" b="0" i="0" u="none" strike="noStrike" kern="0" cap="none" spc="0" normalizeH="0" baseline="0" noProof="0" dirty="0">
                  <a:ln>
                    <a:noFill/>
                  </a:ln>
                  <a:solidFill>
                    <a:srgbClr val="000000"/>
                  </a:solidFill>
                  <a:effectLst/>
                  <a:uLnTx/>
                  <a:uFillTx/>
                  <a:latin typeface="Arial Black" panose="020B0A04020102020204" pitchFamily="34" charset="0"/>
                  <a:cs typeface="Arial" panose="020B0604020202020204" pitchFamily="34" charset="0"/>
                </a:rPr>
                <a:t>Selective Catalytic Reduction (SCR) Catalyst</a:t>
              </a:r>
              <a:r>
                <a:rPr kumimoji="0" lang="en-US" altLang="en-US" sz="1200" b="0" i="0" u="none" strike="noStrike" kern="0" cap="none" spc="0" normalizeH="0" baseline="0" noProof="0" dirty="0">
                  <a:ln>
                    <a:noFill/>
                  </a:ln>
                  <a:solidFill>
                    <a:srgbClr val="000000"/>
                  </a:solidFill>
                  <a:effectLst/>
                  <a:uLnTx/>
                  <a:uFillTx/>
                  <a:latin typeface="Times New Roman" panose="02020603050405020304" pitchFamily="18" charset="0"/>
                  <a:cs typeface="Arial" panose="020B0604020202020204" pitchFamily="34" charset="0"/>
                </a:rPr>
                <a:t> </a:t>
              </a:r>
            </a:p>
          </p:txBody>
        </p:sp>
        <p:sp>
          <p:nvSpPr>
            <p:cNvPr id="22" name="Line 5">
              <a:extLst>
                <a:ext uri="{FF2B5EF4-FFF2-40B4-BE49-F238E27FC236}">
                  <a16:creationId xmlns:a16="http://schemas.microsoft.com/office/drawing/2014/main" id="{96FDCCC1-5539-8593-AEB4-61C9899E7FAF}"/>
                </a:ext>
              </a:extLst>
            </p:cNvPr>
            <p:cNvSpPr>
              <a:spLocks noChangeShapeType="1"/>
            </p:cNvSpPr>
            <p:nvPr/>
          </p:nvSpPr>
          <p:spPr bwMode="auto">
            <a:xfrm flipV="1">
              <a:off x="8949715" y="3555467"/>
              <a:ext cx="635378" cy="446715"/>
            </a:xfrm>
            <a:prstGeom prst="line">
              <a:avLst/>
            </a:prstGeom>
            <a:noFill/>
            <a:ln w="19050">
              <a:solidFill>
                <a:srgbClr val="000000"/>
              </a:solidFill>
              <a:round/>
              <a:headEnd/>
              <a:tailEnd type="oval" w="med" len="med"/>
            </a:ln>
            <a:extLst>
              <a:ext uri="{909E8E84-426E-40DD-AFC4-6F175D3DCCD1}">
                <a14:hiddenFill xmlns:a14="http://schemas.microsoft.com/office/drawing/2010/main">
                  <a:noFill/>
                </a14:hiddenFill>
              </a:ext>
            </a:extLst>
          </p:spPr>
          <p:txBody>
            <a:bodyPr/>
            <a:lstStyle/>
            <a:p>
              <a:pPr marL="0" marR="0" lvl="0" indent="0" defTabSz="121914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cs typeface="Arial" panose="020B0604020202020204" pitchFamily="34" charset="0"/>
              </a:endParaRPr>
            </a:p>
          </p:txBody>
        </p:sp>
      </p:grpSp>
      <p:sp>
        <p:nvSpPr>
          <p:cNvPr id="23" name="Rectangle 22">
            <a:extLst>
              <a:ext uri="{FF2B5EF4-FFF2-40B4-BE49-F238E27FC236}">
                <a16:creationId xmlns:a16="http://schemas.microsoft.com/office/drawing/2014/main" id="{BFFF9AF0-20AD-25DE-6344-384F8BAD4780}"/>
              </a:ext>
            </a:extLst>
          </p:cNvPr>
          <p:cNvSpPr/>
          <p:nvPr/>
        </p:nvSpPr>
        <p:spPr>
          <a:xfrm>
            <a:off x="5934891" y="5356373"/>
            <a:ext cx="6257109" cy="1569660"/>
          </a:xfrm>
          <a:prstGeom prst="rect">
            <a:avLst/>
          </a:prstGeom>
        </p:spPr>
        <p:txBody>
          <a:bodyPr wrap="square">
            <a:spAutoFit/>
          </a:bodyPr>
          <a:lstStyle/>
          <a:p>
            <a:pPr>
              <a:defRPr/>
            </a:pPr>
            <a:r>
              <a:rPr lang="en-US" sz="1600" dirty="0">
                <a:solidFill>
                  <a:srgbClr val="000000"/>
                </a:solidFill>
                <a:latin typeface="Arial" panose="020B0604020202020204"/>
              </a:rPr>
              <a:t>The following conditions require more frequent DPF maintenance</a:t>
            </a:r>
          </a:p>
          <a:p>
            <a:pPr marL="285750" indent="-285750">
              <a:buFont typeface="Arial" panose="020B0604020202020204" pitchFamily="34" charset="0"/>
              <a:buChar char="•"/>
              <a:defRPr/>
            </a:pPr>
            <a:r>
              <a:rPr lang="en-US" sz="1600" dirty="0">
                <a:solidFill>
                  <a:srgbClr val="000000"/>
                </a:solidFill>
                <a:latin typeface="Arial" panose="020B0604020202020204"/>
              </a:rPr>
              <a:t>Use of engine lubricating oil that does not meet API CK-4</a:t>
            </a:r>
          </a:p>
          <a:p>
            <a:pPr marL="285750" indent="-285750">
              <a:buFont typeface="Arial" panose="020B0604020202020204" pitchFamily="34" charset="0"/>
              <a:buChar char="•"/>
              <a:defRPr/>
            </a:pPr>
            <a:r>
              <a:rPr lang="en-US" sz="1600" dirty="0">
                <a:solidFill>
                  <a:srgbClr val="000000"/>
                </a:solidFill>
                <a:latin typeface="Arial" panose="020B0604020202020204"/>
              </a:rPr>
              <a:t>Excessive oil consumption</a:t>
            </a:r>
          </a:p>
          <a:p>
            <a:pPr marL="285750" indent="-285750">
              <a:buFont typeface="Arial" panose="020B0604020202020204" pitchFamily="34" charset="0"/>
              <a:buChar char="•"/>
              <a:defRPr/>
            </a:pPr>
            <a:r>
              <a:rPr lang="en-US" sz="1600" dirty="0">
                <a:solidFill>
                  <a:srgbClr val="000000"/>
                </a:solidFill>
                <a:latin typeface="Arial" panose="020B0604020202020204"/>
              </a:rPr>
              <a:t>Frequent or extended use of engine brakes</a:t>
            </a:r>
          </a:p>
          <a:p>
            <a:pPr marL="285750" indent="-285750">
              <a:buFont typeface="Arial" panose="020B0604020202020204" pitchFamily="34" charset="0"/>
              <a:buChar char="•"/>
              <a:defRPr/>
            </a:pPr>
            <a:r>
              <a:rPr lang="en-US" sz="1600" dirty="0">
                <a:solidFill>
                  <a:srgbClr val="000000"/>
                </a:solidFill>
                <a:latin typeface="Arial" panose="020B0604020202020204"/>
              </a:rPr>
              <a:t>Extended idle</a:t>
            </a:r>
          </a:p>
          <a:p>
            <a:pPr>
              <a:defRPr/>
            </a:pPr>
            <a:endParaRPr lang="en-US" sz="1600" dirty="0">
              <a:solidFill>
                <a:srgbClr val="000000"/>
              </a:solidFill>
              <a:latin typeface="Arial" panose="020B0604020202020204"/>
            </a:endParaRPr>
          </a:p>
        </p:txBody>
      </p:sp>
      <p:sp>
        <p:nvSpPr>
          <p:cNvPr id="2" name="Oval 1">
            <a:extLst>
              <a:ext uri="{FF2B5EF4-FFF2-40B4-BE49-F238E27FC236}">
                <a16:creationId xmlns:a16="http://schemas.microsoft.com/office/drawing/2014/main" id="{81F06B3B-6209-BD7D-CD36-E7FE08A1DCB4}"/>
              </a:ext>
            </a:extLst>
          </p:cNvPr>
          <p:cNvSpPr/>
          <p:nvPr/>
        </p:nvSpPr>
        <p:spPr>
          <a:xfrm>
            <a:off x="34259" y="1515882"/>
            <a:ext cx="2821656" cy="121339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2922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86200B3-C459-B62C-42F0-C971096ADC87}"/>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95FDB8B0-9C8E-CD7A-6CC8-7EE803222381}"/>
              </a:ext>
            </a:extLst>
          </p:cNvPr>
          <p:cNvSpPr/>
          <p:nvPr/>
        </p:nvSpPr>
        <p:spPr>
          <a:xfrm>
            <a:off x="1399598" y="1281562"/>
            <a:ext cx="9881545"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12" name="Picture 10">
            <a:extLst>
              <a:ext uri="{FF2B5EF4-FFF2-40B4-BE49-F238E27FC236}">
                <a16:creationId xmlns:a16="http://schemas.microsoft.com/office/drawing/2014/main" id="{C76011BE-3D29-5E37-FE9F-295849099C3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37808" y="1556832"/>
            <a:ext cx="3311377" cy="4364820"/>
          </a:xfrm>
          <a:prstGeom prst="rect">
            <a:avLst/>
          </a:prstGeom>
        </p:spPr>
      </p:pic>
      <p:sp>
        <p:nvSpPr>
          <p:cNvPr id="18" name="TextBox 137">
            <a:extLst>
              <a:ext uri="{FF2B5EF4-FFF2-40B4-BE49-F238E27FC236}">
                <a16:creationId xmlns:a16="http://schemas.microsoft.com/office/drawing/2014/main" id="{ACD34475-7F67-FB5C-E6B7-47DA4CB4B1E0}"/>
              </a:ext>
            </a:extLst>
          </p:cNvPr>
          <p:cNvSpPr txBox="1"/>
          <p:nvPr/>
        </p:nvSpPr>
        <p:spPr>
          <a:xfrm>
            <a:off x="5346612" y="1992476"/>
            <a:ext cx="4970365" cy="807913"/>
          </a:xfrm>
          <a:prstGeom prst="rect">
            <a:avLst/>
          </a:prstGeom>
          <a:noFill/>
        </p:spPr>
        <p:txBody>
          <a:bodyPr wrap="square" lIns="0" tIns="0" rIns="0" bIns="0" rtlCol="0" anchor="t">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CARB27 and EPA27 Compliant</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New State of the Art Platform with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Improved GHG Efficiency &amp; Fuel Economy </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Ratings up to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450 hp / 1650 ft-lb </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available</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Maintaining </a:t>
            </a: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market required REPTO and FEPTO </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capabilities seen in the current L9</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050" b="1" i="0" u="none" strike="noStrike" kern="1200" cap="none" spc="0" normalizeH="0" baseline="0" noProof="0">
                <a:ln>
                  <a:noFill/>
                </a:ln>
                <a:solidFill>
                  <a:srgbClr val="000000"/>
                </a:solidFill>
                <a:effectLst/>
                <a:uLnTx/>
                <a:uFillTx/>
                <a:latin typeface="Aptos" panose="020B0004020202020204" pitchFamily="34" charset="0"/>
                <a:ea typeface="+mn-ea"/>
                <a:cs typeface="+mn-cs"/>
              </a:rPr>
              <a:t>Extended maintenance </a:t>
            </a:r>
            <a:r>
              <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rPr>
              <a:t>intervals to lower total cost of operation</a:t>
            </a:r>
          </a:p>
        </p:txBody>
      </p:sp>
      <p:grpSp>
        <p:nvGrpSpPr>
          <p:cNvPr id="19" name="Group 493">
            <a:extLst>
              <a:ext uri="{FF2B5EF4-FFF2-40B4-BE49-F238E27FC236}">
                <a16:creationId xmlns:a16="http://schemas.microsoft.com/office/drawing/2014/main" id="{2AD12761-9429-840D-342B-448DC05F12D1}"/>
              </a:ext>
            </a:extLst>
          </p:cNvPr>
          <p:cNvGrpSpPr/>
          <p:nvPr/>
        </p:nvGrpSpPr>
        <p:grpSpPr>
          <a:xfrm>
            <a:off x="7512203" y="2963314"/>
            <a:ext cx="2033233" cy="1066576"/>
            <a:chOff x="9165198" y="3711848"/>
            <a:chExt cx="2033233" cy="1066576"/>
          </a:xfrm>
        </p:grpSpPr>
        <p:sp>
          <p:nvSpPr>
            <p:cNvPr id="25" name="TextBox 496">
              <a:extLst>
                <a:ext uri="{FF2B5EF4-FFF2-40B4-BE49-F238E27FC236}">
                  <a16:creationId xmlns:a16="http://schemas.microsoft.com/office/drawing/2014/main" id="{94F5790A-6F30-2B87-050E-14EC2B95D461}"/>
                </a:ext>
              </a:extLst>
            </p:cNvPr>
            <p:cNvSpPr txBox="1"/>
            <p:nvPr/>
          </p:nvSpPr>
          <p:spPr>
            <a:xfrm>
              <a:off x="9165198" y="3711848"/>
              <a:ext cx="14080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Value package</a:t>
              </a:r>
            </a:p>
          </p:txBody>
        </p:sp>
        <p:sp>
          <p:nvSpPr>
            <p:cNvPr id="26" name="TextBox 497">
              <a:extLst>
                <a:ext uri="{FF2B5EF4-FFF2-40B4-BE49-F238E27FC236}">
                  <a16:creationId xmlns:a16="http://schemas.microsoft.com/office/drawing/2014/main" id="{16145A0C-57D9-78D3-FBD9-C07288E65503}"/>
                </a:ext>
              </a:extLst>
            </p:cNvPr>
            <p:cNvSpPr txBox="1"/>
            <p:nvPr/>
          </p:nvSpPr>
          <p:spPr>
            <a:xfrm>
              <a:off x="9178720" y="4008983"/>
              <a:ext cx="2019711" cy="769441"/>
            </a:xfrm>
            <a:prstGeom prst="rect">
              <a:avLst/>
            </a:prstGeom>
            <a:noFill/>
          </p:spPr>
          <p:txBody>
            <a:bodyPr wrap="square" rtlCol="0">
              <a:spAutoFit/>
            </a:bodyPr>
            <a:lstStyle/>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Reliabilit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Durability</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Increased power</a:t>
              </a:r>
            </a:p>
            <a:p>
              <a:pPr marL="108000" marR="0" lvl="0" indent="-108000" algn="l" defTabSz="914400" rtl="0" eaLnBrk="1" fontAlgn="auto" latinLnBrk="0" hangingPunct="1">
                <a:lnSpc>
                  <a:spcPct val="100000"/>
                </a:lnSpc>
                <a:spcBef>
                  <a:spcPts val="0"/>
                </a:spcBef>
                <a:spcAft>
                  <a:spcPts val="0"/>
                </a:spcAft>
                <a:buClr>
                  <a:srgbClr val="DA281C"/>
                </a:buClr>
                <a:buSzTx/>
                <a:buFont typeface="Wingdings" pitchFamily="2" charset="2"/>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Harsh duty cycles</a:t>
              </a:r>
            </a:p>
          </p:txBody>
        </p:sp>
      </p:grpSp>
      <p:grpSp>
        <p:nvGrpSpPr>
          <p:cNvPr id="27" name="Group 504">
            <a:extLst>
              <a:ext uri="{FF2B5EF4-FFF2-40B4-BE49-F238E27FC236}">
                <a16:creationId xmlns:a16="http://schemas.microsoft.com/office/drawing/2014/main" id="{EEB3B043-4ABA-8F5F-91CB-766CBADF5969}"/>
              </a:ext>
            </a:extLst>
          </p:cNvPr>
          <p:cNvGrpSpPr/>
          <p:nvPr/>
        </p:nvGrpSpPr>
        <p:grpSpPr>
          <a:xfrm>
            <a:off x="5253864" y="3313077"/>
            <a:ext cx="1971280" cy="752497"/>
            <a:chOff x="6589895" y="4055718"/>
            <a:chExt cx="1971280" cy="752497"/>
          </a:xfrm>
        </p:grpSpPr>
        <p:sp>
          <p:nvSpPr>
            <p:cNvPr id="28" name="TextBox 507">
              <a:extLst>
                <a:ext uri="{FF2B5EF4-FFF2-40B4-BE49-F238E27FC236}">
                  <a16:creationId xmlns:a16="http://schemas.microsoft.com/office/drawing/2014/main" id="{87B1CF52-470A-C494-1587-35EFDDD17220}"/>
                </a:ext>
              </a:extLst>
            </p:cNvPr>
            <p:cNvSpPr txBox="1"/>
            <p:nvPr/>
          </p:nvSpPr>
          <p:spPr>
            <a:xfrm>
              <a:off x="6589895" y="4546605"/>
              <a:ext cx="8902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Vocational</a:t>
              </a:r>
            </a:p>
          </p:txBody>
        </p:sp>
        <p:sp>
          <p:nvSpPr>
            <p:cNvPr id="29" name="TextBox 510">
              <a:extLst>
                <a:ext uri="{FF2B5EF4-FFF2-40B4-BE49-F238E27FC236}">
                  <a16:creationId xmlns:a16="http://schemas.microsoft.com/office/drawing/2014/main" id="{F25551A3-4B4F-6F0B-F905-8EC2021E8884}"/>
                </a:ext>
              </a:extLst>
            </p:cNvPr>
            <p:cNvSpPr txBox="1"/>
            <p:nvPr/>
          </p:nvSpPr>
          <p:spPr>
            <a:xfrm>
              <a:off x="7518016" y="4546605"/>
              <a:ext cx="104315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Body builder</a:t>
              </a:r>
            </a:p>
          </p:txBody>
        </p:sp>
        <p:grpSp>
          <p:nvGrpSpPr>
            <p:cNvPr id="30" name="Group 388">
              <a:extLst>
                <a:ext uri="{FF2B5EF4-FFF2-40B4-BE49-F238E27FC236}">
                  <a16:creationId xmlns:a16="http://schemas.microsoft.com/office/drawing/2014/main" id="{052CECD4-D4F1-01B9-158A-855AE9831FC0}"/>
                </a:ext>
              </a:extLst>
            </p:cNvPr>
            <p:cNvGrpSpPr>
              <a:grpSpLocks noChangeAspect="1"/>
            </p:cNvGrpSpPr>
            <p:nvPr/>
          </p:nvGrpSpPr>
          <p:grpSpPr>
            <a:xfrm>
              <a:off x="7639274" y="4055718"/>
              <a:ext cx="738390" cy="472453"/>
              <a:chOff x="5907247" y="5453970"/>
              <a:chExt cx="1203325" cy="769938"/>
            </a:xfrm>
          </p:grpSpPr>
          <p:sp>
            <p:nvSpPr>
              <p:cNvPr id="89" name="Freeform 1777">
                <a:extLst>
                  <a:ext uri="{FF2B5EF4-FFF2-40B4-BE49-F238E27FC236}">
                    <a16:creationId xmlns:a16="http://schemas.microsoft.com/office/drawing/2014/main" id="{5DD2A85F-B0D1-599E-63F2-768CF5C42842}"/>
                  </a:ext>
                </a:extLst>
              </p:cNvPr>
              <p:cNvSpPr>
                <a:spLocks/>
              </p:cNvSpPr>
              <p:nvPr/>
            </p:nvSpPr>
            <p:spPr bwMode="auto">
              <a:xfrm>
                <a:off x="5907247" y="5504770"/>
                <a:ext cx="185738" cy="200025"/>
              </a:xfrm>
              <a:custGeom>
                <a:avLst/>
                <a:gdLst>
                  <a:gd name="T0" fmla="*/ 117 w 117"/>
                  <a:gd name="T1" fmla="*/ 51 h 126"/>
                  <a:gd name="T2" fmla="*/ 0 w 117"/>
                  <a:gd name="T3" fmla="*/ 0 h 126"/>
                  <a:gd name="T4" fmla="*/ 0 w 117"/>
                  <a:gd name="T5" fmla="*/ 126 h 126"/>
                </a:gdLst>
                <a:ahLst/>
                <a:cxnLst>
                  <a:cxn ang="0">
                    <a:pos x="T0" y="T1"/>
                  </a:cxn>
                  <a:cxn ang="0">
                    <a:pos x="T2" y="T3"/>
                  </a:cxn>
                  <a:cxn ang="0">
                    <a:pos x="T4" y="T5"/>
                  </a:cxn>
                </a:cxnLst>
                <a:rect l="0" t="0" r="r" b="b"/>
                <a:pathLst>
                  <a:path w="117" h="126">
                    <a:moveTo>
                      <a:pt x="117" y="51"/>
                    </a:moveTo>
                    <a:lnTo>
                      <a:pt x="0" y="0"/>
                    </a:lnTo>
                    <a:lnTo>
                      <a:pt x="0" y="126"/>
                    </a:lnTo>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0" name="Freeform 1778">
                <a:extLst>
                  <a:ext uri="{FF2B5EF4-FFF2-40B4-BE49-F238E27FC236}">
                    <a16:creationId xmlns:a16="http://schemas.microsoft.com/office/drawing/2014/main" id="{C1502E42-7DB1-9F39-4883-BA1A8DB0BC17}"/>
                  </a:ext>
                </a:extLst>
              </p:cNvPr>
              <p:cNvSpPr>
                <a:spLocks/>
              </p:cNvSpPr>
              <p:nvPr/>
            </p:nvSpPr>
            <p:spPr bwMode="auto">
              <a:xfrm>
                <a:off x="5907247" y="5634945"/>
                <a:ext cx="196850" cy="331788"/>
              </a:xfrm>
              <a:custGeom>
                <a:avLst/>
                <a:gdLst>
                  <a:gd name="T0" fmla="*/ 124 w 124"/>
                  <a:gd name="T1" fmla="*/ 149 h 209"/>
                  <a:gd name="T2" fmla="*/ 124 w 124"/>
                  <a:gd name="T3" fmla="*/ 209 h 209"/>
                  <a:gd name="T4" fmla="*/ 0 w 124"/>
                  <a:gd name="T5" fmla="*/ 209 h 209"/>
                  <a:gd name="T6" fmla="*/ 0 w 124"/>
                  <a:gd name="T7" fmla="*/ 0 h 209"/>
                  <a:gd name="T8" fmla="*/ 124 w 124"/>
                  <a:gd name="T9" fmla="*/ 149 h 209"/>
                </a:gdLst>
                <a:ahLst/>
                <a:cxnLst>
                  <a:cxn ang="0">
                    <a:pos x="T0" y="T1"/>
                  </a:cxn>
                  <a:cxn ang="0">
                    <a:pos x="T2" y="T3"/>
                  </a:cxn>
                  <a:cxn ang="0">
                    <a:pos x="T4" y="T5"/>
                  </a:cxn>
                  <a:cxn ang="0">
                    <a:pos x="T6" y="T7"/>
                  </a:cxn>
                  <a:cxn ang="0">
                    <a:pos x="T8" y="T9"/>
                  </a:cxn>
                </a:cxnLst>
                <a:rect l="0" t="0" r="r" b="b"/>
                <a:pathLst>
                  <a:path w="124" h="209">
                    <a:moveTo>
                      <a:pt x="124" y="149"/>
                    </a:moveTo>
                    <a:lnTo>
                      <a:pt x="124" y="209"/>
                    </a:lnTo>
                    <a:lnTo>
                      <a:pt x="0" y="209"/>
                    </a:lnTo>
                    <a:lnTo>
                      <a:pt x="0" y="0"/>
                    </a:lnTo>
                    <a:lnTo>
                      <a:pt x="124" y="149"/>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1" name="Freeform 1779">
                <a:extLst>
                  <a:ext uri="{FF2B5EF4-FFF2-40B4-BE49-F238E27FC236}">
                    <a16:creationId xmlns:a16="http://schemas.microsoft.com/office/drawing/2014/main" id="{495A5082-0B06-45E7-E762-30751D24BF9D}"/>
                  </a:ext>
                </a:extLst>
              </p:cNvPr>
              <p:cNvSpPr>
                <a:spLocks/>
              </p:cNvSpPr>
              <p:nvPr/>
            </p:nvSpPr>
            <p:spPr bwMode="auto">
              <a:xfrm>
                <a:off x="5907247" y="5634945"/>
                <a:ext cx="196850" cy="331788"/>
              </a:xfrm>
              <a:custGeom>
                <a:avLst/>
                <a:gdLst>
                  <a:gd name="T0" fmla="*/ 124 w 124"/>
                  <a:gd name="T1" fmla="*/ 149 h 209"/>
                  <a:gd name="T2" fmla="*/ 124 w 124"/>
                  <a:gd name="T3" fmla="*/ 209 h 209"/>
                  <a:gd name="T4" fmla="*/ 0 w 124"/>
                  <a:gd name="T5" fmla="*/ 209 h 209"/>
                  <a:gd name="T6" fmla="*/ 0 w 124"/>
                  <a:gd name="T7" fmla="*/ 0 h 209"/>
                </a:gdLst>
                <a:ahLst/>
                <a:cxnLst>
                  <a:cxn ang="0">
                    <a:pos x="T0" y="T1"/>
                  </a:cxn>
                  <a:cxn ang="0">
                    <a:pos x="T2" y="T3"/>
                  </a:cxn>
                  <a:cxn ang="0">
                    <a:pos x="T4" y="T5"/>
                  </a:cxn>
                  <a:cxn ang="0">
                    <a:pos x="T6" y="T7"/>
                  </a:cxn>
                </a:cxnLst>
                <a:rect l="0" t="0" r="r" b="b"/>
                <a:pathLst>
                  <a:path w="124" h="209">
                    <a:moveTo>
                      <a:pt x="124" y="149"/>
                    </a:moveTo>
                    <a:lnTo>
                      <a:pt x="124" y="209"/>
                    </a:lnTo>
                    <a:lnTo>
                      <a:pt x="0" y="209"/>
                    </a:lnTo>
                    <a:lnTo>
                      <a:pt x="0" y="0"/>
                    </a:lnTo>
                  </a:path>
                </a:pathLst>
              </a:custGeom>
              <a:noFill/>
              <a:ln w="12700"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2" name="Freeform 1780">
                <a:extLst>
                  <a:ext uri="{FF2B5EF4-FFF2-40B4-BE49-F238E27FC236}">
                    <a16:creationId xmlns:a16="http://schemas.microsoft.com/office/drawing/2014/main" id="{73364B30-0877-93D5-8A9B-C0E84AA16465}"/>
                  </a:ext>
                </a:extLst>
              </p:cNvPr>
              <p:cNvSpPr>
                <a:spLocks/>
              </p:cNvSpPr>
              <p:nvPr/>
            </p:nvSpPr>
            <p:spPr bwMode="auto">
              <a:xfrm>
                <a:off x="5907247" y="5634945"/>
                <a:ext cx="196850" cy="331788"/>
              </a:xfrm>
              <a:custGeom>
                <a:avLst/>
                <a:gdLst>
                  <a:gd name="T0" fmla="*/ 0 w 124"/>
                  <a:gd name="T1" fmla="*/ 209 h 209"/>
                  <a:gd name="T2" fmla="*/ 0 w 124"/>
                  <a:gd name="T3" fmla="*/ 0 h 209"/>
                  <a:gd name="T4" fmla="*/ 124 w 124"/>
                  <a:gd name="T5" fmla="*/ 149 h 209"/>
                  <a:gd name="T6" fmla="*/ 124 w 124"/>
                  <a:gd name="T7" fmla="*/ 209 h 209"/>
                  <a:gd name="T8" fmla="*/ 0 w 124"/>
                  <a:gd name="T9" fmla="*/ 209 h 209"/>
                </a:gdLst>
                <a:ahLst/>
                <a:cxnLst>
                  <a:cxn ang="0">
                    <a:pos x="T0" y="T1"/>
                  </a:cxn>
                  <a:cxn ang="0">
                    <a:pos x="T2" y="T3"/>
                  </a:cxn>
                  <a:cxn ang="0">
                    <a:pos x="T4" y="T5"/>
                  </a:cxn>
                  <a:cxn ang="0">
                    <a:pos x="T6" y="T7"/>
                  </a:cxn>
                  <a:cxn ang="0">
                    <a:pos x="T8" y="T9"/>
                  </a:cxn>
                </a:cxnLst>
                <a:rect l="0" t="0" r="r" b="b"/>
                <a:pathLst>
                  <a:path w="124" h="209">
                    <a:moveTo>
                      <a:pt x="0" y="209"/>
                    </a:moveTo>
                    <a:lnTo>
                      <a:pt x="0" y="0"/>
                    </a:lnTo>
                    <a:lnTo>
                      <a:pt x="124" y="149"/>
                    </a:lnTo>
                    <a:lnTo>
                      <a:pt x="124" y="209"/>
                    </a:lnTo>
                    <a:lnTo>
                      <a:pt x="0" y="209"/>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3" name="Freeform 1781">
                <a:extLst>
                  <a:ext uri="{FF2B5EF4-FFF2-40B4-BE49-F238E27FC236}">
                    <a16:creationId xmlns:a16="http://schemas.microsoft.com/office/drawing/2014/main" id="{2D8A1138-533C-C9EA-3E43-153147A56632}"/>
                  </a:ext>
                </a:extLst>
              </p:cNvPr>
              <p:cNvSpPr>
                <a:spLocks/>
              </p:cNvSpPr>
              <p:nvPr/>
            </p:nvSpPr>
            <p:spPr bwMode="auto">
              <a:xfrm>
                <a:off x="6593047" y="5757183"/>
                <a:ext cx="144463" cy="330200"/>
              </a:xfrm>
              <a:custGeom>
                <a:avLst/>
                <a:gdLst>
                  <a:gd name="T0" fmla="*/ 31 w 91"/>
                  <a:gd name="T1" fmla="*/ 0 h 208"/>
                  <a:gd name="T2" fmla="*/ 91 w 91"/>
                  <a:gd name="T3" fmla="*/ 0 h 208"/>
                  <a:gd name="T4" fmla="*/ 91 w 91"/>
                  <a:gd name="T5" fmla="*/ 208 h 208"/>
                  <a:gd name="T6" fmla="*/ 20 w 91"/>
                  <a:gd name="T7" fmla="*/ 208 h 208"/>
                  <a:gd name="T8" fmla="*/ 20 w 91"/>
                  <a:gd name="T9" fmla="*/ 123 h 208"/>
                  <a:gd name="T10" fmla="*/ 0 w 91"/>
                  <a:gd name="T11" fmla="*/ 74 h 208"/>
                  <a:gd name="T12" fmla="*/ 29 w 91"/>
                  <a:gd name="T13" fmla="*/ 0 h 208"/>
                  <a:gd name="T14" fmla="*/ 31 w 91"/>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208">
                    <a:moveTo>
                      <a:pt x="31" y="0"/>
                    </a:moveTo>
                    <a:lnTo>
                      <a:pt x="91" y="0"/>
                    </a:lnTo>
                    <a:lnTo>
                      <a:pt x="91" y="208"/>
                    </a:lnTo>
                    <a:lnTo>
                      <a:pt x="20" y="208"/>
                    </a:lnTo>
                    <a:lnTo>
                      <a:pt x="20" y="123"/>
                    </a:lnTo>
                    <a:lnTo>
                      <a:pt x="0" y="74"/>
                    </a:lnTo>
                    <a:lnTo>
                      <a:pt x="29" y="0"/>
                    </a:lnTo>
                    <a:lnTo>
                      <a:pt x="31"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4" name="Freeform 1782">
                <a:extLst>
                  <a:ext uri="{FF2B5EF4-FFF2-40B4-BE49-F238E27FC236}">
                    <a16:creationId xmlns:a16="http://schemas.microsoft.com/office/drawing/2014/main" id="{D437F090-1461-1CA0-B2FC-D88C30323E86}"/>
                  </a:ext>
                </a:extLst>
              </p:cNvPr>
              <p:cNvSpPr>
                <a:spLocks/>
              </p:cNvSpPr>
              <p:nvPr/>
            </p:nvSpPr>
            <p:spPr bwMode="auto">
              <a:xfrm>
                <a:off x="6593047" y="5757183"/>
                <a:ext cx="144463" cy="330200"/>
              </a:xfrm>
              <a:custGeom>
                <a:avLst/>
                <a:gdLst>
                  <a:gd name="T0" fmla="*/ 31 w 91"/>
                  <a:gd name="T1" fmla="*/ 0 h 208"/>
                  <a:gd name="T2" fmla="*/ 91 w 91"/>
                  <a:gd name="T3" fmla="*/ 0 h 208"/>
                  <a:gd name="T4" fmla="*/ 91 w 91"/>
                  <a:gd name="T5" fmla="*/ 208 h 208"/>
                  <a:gd name="T6" fmla="*/ 20 w 91"/>
                  <a:gd name="T7" fmla="*/ 208 h 208"/>
                  <a:gd name="T8" fmla="*/ 20 w 91"/>
                  <a:gd name="T9" fmla="*/ 123 h 208"/>
                  <a:gd name="T10" fmla="*/ 0 w 91"/>
                  <a:gd name="T11" fmla="*/ 74 h 208"/>
                  <a:gd name="T12" fmla="*/ 29 w 91"/>
                  <a:gd name="T13" fmla="*/ 0 h 208"/>
                  <a:gd name="T14" fmla="*/ 31 w 91"/>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208">
                    <a:moveTo>
                      <a:pt x="31" y="0"/>
                    </a:moveTo>
                    <a:lnTo>
                      <a:pt x="91" y="0"/>
                    </a:lnTo>
                    <a:lnTo>
                      <a:pt x="91" y="208"/>
                    </a:lnTo>
                    <a:lnTo>
                      <a:pt x="20" y="208"/>
                    </a:lnTo>
                    <a:lnTo>
                      <a:pt x="20" y="123"/>
                    </a:lnTo>
                    <a:lnTo>
                      <a:pt x="0" y="74"/>
                    </a:lnTo>
                    <a:lnTo>
                      <a:pt x="29" y="0"/>
                    </a:lnTo>
                    <a:lnTo>
                      <a:pt x="31"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5" name="Rectangle 1783">
                <a:extLst>
                  <a:ext uri="{FF2B5EF4-FFF2-40B4-BE49-F238E27FC236}">
                    <a16:creationId xmlns:a16="http://schemas.microsoft.com/office/drawing/2014/main" id="{0018CD0F-FCD2-97E7-2B83-1943C16283F5}"/>
                  </a:ext>
                </a:extLst>
              </p:cNvPr>
              <p:cNvSpPr>
                <a:spLocks noChangeArrowheads="1"/>
              </p:cNvSpPr>
              <p:nvPr/>
            </p:nvSpPr>
            <p:spPr bwMode="auto">
              <a:xfrm>
                <a:off x="5907247" y="5958795"/>
                <a:ext cx="717550" cy="173038"/>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6" name="Rectangle 1784">
                <a:extLst>
                  <a:ext uri="{FF2B5EF4-FFF2-40B4-BE49-F238E27FC236}">
                    <a16:creationId xmlns:a16="http://schemas.microsoft.com/office/drawing/2014/main" id="{DD86A617-9E3F-1424-75AE-95F0A9F47C1A}"/>
                  </a:ext>
                </a:extLst>
              </p:cNvPr>
              <p:cNvSpPr>
                <a:spLocks noChangeArrowheads="1"/>
              </p:cNvSpPr>
              <p:nvPr/>
            </p:nvSpPr>
            <p:spPr bwMode="auto">
              <a:xfrm>
                <a:off x="5907247" y="5958795"/>
                <a:ext cx="717550" cy="173038"/>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7" name="Rectangle 1785">
                <a:extLst>
                  <a:ext uri="{FF2B5EF4-FFF2-40B4-BE49-F238E27FC236}">
                    <a16:creationId xmlns:a16="http://schemas.microsoft.com/office/drawing/2014/main" id="{105E8D3B-4A9F-8015-7479-700601A06D88}"/>
                  </a:ext>
                </a:extLst>
              </p:cNvPr>
              <p:cNvSpPr>
                <a:spLocks noChangeArrowheads="1"/>
              </p:cNvSpPr>
              <p:nvPr/>
            </p:nvSpPr>
            <p:spPr bwMode="auto">
              <a:xfrm>
                <a:off x="5907247" y="6087383"/>
                <a:ext cx="1203325" cy="44450"/>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8" name="Rectangle 1786">
                <a:extLst>
                  <a:ext uri="{FF2B5EF4-FFF2-40B4-BE49-F238E27FC236}">
                    <a16:creationId xmlns:a16="http://schemas.microsoft.com/office/drawing/2014/main" id="{B948B2EE-BD9D-B17C-C79F-6E11A33F9BB1}"/>
                  </a:ext>
                </a:extLst>
              </p:cNvPr>
              <p:cNvSpPr>
                <a:spLocks noChangeArrowheads="1"/>
              </p:cNvSpPr>
              <p:nvPr/>
            </p:nvSpPr>
            <p:spPr bwMode="auto">
              <a:xfrm>
                <a:off x="5907247" y="6087383"/>
                <a:ext cx="1203325" cy="44450"/>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99" name="Freeform 1787">
                <a:extLst>
                  <a:ext uri="{FF2B5EF4-FFF2-40B4-BE49-F238E27FC236}">
                    <a16:creationId xmlns:a16="http://schemas.microsoft.com/office/drawing/2014/main" id="{C92D7192-07F7-3537-D26C-11D237FD07B1}"/>
                  </a:ext>
                </a:extLst>
              </p:cNvPr>
              <p:cNvSpPr>
                <a:spLocks/>
              </p:cNvSpPr>
              <p:nvPr/>
            </p:nvSpPr>
            <p:spPr bwMode="auto">
              <a:xfrm>
                <a:off x="6683534" y="5628595"/>
                <a:ext cx="427038" cy="458788"/>
              </a:xfrm>
              <a:custGeom>
                <a:avLst/>
                <a:gdLst>
                  <a:gd name="T0" fmla="*/ 188 w 269"/>
                  <a:gd name="T1" fmla="*/ 0 h 289"/>
                  <a:gd name="T2" fmla="*/ 0 w 269"/>
                  <a:gd name="T3" fmla="*/ 0 h 289"/>
                  <a:gd name="T4" fmla="*/ 0 w 269"/>
                  <a:gd name="T5" fmla="*/ 289 h 289"/>
                  <a:gd name="T6" fmla="*/ 269 w 269"/>
                  <a:gd name="T7" fmla="*/ 289 h 289"/>
                  <a:gd name="T8" fmla="*/ 269 w 269"/>
                  <a:gd name="T9" fmla="*/ 133 h 289"/>
                  <a:gd name="T10" fmla="*/ 188 w 269"/>
                  <a:gd name="T11" fmla="*/ 0 h 289"/>
                </a:gdLst>
                <a:ahLst/>
                <a:cxnLst>
                  <a:cxn ang="0">
                    <a:pos x="T0" y="T1"/>
                  </a:cxn>
                  <a:cxn ang="0">
                    <a:pos x="T2" y="T3"/>
                  </a:cxn>
                  <a:cxn ang="0">
                    <a:pos x="T4" y="T5"/>
                  </a:cxn>
                  <a:cxn ang="0">
                    <a:pos x="T6" y="T7"/>
                  </a:cxn>
                  <a:cxn ang="0">
                    <a:pos x="T8" y="T9"/>
                  </a:cxn>
                  <a:cxn ang="0">
                    <a:pos x="T10" y="T11"/>
                  </a:cxn>
                </a:cxnLst>
                <a:rect l="0" t="0" r="r" b="b"/>
                <a:pathLst>
                  <a:path w="269" h="289">
                    <a:moveTo>
                      <a:pt x="188" y="0"/>
                    </a:moveTo>
                    <a:lnTo>
                      <a:pt x="0" y="0"/>
                    </a:lnTo>
                    <a:lnTo>
                      <a:pt x="0" y="289"/>
                    </a:lnTo>
                    <a:lnTo>
                      <a:pt x="269" y="289"/>
                    </a:lnTo>
                    <a:lnTo>
                      <a:pt x="269" y="133"/>
                    </a:lnTo>
                    <a:lnTo>
                      <a:pt x="188"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0" name="Freeform 1788">
                <a:extLst>
                  <a:ext uri="{FF2B5EF4-FFF2-40B4-BE49-F238E27FC236}">
                    <a16:creationId xmlns:a16="http://schemas.microsoft.com/office/drawing/2014/main" id="{C0544618-0D24-3EC7-2D3A-8B391FED91CD}"/>
                  </a:ext>
                </a:extLst>
              </p:cNvPr>
              <p:cNvSpPr>
                <a:spLocks/>
              </p:cNvSpPr>
              <p:nvPr/>
            </p:nvSpPr>
            <p:spPr bwMode="auto">
              <a:xfrm>
                <a:off x="6683534" y="5628595"/>
                <a:ext cx="427038" cy="458788"/>
              </a:xfrm>
              <a:custGeom>
                <a:avLst/>
                <a:gdLst>
                  <a:gd name="T0" fmla="*/ 188 w 269"/>
                  <a:gd name="T1" fmla="*/ 0 h 289"/>
                  <a:gd name="T2" fmla="*/ 0 w 269"/>
                  <a:gd name="T3" fmla="*/ 0 h 289"/>
                  <a:gd name="T4" fmla="*/ 0 w 269"/>
                  <a:gd name="T5" fmla="*/ 289 h 289"/>
                  <a:gd name="T6" fmla="*/ 269 w 269"/>
                  <a:gd name="T7" fmla="*/ 289 h 289"/>
                  <a:gd name="T8" fmla="*/ 269 w 269"/>
                  <a:gd name="T9" fmla="*/ 133 h 289"/>
                  <a:gd name="T10" fmla="*/ 188 w 269"/>
                  <a:gd name="T11" fmla="*/ 0 h 289"/>
                </a:gdLst>
                <a:ahLst/>
                <a:cxnLst>
                  <a:cxn ang="0">
                    <a:pos x="T0" y="T1"/>
                  </a:cxn>
                  <a:cxn ang="0">
                    <a:pos x="T2" y="T3"/>
                  </a:cxn>
                  <a:cxn ang="0">
                    <a:pos x="T4" y="T5"/>
                  </a:cxn>
                  <a:cxn ang="0">
                    <a:pos x="T6" y="T7"/>
                  </a:cxn>
                  <a:cxn ang="0">
                    <a:pos x="T8" y="T9"/>
                  </a:cxn>
                  <a:cxn ang="0">
                    <a:pos x="T10" y="T11"/>
                  </a:cxn>
                </a:cxnLst>
                <a:rect l="0" t="0" r="r" b="b"/>
                <a:pathLst>
                  <a:path w="269" h="289">
                    <a:moveTo>
                      <a:pt x="188" y="0"/>
                    </a:moveTo>
                    <a:lnTo>
                      <a:pt x="0" y="0"/>
                    </a:lnTo>
                    <a:lnTo>
                      <a:pt x="0" y="289"/>
                    </a:lnTo>
                    <a:lnTo>
                      <a:pt x="269" y="289"/>
                    </a:lnTo>
                    <a:lnTo>
                      <a:pt x="269" y="133"/>
                    </a:lnTo>
                    <a:lnTo>
                      <a:pt x="188"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1" name="Freeform 1789">
                <a:extLst>
                  <a:ext uri="{FF2B5EF4-FFF2-40B4-BE49-F238E27FC236}">
                    <a16:creationId xmlns:a16="http://schemas.microsoft.com/office/drawing/2014/main" id="{59361CC2-ACFE-6C48-A4A2-D35A809BA084}"/>
                  </a:ext>
                </a:extLst>
              </p:cNvPr>
              <p:cNvSpPr>
                <a:spLocks/>
              </p:cNvSpPr>
              <p:nvPr/>
            </p:nvSpPr>
            <p:spPr bwMode="auto">
              <a:xfrm>
                <a:off x="6761322" y="5695270"/>
                <a:ext cx="257175" cy="133350"/>
              </a:xfrm>
              <a:custGeom>
                <a:avLst/>
                <a:gdLst>
                  <a:gd name="T0" fmla="*/ 162 w 162"/>
                  <a:gd name="T1" fmla="*/ 84 h 84"/>
                  <a:gd name="T2" fmla="*/ 111 w 162"/>
                  <a:gd name="T3" fmla="*/ 0 h 84"/>
                  <a:gd name="T4" fmla="*/ 0 w 162"/>
                  <a:gd name="T5" fmla="*/ 0 h 84"/>
                  <a:gd name="T6" fmla="*/ 0 w 162"/>
                  <a:gd name="T7" fmla="*/ 84 h 84"/>
                  <a:gd name="T8" fmla="*/ 162 w 162"/>
                  <a:gd name="T9" fmla="*/ 84 h 84"/>
                </a:gdLst>
                <a:ahLst/>
                <a:cxnLst>
                  <a:cxn ang="0">
                    <a:pos x="T0" y="T1"/>
                  </a:cxn>
                  <a:cxn ang="0">
                    <a:pos x="T2" y="T3"/>
                  </a:cxn>
                  <a:cxn ang="0">
                    <a:pos x="T4" y="T5"/>
                  </a:cxn>
                  <a:cxn ang="0">
                    <a:pos x="T6" y="T7"/>
                  </a:cxn>
                  <a:cxn ang="0">
                    <a:pos x="T8" y="T9"/>
                  </a:cxn>
                </a:cxnLst>
                <a:rect l="0" t="0" r="r" b="b"/>
                <a:pathLst>
                  <a:path w="162" h="84">
                    <a:moveTo>
                      <a:pt x="162" y="84"/>
                    </a:moveTo>
                    <a:lnTo>
                      <a:pt x="111" y="0"/>
                    </a:lnTo>
                    <a:lnTo>
                      <a:pt x="0" y="0"/>
                    </a:lnTo>
                    <a:lnTo>
                      <a:pt x="0" y="84"/>
                    </a:lnTo>
                    <a:lnTo>
                      <a:pt x="162" y="84"/>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2" name="Freeform 1790">
                <a:extLst>
                  <a:ext uri="{FF2B5EF4-FFF2-40B4-BE49-F238E27FC236}">
                    <a16:creationId xmlns:a16="http://schemas.microsoft.com/office/drawing/2014/main" id="{46C70D86-B795-D0EE-960A-C89C89009B8B}"/>
                  </a:ext>
                </a:extLst>
              </p:cNvPr>
              <p:cNvSpPr>
                <a:spLocks/>
              </p:cNvSpPr>
              <p:nvPr/>
            </p:nvSpPr>
            <p:spPr bwMode="auto">
              <a:xfrm>
                <a:off x="6761322" y="5695270"/>
                <a:ext cx="257175" cy="133350"/>
              </a:xfrm>
              <a:custGeom>
                <a:avLst/>
                <a:gdLst>
                  <a:gd name="T0" fmla="*/ 162 w 162"/>
                  <a:gd name="T1" fmla="*/ 84 h 84"/>
                  <a:gd name="T2" fmla="*/ 111 w 162"/>
                  <a:gd name="T3" fmla="*/ 0 h 84"/>
                  <a:gd name="T4" fmla="*/ 0 w 162"/>
                  <a:gd name="T5" fmla="*/ 0 h 84"/>
                  <a:gd name="T6" fmla="*/ 0 w 162"/>
                  <a:gd name="T7" fmla="*/ 84 h 84"/>
                  <a:gd name="T8" fmla="*/ 162 w 162"/>
                  <a:gd name="T9" fmla="*/ 84 h 84"/>
                </a:gdLst>
                <a:ahLst/>
                <a:cxnLst>
                  <a:cxn ang="0">
                    <a:pos x="T0" y="T1"/>
                  </a:cxn>
                  <a:cxn ang="0">
                    <a:pos x="T2" y="T3"/>
                  </a:cxn>
                  <a:cxn ang="0">
                    <a:pos x="T4" y="T5"/>
                  </a:cxn>
                  <a:cxn ang="0">
                    <a:pos x="T6" y="T7"/>
                  </a:cxn>
                  <a:cxn ang="0">
                    <a:pos x="T8" y="T9"/>
                  </a:cxn>
                </a:cxnLst>
                <a:rect l="0" t="0" r="r" b="b"/>
                <a:pathLst>
                  <a:path w="162" h="84">
                    <a:moveTo>
                      <a:pt x="162" y="84"/>
                    </a:moveTo>
                    <a:lnTo>
                      <a:pt x="111" y="0"/>
                    </a:lnTo>
                    <a:lnTo>
                      <a:pt x="0" y="0"/>
                    </a:lnTo>
                    <a:lnTo>
                      <a:pt x="0" y="84"/>
                    </a:lnTo>
                    <a:lnTo>
                      <a:pt x="162" y="84"/>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3" name="Line 1791">
                <a:extLst>
                  <a:ext uri="{FF2B5EF4-FFF2-40B4-BE49-F238E27FC236}">
                    <a16:creationId xmlns:a16="http://schemas.microsoft.com/office/drawing/2014/main" id="{A44488DE-7968-E4F5-2403-BFFFF44D4EBF}"/>
                  </a:ext>
                </a:extLst>
              </p:cNvPr>
              <p:cNvSpPr>
                <a:spLocks noChangeShapeType="1"/>
              </p:cNvSpPr>
              <p:nvPr/>
            </p:nvSpPr>
            <p:spPr bwMode="auto">
              <a:xfrm>
                <a:off x="6747034" y="5901645"/>
                <a:ext cx="76200" cy="0"/>
              </a:xfrm>
              <a:prstGeom prst="line">
                <a:avLst/>
              </a:prstGeom>
              <a:noFill/>
              <a:ln w="127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4" name="Line 1792">
                <a:extLst>
                  <a:ext uri="{FF2B5EF4-FFF2-40B4-BE49-F238E27FC236}">
                    <a16:creationId xmlns:a16="http://schemas.microsoft.com/office/drawing/2014/main" id="{D35E396C-6C75-D9AA-369F-40C9177E626F}"/>
                  </a:ext>
                </a:extLst>
              </p:cNvPr>
              <p:cNvSpPr>
                <a:spLocks noChangeShapeType="1"/>
              </p:cNvSpPr>
              <p:nvPr/>
            </p:nvSpPr>
            <p:spPr bwMode="auto">
              <a:xfrm>
                <a:off x="7053422" y="5944508"/>
                <a:ext cx="57150" cy="0"/>
              </a:xfrm>
              <a:prstGeom prst="line">
                <a:avLst/>
              </a:prstGeom>
              <a:noFill/>
              <a:ln w="127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5" name="Freeform 1793">
                <a:extLst>
                  <a:ext uri="{FF2B5EF4-FFF2-40B4-BE49-F238E27FC236}">
                    <a16:creationId xmlns:a16="http://schemas.microsoft.com/office/drawing/2014/main" id="{345A7A58-A5C6-E4EF-D651-A59467E7E670}"/>
                  </a:ext>
                </a:extLst>
              </p:cNvPr>
              <p:cNvSpPr>
                <a:spLocks/>
              </p:cNvSpPr>
              <p:nvPr/>
            </p:nvSpPr>
            <p:spPr bwMode="auto">
              <a:xfrm>
                <a:off x="5969159" y="6000070"/>
                <a:ext cx="263525" cy="131763"/>
              </a:xfrm>
              <a:custGeom>
                <a:avLst/>
                <a:gdLst>
                  <a:gd name="T0" fmla="*/ 140 w 140"/>
                  <a:gd name="T1" fmla="*/ 70 h 70"/>
                  <a:gd name="T2" fmla="*/ 70 w 140"/>
                  <a:gd name="T3" fmla="*/ 0 h 70"/>
                  <a:gd name="T4" fmla="*/ 0 w 140"/>
                  <a:gd name="T5" fmla="*/ 70 h 70"/>
                  <a:gd name="T6" fmla="*/ 0 w 140"/>
                  <a:gd name="T7" fmla="*/ 70 h 70"/>
                  <a:gd name="T8" fmla="*/ 140 w 140"/>
                  <a:gd name="T9" fmla="*/ 70 h 70"/>
                </a:gdLst>
                <a:ahLst/>
                <a:cxnLst>
                  <a:cxn ang="0">
                    <a:pos x="T0" y="T1"/>
                  </a:cxn>
                  <a:cxn ang="0">
                    <a:pos x="T2" y="T3"/>
                  </a:cxn>
                  <a:cxn ang="0">
                    <a:pos x="T4" y="T5"/>
                  </a:cxn>
                  <a:cxn ang="0">
                    <a:pos x="T6" y="T7"/>
                  </a:cxn>
                  <a:cxn ang="0">
                    <a:pos x="T8" y="T9"/>
                  </a:cxn>
                </a:cxnLst>
                <a:rect l="0" t="0" r="r" b="b"/>
                <a:pathLst>
                  <a:path w="140" h="70">
                    <a:moveTo>
                      <a:pt x="140" y="70"/>
                    </a:moveTo>
                    <a:cubicBezTo>
                      <a:pt x="140" y="32"/>
                      <a:pt x="109" y="0"/>
                      <a:pt x="70" y="0"/>
                    </a:cubicBezTo>
                    <a:cubicBezTo>
                      <a:pt x="31" y="0"/>
                      <a:pt x="0" y="32"/>
                      <a:pt x="0" y="70"/>
                    </a:cubicBezTo>
                    <a:cubicBezTo>
                      <a:pt x="0" y="70"/>
                      <a:pt x="0" y="70"/>
                      <a:pt x="0" y="70"/>
                    </a:cubicBezTo>
                    <a:cubicBezTo>
                      <a:pt x="140" y="70"/>
                      <a:pt x="140" y="70"/>
                      <a:pt x="140" y="70"/>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6" name="Freeform 1794">
                <a:extLst>
                  <a:ext uri="{FF2B5EF4-FFF2-40B4-BE49-F238E27FC236}">
                    <a16:creationId xmlns:a16="http://schemas.microsoft.com/office/drawing/2014/main" id="{4BF83C18-6B5E-60F3-6780-B1E612E4DC41}"/>
                  </a:ext>
                </a:extLst>
              </p:cNvPr>
              <p:cNvSpPr>
                <a:spLocks/>
              </p:cNvSpPr>
              <p:nvPr/>
            </p:nvSpPr>
            <p:spPr bwMode="auto">
              <a:xfrm>
                <a:off x="5969159" y="6000069"/>
                <a:ext cx="263524" cy="131763"/>
              </a:xfrm>
              <a:custGeom>
                <a:avLst/>
                <a:gdLst>
                  <a:gd name="T0" fmla="*/ 140 w 140"/>
                  <a:gd name="T1" fmla="*/ 70 h 70"/>
                  <a:gd name="T2" fmla="*/ 70 w 140"/>
                  <a:gd name="T3" fmla="*/ 0 h 70"/>
                  <a:gd name="T4" fmla="*/ 0 w 140"/>
                  <a:gd name="T5" fmla="*/ 70 h 70"/>
                  <a:gd name="T6" fmla="*/ 0 w 140"/>
                  <a:gd name="T7" fmla="*/ 70 h 70"/>
                  <a:gd name="T8" fmla="*/ 140 w 140"/>
                  <a:gd name="T9" fmla="*/ 70 h 70"/>
                </a:gdLst>
                <a:ahLst/>
                <a:cxnLst>
                  <a:cxn ang="0">
                    <a:pos x="T0" y="T1"/>
                  </a:cxn>
                  <a:cxn ang="0">
                    <a:pos x="T2" y="T3"/>
                  </a:cxn>
                  <a:cxn ang="0">
                    <a:pos x="T4" y="T5"/>
                  </a:cxn>
                  <a:cxn ang="0">
                    <a:pos x="T6" y="T7"/>
                  </a:cxn>
                  <a:cxn ang="0">
                    <a:pos x="T8" y="T9"/>
                  </a:cxn>
                </a:cxnLst>
                <a:rect l="0" t="0" r="r" b="b"/>
                <a:pathLst>
                  <a:path w="140" h="70">
                    <a:moveTo>
                      <a:pt x="140" y="70"/>
                    </a:moveTo>
                    <a:cubicBezTo>
                      <a:pt x="140" y="32"/>
                      <a:pt x="109" y="0"/>
                      <a:pt x="70" y="0"/>
                    </a:cubicBezTo>
                    <a:cubicBezTo>
                      <a:pt x="31" y="0"/>
                      <a:pt x="0" y="32"/>
                      <a:pt x="0" y="70"/>
                    </a:cubicBezTo>
                    <a:cubicBezTo>
                      <a:pt x="0" y="70"/>
                      <a:pt x="0" y="70"/>
                      <a:pt x="0" y="70"/>
                    </a:cubicBezTo>
                    <a:cubicBezTo>
                      <a:pt x="140" y="70"/>
                      <a:pt x="140" y="70"/>
                      <a:pt x="140" y="70"/>
                    </a:cubicBez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7" name="Oval 1795">
                <a:extLst>
                  <a:ext uri="{FF2B5EF4-FFF2-40B4-BE49-F238E27FC236}">
                    <a16:creationId xmlns:a16="http://schemas.microsoft.com/office/drawing/2014/main" id="{BF466192-978D-C945-D92D-4EE25C9F3671}"/>
                  </a:ext>
                </a:extLst>
              </p:cNvPr>
              <p:cNvSpPr>
                <a:spLocks noChangeArrowheads="1"/>
              </p:cNvSpPr>
              <p:nvPr/>
            </p:nvSpPr>
            <p:spPr bwMode="auto">
              <a:xfrm>
                <a:off x="6058059" y="6088970"/>
                <a:ext cx="85725" cy="85725"/>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8" name="Freeform 1796">
                <a:extLst>
                  <a:ext uri="{FF2B5EF4-FFF2-40B4-BE49-F238E27FC236}">
                    <a16:creationId xmlns:a16="http://schemas.microsoft.com/office/drawing/2014/main" id="{C1D49C47-4010-031D-3B08-7F2A9EC91600}"/>
                  </a:ext>
                </a:extLst>
              </p:cNvPr>
              <p:cNvSpPr>
                <a:spLocks noEditPoints="1"/>
              </p:cNvSpPr>
              <p:nvPr/>
            </p:nvSpPr>
            <p:spPr bwMode="auto">
              <a:xfrm>
                <a:off x="6008847" y="6041345"/>
                <a:ext cx="184150" cy="182563"/>
              </a:xfrm>
              <a:custGeom>
                <a:avLst/>
                <a:gdLst>
                  <a:gd name="T0" fmla="*/ 49 w 98"/>
                  <a:gd name="T1" fmla="*/ 0 h 97"/>
                  <a:gd name="T2" fmla="*/ 98 w 98"/>
                  <a:gd name="T3" fmla="*/ 48 h 97"/>
                  <a:gd name="T4" fmla="*/ 49 w 98"/>
                  <a:gd name="T5" fmla="*/ 97 h 97"/>
                  <a:gd name="T6" fmla="*/ 0 w 98"/>
                  <a:gd name="T7" fmla="*/ 48 h 97"/>
                  <a:gd name="T8" fmla="*/ 49 w 98"/>
                  <a:gd name="T9" fmla="*/ 0 h 97"/>
                  <a:gd name="T10" fmla="*/ 72 w 98"/>
                  <a:gd name="T11" fmla="*/ 48 h 97"/>
                  <a:gd name="T12" fmla="*/ 49 w 98"/>
                  <a:gd name="T13" fmla="*/ 25 h 97"/>
                  <a:gd name="T14" fmla="*/ 26 w 98"/>
                  <a:gd name="T15" fmla="*/ 48 h 97"/>
                  <a:gd name="T16" fmla="*/ 49 w 98"/>
                  <a:gd name="T17" fmla="*/ 71 h 97"/>
                  <a:gd name="T18" fmla="*/ 72 w 98"/>
                  <a:gd name="T19"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7">
                    <a:moveTo>
                      <a:pt x="49" y="0"/>
                    </a:moveTo>
                    <a:cubicBezTo>
                      <a:pt x="76" y="0"/>
                      <a:pt x="98" y="21"/>
                      <a:pt x="98" y="48"/>
                    </a:cubicBezTo>
                    <a:cubicBezTo>
                      <a:pt x="98" y="75"/>
                      <a:pt x="76" y="97"/>
                      <a:pt x="49" y="97"/>
                    </a:cubicBezTo>
                    <a:cubicBezTo>
                      <a:pt x="22" y="97"/>
                      <a:pt x="0" y="75"/>
                      <a:pt x="0" y="48"/>
                    </a:cubicBezTo>
                    <a:cubicBezTo>
                      <a:pt x="0" y="21"/>
                      <a:pt x="22" y="0"/>
                      <a:pt x="49" y="0"/>
                    </a:cubicBezTo>
                    <a:close/>
                    <a:moveTo>
                      <a:pt x="72" y="48"/>
                    </a:moveTo>
                    <a:cubicBezTo>
                      <a:pt x="72" y="36"/>
                      <a:pt x="62" y="25"/>
                      <a:pt x="49" y="25"/>
                    </a:cubicBezTo>
                    <a:cubicBezTo>
                      <a:pt x="36" y="25"/>
                      <a:pt x="26" y="36"/>
                      <a:pt x="26" y="48"/>
                    </a:cubicBezTo>
                    <a:cubicBezTo>
                      <a:pt x="26" y="61"/>
                      <a:pt x="36" y="71"/>
                      <a:pt x="49" y="71"/>
                    </a:cubicBezTo>
                    <a:cubicBezTo>
                      <a:pt x="62" y="71"/>
                      <a:pt x="72" y="61"/>
                      <a:pt x="72" y="48"/>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09" name="Oval 1797">
                <a:extLst>
                  <a:ext uri="{FF2B5EF4-FFF2-40B4-BE49-F238E27FC236}">
                    <a16:creationId xmlns:a16="http://schemas.microsoft.com/office/drawing/2014/main" id="{F8DF6D59-BEC4-5A1A-8CED-1924CD89234D}"/>
                  </a:ext>
                </a:extLst>
              </p:cNvPr>
              <p:cNvSpPr>
                <a:spLocks noChangeArrowheads="1"/>
              </p:cNvSpPr>
              <p:nvPr/>
            </p:nvSpPr>
            <p:spPr bwMode="auto">
              <a:xfrm>
                <a:off x="6008847" y="6041345"/>
                <a:ext cx="184150" cy="182563"/>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0" name="Oval 1798">
                <a:extLst>
                  <a:ext uri="{FF2B5EF4-FFF2-40B4-BE49-F238E27FC236}">
                    <a16:creationId xmlns:a16="http://schemas.microsoft.com/office/drawing/2014/main" id="{14FA0F5F-9A8F-3C02-6BC0-120DCC0B1003}"/>
                  </a:ext>
                </a:extLst>
              </p:cNvPr>
              <p:cNvSpPr>
                <a:spLocks noChangeArrowheads="1"/>
              </p:cNvSpPr>
              <p:nvPr/>
            </p:nvSpPr>
            <p:spPr bwMode="auto">
              <a:xfrm>
                <a:off x="6058059" y="6088970"/>
                <a:ext cx="85725" cy="857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1" name="Freeform 1799">
                <a:extLst>
                  <a:ext uri="{FF2B5EF4-FFF2-40B4-BE49-F238E27FC236}">
                    <a16:creationId xmlns:a16="http://schemas.microsoft.com/office/drawing/2014/main" id="{5795A7BA-3518-F1FD-4B39-82E441C4B824}"/>
                  </a:ext>
                </a:extLst>
              </p:cNvPr>
              <p:cNvSpPr>
                <a:spLocks/>
              </p:cNvSpPr>
              <p:nvPr/>
            </p:nvSpPr>
            <p:spPr bwMode="auto">
              <a:xfrm>
                <a:off x="6289834" y="6000070"/>
                <a:ext cx="265113" cy="131763"/>
              </a:xfrm>
              <a:custGeom>
                <a:avLst/>
                <a:gdLst>
                  <a:gd name="T0" fmla="*/ 141 w 141"/>
                  <a:gd name="T1" fmla="*/ 70 h 70"/>
                  <a:gd name="T2" fmla="*/ 71 w 141"/>
                  <a:gd name="T3" fmla="*/ 0 h 70"/>
                  <a:gd name="T4" fmla="*/ 0 w 141"/>
                  <a:gd name="T5" fmla="*/ 70 h 70"/>
                  <a:gd name="T6" fmla="*/ 0 w 141"/>
                  <a:gd name="T7" fmla="*/ 70 h 70"/>
                  <a:gd name="T8" fmla="*/ 141 w 141"/>
                  <a:gd name="T9" fmla="*/ 70 h 70"/>
                </a:gdLst>
                <a:ahLst/>
                <a:cxnLst>
                  <a:cxn ang="0">
                    <a:pos x="T0" y="T1"/>
                  </a:cxn>
                  <a:cxn ang="0">
                    <a:pos x="T2" y="T3"/>
                  </a:cxn>
                  <a:cxn ang="0">
                    <a:pos x="T4" y="T5"/>
                  </a:cxn>
                  <a:cxn ang="0">
                    <a:pos x="T6" y="T7"/>
                  </a:cxn>
                  <a:cxn ang="0">
                    <a:pos x="T8" y="T9"/>
                  </a:cxn>
                </a:cxnLst>
                <a:rect l="0" t="0" r="r" b="b"/>
                <a:pathLst>
                  <a:path w="141" h="70">
                    <a:moveTo>
                      <a:pt x="141" y="70"/>
                    </a:moveTo>
                    <a:cubicBezTo>
                      <a:pt x="141" y="32"/>
                      <a:pt x="109" y="0"/>
                      <a:pt x="71" y="0"/>
                    </a:cubicBezTo>
                    <a:cubicBezTo>
                      <a:pt x="32" y="0"/>
                      <a:pt x="0" y="32"/>
                      <a:pt x="0" y="70"/>
                    </a:cubicBezTo>
                    <a:cubicBezTo>
                      <a:pt x="0" y="70"/>
                      <a:pt x="0" y="70"/>
                      <a:pt x="0" y="70"/>
                    </a:cubicBezTo>
                    <a:cubicBezTo>
                      <a:pt x="141" y="70"/>
                      <a:pt x="141" y="70"/>
                      <a:pt x="141" y="70"/>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2" name="Freeform 1800">
                <a:extLst>
                  <a:ext uri="{FF2B5EF4-FFF2-40B4-BE49-F238E27FC236}">
                    <a16:creationId xmlns:a16="http://schemas.microsoft.com/office/drawing/2014/main" id="{53003787-3A0B-BDFB-8242-A348793DF340}"/>
                  </a:ext>
                </a:extLst>
              </p:cNvPr>
              <p:cNvSpPr>
                <a:spLocks/>
              </p:cNvSpPr>
              <p:nvPr/>
            </p:nvSpPr>
            <p:spPr bwMode="auto">
              <a:xfrm>
                <a:off x="6289834" y="6000070"/>
                <a:ext cx="265113" cy="131763"/>
              </a:xfrm>
              <a:custGeom>
                <a:avLst/>
                <a:gdLst>
                  <a:gd name="T0" fmla="*/ 141 w 141"/>
                  <a:gd name="T1" fmla="*/ 70 h 70"/>
                  <a:gd name="T2" fmla="*/ 71 w 141"/>
                  <a:gd name="T3" fmla="*/ 0 h 70"/>
                  <a:gd name="T4" fmla="*/ 0 w 141"/>
                  <a:gd name="T5" fmla="*/ 70 h 70"/>
                  <a:gd name="T6" fmla="*/ 0 w 141"/>
                  <a:gd name="T7" fmla="*/ 70 h 70"/>
                  <a:gd name="T8" fmla="*/ 141 w 141"/>
                  <a:gd name="T9" fmla="*/ 70 h 70"/>
                </a:gdLst>
                <a:ahLst/>
                <a:cxnLst>
                  <a:cxn ang="0">
                    <a:pos x="T0" y="T1"/>
                  </a:cxn>
                  <a:cxn ang="0">
                    <a:pos x="T2" y="T3"/>
                  </a:cxn>
                  <a:cxn ang="0">
                    <a:pos x="T4" y="T5"/>
                  </a:cxn>
                  <a:cxn ang="0">
                    <a:pos x="T6" y="T7"/>
                  </a:cxn>
                  <a:cxn ang="0">
                    <a:pos x="T8" y="T9"/>
                  </a:cxn>
                </a:cxnLst>
                <a:rect l="0" t="0" r="r" b="b"/>
                <a:pathLst>
                  <a:path w="141" h="70">
                    <a:moveTo>
                      <a:pt x="141" y="70"/>
                    </a:moveTo>
                    <a:cubicBezTo>
                      <a:pt x="141" y="32"/>
                      <a:pt x="109" y="0"/>
                      <a:pt x="71" y="0"/>
                    </a:cubicBezTo>
                    <a:cubicBezTo>
                      <a:pt x="32" y="0"/>
                      <a:pt x="0" y="32"/>
                      <a:pt x="0" y="70"/>
                    </a:cubicBezTo>
                    <a:cubicBezTo>
                      <a:pt x="0" y="70"/>
                      <a:pt x="0" y="70"/>
                      <a:pt x="0" y="70"/>
                    </a:cubicBezTo>
                    <a:cubicBezTo>
                      <a:pt x="141" y="70"/>
                      <a:pt x="141" y="70"/>
                      <a:pt x="141" y="70"/>
                    </a:cubicBez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3" name="Oval 1801">
                <a:extLst>
                  <a:ext uri="{FF2B5EF4-FFF2-40B4-BE49-F238E27FC236}">
                    <a16:creationId xmlns:a16="http://schemas.microsoft.com/office/drawing/2014/main" id="{D46E44F2-5794-EE7F-ED32-E12062E3ED4E}"/>
                  </a:ext>
                </a:extLst>
              </p:cNvPr>
              <p:cNvSpPr>
                <a:spLocks noChangeArrowheads="1"/>
              </p:cNvSpPr>
              <p:nvPr/>
            </p:nvSpPr>
            <p:spPr bwMode="auto">
              <a:xfrm>
                <a:off x="6380322" y="6088970"/>
                <a:ext cx="84138" cy="85725"/>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4" name="Freeform 1802">
                <a:extLst>
                  <a:ext uri="{FF2B5EF4-FFF2-40B4-BE49-F238E27FC236}">
                    <a16:creationId xmlns:a16="http://schemas.microsoft.com/office/drawing/2014/main" id="{E86BA359-DF65-F4C8-164D-21407B0CC25F}"/>
                  </a:ext>
                </a:extLst>
              </p:cNvPr>
              <p:cNvSpPr>
                <a:spLocks noEditPoints="1"/>
              </p:cNvSpPr>
              <p:nvPr/>
            </p:nvSpPr>
            <p:spPr bwMode="auto">
              <a:xfrm>
                <a:off x="6331109" y="6041345"/>
                <a:ext cx="182563" cy="182563"/>
              </a:xfrm>
              <a:custGeom>
                <a:avLst/>
                <a:gdLst>
                  <a:gd name="T0" fmla="*/ 49 w 97"/>
                  <a:gd name="T1" fmla="*/ 0 h 97"/>
                  <a:gd name="T2" fmla="*/ 97 w 97"/>
                  <a:gd name="T3" fmla="*/ 48 h 97"/>
                  <a:gd name="T4" fmla="*/ 49 w 97"/>
                  <a:gd name="T5" fmla="*/ 97 h 97"/>
                  <a:gd name="T6" fmla="*/ 0 w 97"/>
                  <a:gd name="T7" fmla="*/ 48 h 97"/>
                  <a:gd name="T8" fmla="*/ 49 w 97"/>
                  <a:gd name="T9" fmla="*/ 0 h 97"/>
                  <a:gd name="T10" fmla="*/ 71 w 97"/>
                  <a:gd name="T11" fmla="*/ 48 h 97"/>
                  <a:gd name="T12" fmla="*/ 49 w 97"/>
                  <a:gd name="T13" fmla="*/ 25 h 97"/>
                  <a:gd name="T14" fmla="*/ 26 w 97"/>
                  <a:gd name="T15" fmla="*/ 48 h 97"/>
                  <a:gd name="T16" fmla="*/ 49 w 97"/>
                  <a:gd name="T17" fmla="*/ 71 h 97"/>
                  <a:gd name="T18" fmla="*/ 71 w 97"/>
                  <a:gd name="T19"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7">
                    <a:moveTo>
                      <a:pt x="49" y="0"/>
                    </a:moveTo>
                    <a:cubicBezTo>
                      <a:pt x="75" y="0"/>
                      <a:pt x="97" y="21"/>
                      <a:pt x="97" y="48"/>
                    </a:cubicBezTo>
                    <a:cubicBezTo>
                      <a:pt x="97" y="75"/>
                      <a:pt x="75" y="97"/>
                      <a:pt x="49" y="97"/>
                    </a:cubicBezTo>
                    <a:cubicBezTo>
                      <a:pt x="22" y="97"/>
                      <a:pt x="0" y="75"/>
                      <a:pt x="0" y="48"/>
                    </a:cubicBezTo>
                    <a:cubicBezTo>
                      <a:pt x="0" y="21"/>
                      <a:pt x="22" y="0"/>
                      <a:pt x="49" y="0"/>
                    </a:cubicBezTo>
                    <a:close/>
                    <a:moveTo>
                      <a:pt x="71" y="48"/>
                    </a:moveTo>
                    <a:cubicBezTo>
                      <a:pt x="71" y="36"/>
                      <a:pt x="61" y="25"/>
                      <a:pt x="49" y="25"/>
                    </a:cubicBezTo>
                    <a:cubicBezTo>
                      <a:pt x="36" y="25"/>
                      <a:pt x="26" y="36"/>
                      <a:pt x="26" y="48"/>
                    </a:cubicBezTo>
                    <a:cubicBezTo>
                      <a:pt x="26" y="61"/>
                      <a:pt x="36" y="71"/>
                      <a:pt x="49" y="71"/>
                    </a:cubicBezTo>
                    <a:cubicBezTo>
                      <a:pt x="61" y="71"/>
                      <a:pt x="71" y="61"/>
                      <a:pt x="71" y="48"/>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5" name="Oval 1803">
                <a:extLst>
                  <a:ext uri="{FF2B5EF4-FFF2-40B4-BE49-F238E27FC236}">
                    <a16:creationId xmlns:a16="http://schemas.microsoft.com/office/drawing/2014/main" id="{87DB90AB-9A98-283D-6697-50FC22E12E79}"/>
                  </a:ext>
                </a:extLst>
              </p:cNvPr>
              <p:cNvSpPr>
                <a:spLocks noChangeArrowheads="1"/>
              </p:cNvSpPr>
              <p:nvPr/>
            </p:nvSpPr>
            <p:spPr bwMode="auto">
              <a:xfrm>
                <a:off x="6331109" y="6041345"/>
                <a:ext cx="182563" cy="182563"/>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6" name="Oval 1804">
                <a:extLst>
                  <a:ext uri="{FF2B5EF4-FFF2-40B4-BE49-F238E27FC236}">
                    <a16:creationId xmlns:a16="http://schemas.microsoft.com/office/drawing/2014/main" id="{BA8BC9CD-1EC4-6D28-EEF1-53EE2B0A1D20}"/>
                  </a:ext>
                </a:extLst>
              </p:cNvPr>
              <p:cNvSpPr>
                <a:spLocks noChangeArrowheads="1"/>
              </p:cNvSpPr>
              <p:nvPr/>
            </p:nvSpPr>
            <p:spPr bwMode="auto">
              <a:xfrm>
                <a:off x="6380322" y="6088970"/>
                <a:ext cx="84138" cy="857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7" name="Freeform 1805">
                <a:extLst>
                  <a:ext uri="{FF2B5EF4-FFF2-40B4-BE49-F238E27FC236}">
                    <a16:creationId xmlns:a16="http://schemas.microsoft.com/office/drawing/2014/main" id="{CD8AE312-2444-E580-7104-3123C3874654}"/>
                  </a:ext>
                </a:extLst>
              </p:cNvPr>
              <p:cNvSpPr>
                <a:spLocks/>
              </p:cNvSpPr>
              <p:nvPr/>
            </p:nvSpPr>
            <p:spPr bwMode="auto">
              <a:xfrm>
                <a:off x="6797834" y="6000070"/>
                <a:ext cx="263525" cy="131763"/>
              </a:xfrm>
              <a:custGeom>
                <a:avLst/>
                <a:gdLst>
                  <a:gd name="T0" fmla="*/ 141 w 141"/>
                  <a:gd name="T1" fmla="*/ 70 h 70"/>
                  <a:gd name="T2" fmla="*/ 71 w 141"/>
                  <a:gd name="T3" fmla="*/ 0 h 70"/>
                  <a:gd name="T4" fmla="*/ 0 w 141"/>
                  <a:gd name="T5" fmla="*/ 70 h 70"/>
                  <a:gd name="T6" fmla="*/ 0 w 141"/>
                  <a:gd name="T7" fmla="*/ 70 h 70"/>
                  <a:gd name="T8" fmla="*/ 141 w 141"/>
                  <a:gd name="T9" fmla="*/ 70 h 70"/>
                </a:gdLst>
                <a:ahLst/>
                <a:cxnLst>
                  <a:cxn ang="0">
                    <a:pos x="T0" y="T1"/>
                  </a:cxn>
                  <a:cxn ang="0">
                    <a:pos x="T2" y="T3"/>
                  </a:cxn>
                  <a:cxn ang="0">
                    <a:pos x="T4" y="T5"/>
                  </a:cxn>
                  <a:cxn ang="0">
                    <a:pos x="T6" y="T7"/>
                  </a:cxn>
                  <a:cxn ang="0">
                    <a:pos x="T8" y="T9"/>
                  </a:cxn>
                </a:cxnLst>
                <a:rect l="0" t="0" r="r" b="b"/>
                <a:pathLst>
                  <a:path w="141" h="70">
                    <a:moveTo>
                      <a:pt x="141" y="70"/>
                    </a:moveTo>
                    <a:cubicBezTo>
                      <a:pt x="141" y="32"/>
                      <a:pt x="109" y="0"/>
                      <a:pt x="71" y="0"/>
                    </a:cubicBezTo>
                    <a:cubicBezTo>
                      <a:pt x="32" y="0"/>
                      <a:pt x="0" y="32"/>
                      <a:pt x="0" y="70"/>
                    </a:cubicBezTo>
                    <a:cubicBezTo>
                      <a:pt x="0" y="70"/>
                      <a:pt x="0" y="70"/>
                      <a:pt x="0" y="70"/>
                    </a:cubicBezTo>
                    <a:cubicBezTo>
                      <a:pt x="141" y="70"/>
                      <a:pt x="141" y="70"/>
                      <a:pt x="141" y="70"/>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8" name="Freeform 1806">
                <a:extLst>
                  <a:ext uri="{FF2B5EF4-FFF2-40B4-BE49-F238E27FC236}">
                    <a16:creationId xmlns:a16="http://schemas.microsoft.com/office/drawing/2014/main" id="{E8BA38D1-25F9-AC77-3B27-2138CF311171}"/>
                  </a:ext>
                </a:extLst>
              </p:cNvPr>
              <p:cNvSpPr>
                <a:spLocks/>
              </p:cNvSpPr>
              <p:nvPr/>
            </p:nvSpPr>
            <p:spPr bwMode="auto">
              <a:xfrm>
                <a:off x="6797834" y="6000070"/>
                <a:ext cx="263525" cy="131763"/>
              </a:xfrm>
              <a:custGeom>
                <a:avLst/>
                <a:gdLst>
                  <a:gd name="T0" fmla="*/ 141 w 141"/>
                  <a:gd name="T1" fmla="*/ 70 h 70"/>
                  <a:gd name="T2" fmla="*/ 71 w 141"/>
                  <a:gd name="T3" fmla="*/ 0 h 70"/>
                  <a:gd name="T4" fmla="*/ 0 w 141"/>
                  <a:gd name="T5" fmla="*/ 70 h 70"/>
                  <a:gd name="T6" fmla="*/ 0 w 141"/>
                  <a:gd name="T7" fmla="*/ 70 h 70"/>
                  <a:gd name="T8" fmla="*/ 141 w 141"/>
                  <a:gd name="T9" fmla="*/ 70 h 70"/>
                </a:gdLst>
                <a:ahLst/>
                <a:cxnLst>
                  <a:cxn ang="0">
                    <a:pos x="T0" y="T1"/>
                  </a:cxn>
                  <a:cxn ang="0">
                    <a:pos x="T2" y="T3"/>
                  </a:cxn>
                  <a:cxn ang="0">
                    <a:pos x="T4" y="T5"/>
                  </a:cxn>
                  <a:cxn ang="0">
                    <a:pos x="T6" y="T7"/>
                  </a:cxn>
                  <a:cxn ang="0">
                    <a:pos x="T8" y="T9"/>
                  </a:cxn>
                </a:cxnLst>
                <a:rect l="0" t="0" r="r" b="b"/>
                <a:pathLst>
                  <a:path w="141" h="70">
                    <a:moveTo>
                      <a:pt x="141" y="70"/>
                    </a:moveTo>
                    <a:cubicBezTo>
                      <a:pt x="141" y="32"/>
                      <a:pt x="109" y="0"/>
                      <a:pt x="71" y="0"/>
                    </a:cubicBezTo>
                    <a:cubicBezTo>
                      <a:pt x="32" y="0"/>
                      <a:pt x="0" y="32"/>
                      <a:pt x="0" y="70"/>
                    </a:cubicBezTo>
                    <a:cubicBezTo>
                      <a:pt x="0" y="70"/>
                      <a:pt x="0" y="70"/>
                      <a:pt x="0" y="70"/>
                    </a:cubicBezTo>
                    <a:cubicBezTo>
                      <a:pt x="141" y="70"/>
                      <a:pt x="141" y="70"/>
                      <a:pt x="141" y="70"/>
                    </a:cubicBez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19" name="Oval 1807">
                <a:extLst>
                  <a:ext uri="{FF2B5EF4-FFF2-40B4-BE49-F238E27FC236}">
                    <a16:creationId xmlns:a16="http://schemas.microsoft.com/office/drawing/2014/main" id="{88D38D2D-5DDD-1BD9-CBC6-69C7CFD98588}"/>
                  </a:ext>
                </a:extLst>
              </p:cNvPr>
              <p:cNvSpPr>
                <a:spLocks noChangeArrowheads="1"/>
              </p:cNvSpPr>
              <p:nvPr/>
            </p:nvSpPr>
            <p:spPr bwMode="auto">
              <a:xfrm>
                <a:off x="6886734" y="6088970"/>
                <a:ext cx="87313" cy="85725"/>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0" name="Freeform 1808">
                <a:extLst>
                  <a:ext uri="{FF2B5EF4-FFF2-40B4-BE49-F238E27FC236}">
                    <a16:creationId xmlns:a16="http://schemas.microsoft.com/office/drawing/2014/main" id="{423968BE-3721-005A-704A-F0DB9876917D}"/>
                  </a:ext>
                </a:extLst>
              </p:cNvPr>
              <p:cNvSpPr>
                <a:spLocks noEditPoints="1"/>
              </p:cNvSpPr>
              <p:nvPr/>
            </p:nvSpPr>
            <p:spPr bwMode="auto">
              <a:xfrm>
                <a:off x="6839109" y="6041345"/>
                <a:ext cx="180975" cy="182563"/>
              </a:xfrm>
              <a:custGeom>
                <a:avLst/>
                <a:gdLst>
                  <a:gd name="T0" fmla="*/ 49 w 97"/>
                  <a:gd name="T1" fmla="*/ 0 h 97"/>
                  <a:gd name="T2" fmla="*/ 97 w 97"/>
                  <a:gd name="T3" fmla="*/ 48 h 97"/>
                  <a:gd name="T4" fmla="*/ 49 w 97"/>
                  <a:gd name="T5" fmla="*/ 97 h 97"/>
                  <a:gd name="T6" fmla="*/ 0 w 97"/>
                  <a:gd name="T7" fmla="*/ 48 h 97"/>
                  <a:gd name="T8" fmla="*/ 49 w 97"/>
                  <a:gd name="T9" fmla="*/ 0 h 97"/>
                  <a:gd name="T10" fmla="*/ 72 w 97"/>
                  <a:gd name="T11" fmla="*/ 48 h 97"/>
                  <a:gd name="T12" fmla="*/ 49 w 97"/>
                  <a:gd name="T13" fmla="*/ 25 h 97"/>
                  <a:gd name="T14" fmla="*/ 26 w 97"/>
                  <a:gd name="T15" fmla="*/ 48 h 97"/>
                  <a:gd name="T16" fmla="*/ 49 w 97"/>
                  <a:gd name="T17" fmla="*/ 71 h 97"/>
                  <a:gd name="T18" fmla="*/ 72 w 97"/>
                  <a:gd name="T19"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7">
                    <a:moveTo>
                      <a:pt x="49" y="0"/>
                    </a:moveTo>
                    <a:cubicBezTo>
                      <a:pt x="76" y="0"/>
                      <a:pt x="97" y="21"/>
                      <a:pt x="97" y="48"/>
                    </a:cubicBezTo>
                    <a:cubicBezTo>
                      <a:pt x="97" y="75"/>
                      <a:pt x="76" y="97"/>
                      <a:pt x="49" y="97"/>
                    </a:cubicBezTo>
                    <a:cubicBezTo>
                      <a:pt x="22" y="97"/>
                      <a:pt x="0" y="75"/>
                      <a:pt x="0" y="48"/>
                    </a:cubicBezTo>
                    <a:cubicBezTo>
                      <a:pt x="0" y="21"/>
                      <a:pt x="22" y="0"/>
                      <a:pt x="49" y="0"/>
                    </a:cubicBezTo>
                    <a:close/>
                    <a:moveTo>
                      <a:pt x="72" y="48"/>
                    </a:moveTo>
                    <a:cubicBezTo>
                      <a:pt x="72" y="36"/>
                      <a:pt x="61" y="25"/>
                      <a:pt x="49" y="25"/>
                    </a:cubicBezTo>
                    <a:cubicBezTo>
                      <a:pt x="36" y="25"/>
                      <a:pt x="26" y="36"/>
                      <a:pt x="26" y="48"/>
                    </a:cubicBezTo>
                    <a:cubicBezTo>
                      <a:pt x="26" y="61"/>
                      <a:pt x="36" y="71"/>
                      <a:pt x="49" y="71"/>
                    </a:cubicBezTo>
                    <a:cubicBezTo>
                      <a:pt x="61" y="71"/>
                      <a:pt x="72" y="61"/>
                      <a:pt x="72" y="48"/>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1" name="Oval 1809">
                <a:extLst>
                  <a:ext uri="{FF2B5EF4-FFF2-40B4-BE49-F238E27FC236}">
                    <a16:creationId xmlns:a16="http://schemas.microsoft.com/office/drawing/2014/main" id="{C8CCC375-42D0-CE39-4453-290CE7EC201F}"/>
                  </a:ext>
                </a:extLst>
              </p:cNvPr>
              <p:cNvSpPr>
                <a:spLocks noChangeArrowheads="1"/>
              </p:cNvSpPr>
              <p:nvPr/>
            </p:nvSpPr>
            <p:spPr bwMode="auto">
              <a:xfrm>
                <a:off x="6839109" y="6041345"/>
                <a:ext cx="180975" cy="182563"/>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2" name="Oval 1810">
                <a:extLst>
                  <a:ext uri="{FF2B5EF4-FFF2-40B4-BE49-F238E27FC236}">
                    <a16:creationId xmlns:a16="http://schemas.microsoft.com/office/drawing/2014/main" id="{8094A2A5-B0BF-D638-9C85-8FA0A63C3A7B}"/>
                  </a:ext>
                </a:extLst>
              </p:cNvPr>
              <p:cNvSpPr>
                <a:spLocks noChangeArrowheads="1"/>
              </p:cNvSpPr>
              <p:nvPr/>
            </p:nvSpPr>
            <p:spPr bwMode="auto">
              <a:xfrm>
                <a:off x="6886734" y="6088970"/>
                <a:ext cx="87313" cy="857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3" name="Freeform 1811">
                <a:extLst>
                  <a:ext uri="{FF2B5EF4-FFF2-40B4-BE49-F238E27FC236}">
                    <a16:creationId xmlns:a16="http://schemas.microsoft.com/office/drawing/2014/main" id="{DD6CF486-D184-78E0-27F2-62E8A90A4FF6}"/>
                  </a:ext>
                </a:extLst>
              </p:cNvPr>
              <p:cNvSpPr>
                <a:spLocks/>
              </p:cNvSpPr>
              <p:nvPr/>
            </p:nvSpPr>
            <p:spPr bwMode="auto">
              <a:xfrm>
                <a:off x="5940584" y="5474608"/>
                <a:ext cx="695325" cy="400050"/>
              </a:xfrm>
              <a:custGeom>
                <a:avLst/>
                <a:gdLst>
                  <a:gd name="T0" fmla="*/ 405 w 438"/>
                  <a:gd name="T1" fmla="*/ 252 h 252"/>
                  <a:gd name="T2" fmla="*/ 0 w 438"/>
                  <a:gd name="T3" fmla="*/ 75 h 252"/>
                  <a:gd name="T4" fmla="*/ 34 w 438"/>
                  <a:gd name="T5" fmla="*/ 0 h 252"/>
                  <a:gd name="T6" fmla="*/ 438 w 438"/>
                  <a:gd name="T7" fmla="*/ 178 h 252"/>
                  <a:gd name="T8" fmla="*/ 405 w 438"/>
                  <a:gd name="T9" fmla="*/ 252 h 252"/>
                </a:gdLst>
                <a:ahLst/>
                <a:cxnLst>
                  <a:cxn ang="0">
                    <a:pos x="T0" y="T1"/>
                  </a:cxn>
                  <a:cxn ang="0">
                    <a:pos x="T2" y="T3"/>
                  </a:cxn>
                  <a:cxn ang="0">
                    <a:pos x="T4" y="T5"/>
                  </a:cxn>
                  <a:cxn ang="0">
                    <a:pos x="T6" y="T7"/>
                  </a:cxn>
                  <a:cxn ang="0">
                    <a:pos x="T8" y="T9"/>
                  </a:cxn>
                </a:cxnLst>
                <a:rect l="0" t="0" r="r" b="b"/>
                <a:pathLst>
                  <a:path w="438" h="252">
                    <a:moveTo>
                      <a:pt x="405" y="252"/>
                    </a:moveTo>
                    <a:lnTo>
                      <a:pt x="0" y="75"/>
                    </a:lnTo>
                    <a:lnTo>
                      <a:pt x="34" y="0"/>
                    </a:lnTo>
                    <a:lnTo>
                      <a:pt x="438" y="178"/>
                    </a:lnTo>
                    <a:lnTo>
                      <a:pt x="405" y="252"/>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4" name="Freeform 1812">
                <a:extLst>
                  <a:ext uri="{FF2B5EF4-FFF2-40B4-BE49-F238E27FC236}">
                    <a16:creationId xmlns:a16="http://schemas.microsoft.com/office/drawing/2014/main" id="{0F813B5A-B7DB-58E9-30C6-C79AF75DE9B8}"/>
                  </a:ext>
                </a:extLst>
              </p:cNvPr>
              <p:cNvSpPr>
                <a:spLocks/>
              </p:cNvSpPr>
              <p:nvPr/>
            </p:nvSpPr>
            <p:spPr bwMode="auto">
              <a:xfrm>
                <a:off x="5940584" y="5474608"/>
                <a:ext cx="695325" cy="400050"/>
              </a:xfrm>
              <a:custGeom>
                <a:avLst/>
                <a:gdLst>
                  <a:gd name="T0" fmla="*/ 405 w 438"/>
                  <a:gd name="T1" fmla="*/ 252 h 252"/>
                  <a:gd name="T2" fmla="*/ 0 w 438"/>
                  <a:gd name="T3" fmla="*/ 75 h 252"/>
                  <a:gd name="T4" fmla="*/ 34 w 438"/>
                  <a:gd name="T5" fmla="*/ 0 h 252"/>
                  <a:gd name="T6" fmla="*/ 438 w 438"/>
                  <a:gd name="T7" fmla="*/ 178 h 252"/>
                  <a:gd name="T8" fmla="*/ 405 w 438"/>
                  <a:gd name="T9" fmla="*/ 252 h 252"/>
                </a:gdLst>
                <a:ahLst/>
                <a:cxnLst>
                  <a:cxn ang="0">
                    <a:pos x="T0" y="T1"/>
                  </a:cxn>
                  <a:cxn ang="0">
                    <a:pos x="T2" y="T3"/>
                  </a:cxn>
                  <a:cxn ang="0">
                    <a:pos x="T4" y="T5"/>
                  </a:cxn>
                  <a:cxn ang="0">
                    <a:pos x="T6" y="T7"/>
                  </a:cxn>
                  <a:cxn ang="0">
                    <a:pos x="T8" y="T9"/>
                  </a:cxn>
                </a:cxnLst>
                <a:rect l="0" t="0" r="r" b="b"/>
                <a:pathLst>
                  <a:path w="438" h="252">
                    <a:moveTo>
                      <a:pt x="405" y="252"/>
                    </a:moveTo>
                    <a:lnTo>
                      <a:pt x="0" y="75"/>
                    </a:lnTo>
                    <a:lnTo>
                      <a:pt x="34" y="0"/>
                    </a:lnTo>
                    <a:lnTo>
                      <a:pt x="438" y="178"/>
                    </a:lnTo>
                    <a:lnTo>
                      <a:pt x="405" y="252"/>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5" name="Freeform 1813">
                <a:extLst>
                  <a:ext uri="{FF2B5EF4-FFF2-40B4-BE49-F238E27FC236}">
                    <a16:creationId xmlns:a16="http://schemas.microsoft.com/office/drawing/2014/main" id="{CF82FF5B-5988-8609-6D33-E9A0A14857F2}"/>
                  </a:ext>
                </a:extLst>
              </p:cNvPr>
              <p:cNvSpPr>
                <a:spLocks/>
              </p:cNvSpPr>
              <p:nvPr/>
            </p:nvSpPr>
            <p:spPr bwMode="auto">
              <a:xfrm>
                <a:off x="5940584" y="5474608"/>
                <a:ext cx="695325" cy="400050"/>
              </a:xfrm>
              <a:custGeom>
                <a:avLst/>
                <a:gdLst>
                  <a:gd name="T0" fmla="*/ 405 w 438"/>
                  <a:gd name="T1" fmla="*/ 252 h 252"/>
                  <a:gd name="T2" fmla="*/ 0 w 438"/>
                  <a:gd name="T3" fmla="*/ 75 h 252"/>
                  <a:gd name="T4" fmla="*/ 34 w 438"/>
                  <a:gd name="T5" fmla="*/ 0 h 252"/>
                  <a:gd name="T6" fmla="*/ 438 w 438"/>
                  <a:gd name="T7" fmla="*/ 178 h 252"/>
                  <a:gd name="T8" fmla="*/ 405 w 438"/>
                  <a:gd name="T9" fmla="*/ 252 h 252"/>
                </a:gdLst>
                <a:ahLst/>
                <a:cxnLst>
                  <a:cxn ang="0">
                    <a:pos x="T0" y="T1"/>
                  </a:cxn>
                  <a:cxn ang="0">
                    <a:pos x="T2" y="T3"/>
                  </a:cxn>
                  <a:cxn ang="0">
                    <a:pos x="T4" y="T5"/>
                  </a:cxn>
                  <a:cxn ang="0">
                    <a:pos x="T6" y="T7"/>
                  </a:cxn>
                  <a:cxn ang="0">
                    <a:pos x="T8" y="T9"/>
                  </a:cxn>
                </a:cxnLst>
                <a:rect l="0" t="0" r="r" b="b"/>
                <a:pathLst>
                  <a:path w="438" h="252">
                    <a:moveTo>
                      <a:pt x="405" y="252"/>
                    </a:moveTo>
                    <a:lnTo>
                      <a:pt x="0" y="75"/>
                    </a:lnTo>
                    <a:lnTo>
                      <a:pt x="34" y="0"/>
                    </a:lnTo>
                    <a:lnTo>
                      <a:pt x="438" y="178"/>
                    </a:lnTo>
                    <a:lnTo>
                      <a:pt x="405" y="252"/>
                    </a:lnTo>
                    <a:close/>
                  </a:path>
                </a:pathLst>
              </a:custGeom>
              <a:noFill/>
              <a:ln w="12700"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6" name="Freeform 1814">
                <a:extLst>
                  <a:ext uri="{FF2B5EF4-FFF2-40B4-BE49-F238E27FC236}">
                    <a16:creationId xmlns:a16="http://schemas.microsoft.com/office/drawing/2014/main" id="{2CC056B4-02E9-F355-F920-1D6AAADD752B}"/>
                  </a:ext>
                </a:extLst>
              </p:cNvPr>
              <p:cNvSpPr>
                <a:spLocks/>
              </p:cNvSpPr>
              <p:nvPr/>
            </p:nvSpPr>
            <p:spPr bwMode="auto">
              <a:xfrm>
                <a:off x="5940584" y="5474608"/>
                <a:ext cx="695325" cy="400050"/>
              </a:xfrm>
              <a:custGeom>
                <a:avLst/>
                <a:gdLst>
                  <a:gd name="T0" fmla="*/ 405 w 438"/>
                  <a:gd name="T1" fmla="*/ 252 h 252"/>
                  <a:gd name="T2" fmla="*/ 0 w 438"/>
                  <a:gd name="T3" fmla="*/ 75 h 252"/>
                  <a:gd name="T4" fmla="*/ 34 w 438"/>
                  <a:gd name="T5" fmla="*/ 0 h 252"/>
                  <a:gd name="T6" fmla="*/ 438 w 438"/>
                  <a:gd name="T7" fmla="*/ 178 h 252"/>
                  <a:gd name="T8" fmla="*/ 405 w 438"/>
                  <a:gd name="T9" fmla="*/ 252 h 252"/>
                </a:gdLst>
                <a:ahLst/>
                <a:cxnLst>
                  <a:cxn ang="0">
                    <a:pos x="T0" y="T1"/>
                  </a:cxn>
                  <a:cxn ang="0">
                    <a:pos x="T2" y="T3"/>
                  </a:cxn>
                  <a:cxn ang="0">
                    <a:pos x="T4" y="T5"/>
                  </a:cxn>
                  <a:cxn ang="0">
                    <a:pos x="T6" y="T7"/>
                  </a:cxn>
                  <a:cxn ang="0">
                    <a:pos x="T8" y="T9"/>
                  </a:cxn>
                </a:cxnLst>
                <a:rect l="0" t="0" r="r" b="b"/>
                <a:pathLst>
                  <a:path w="438" h="252">
                    <a:moveTo>
                      <a:pt x="405" y="252"/>
                    </a:moveTo>
                    <a:lnTo>
                      <a:pt x="0" y="75"/>
                    </a:lnTo>
                    <a:lnTo>
                      <a:pt x="34" y="0"/>
                    </a:lnTo>
                    <a:lnTo>
                      <a:pt x="438" y="178"/>
                    </a:lnTo>
                    <a:lnTo>
                      <a:pt x="405" y="252"/>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7" name="Freeform 1815">
                <a:extLst>
                  <a:ext uri="{FF2B5EF4-FFF2-40B4-BE49-F238E27FC236}">
                    <a16:creationId xmlns:a16="http://schemas.microsoft.com/office/drawing/2014/main" id="{5863C951-66D3-73CB-B9D9-4F5C90829C58}"/>
                  </a:ext>
                </a:extLst>
              </p:cNvPr>
              <p:cNvSpPr>
                <a:spLocks/>
              </p:cNvSpPr>
              <p:nvPr/>
            </p:nvSpPr>
            <p:spPr bwMode="auto">
              <a:xfrm>
                <a:off x="5989797" y="5453970"/>
                <a:ext cx="317500" cy="385763"/>
              </a:xfrm>
              <a:custGeom>
                <a:avLst/>
                <a:gdLst>
                  <a:gd name="T0" fmla="*/ 53 w 200"/>
                  <a:gd name="T1" fmla="*/ 7 h 243"/>
                  <a:gd name="T2" fmla="*/ 0 w 200"/>
                  <a:gd name="T3" fmla="*/ 128 h 243"/>
                  <a:gd name="T4" fmla="*/ 94 w 200"/>
                  <a:gd name="T5" fmla="*/ 243 h 243"/>
                  <a:gd name="T6" fmla="*/ 95 w 200"/>
                  <a:gd name="T7" fmla="*/ 243 h 243"/>
                  <a:gd name="T8" fmla="*/ 200 w 200"/>
                  <a:gd name="T9" fmla="*/ 0 h 243"/>
                  <a:gd name="T10" fmla="*/ 53 w 200"/>
                  <a:gd name="T11" fmla="*/ 7 h 243"/>
                </a:gdLst>
                <a:ahLst/>
                <a:cxnLst>
                  <a:cxn ang="0">
                    <a:pos x="T0" y="T1"/>
                  </a:cxn>
                  <a:cxn ang="0">
                    <a:pos x="T2" y="T3"/>
                  </a:cxn>
                  <a:cxn ang="0">
                    <a:pos x="T4" y="T5"/>
                  </a:cxn>
                  <a:cxn ang="0">
                    <a:pos x="T6" y="T7"/>
                  </a:cxn>
                  <a:cxn ang="0">
                    <a:pos x="T8" y="T9"/>
                  </a:cxn>
                  <a:cxn ang="0">
                    <a:pos x="T10" y="T11"/>
                  </a:cxn>
                </a:cxnLst>
                <a:rect l="0" t="0" r="r" b="b"/>
                <a:pathLst>
                  <a:path w="200" h="243">
                    <a:moveTo>
                      <a:pt x="53" y="7"/>
                    </a:moveTo>
                    <a:lnTo>
                      <a:pt x="0" y="128"/>
                    </a:lnTo>
                    <a:lnTo>
                      <a:pt x="94" y="243"/>
                    </a:lnTo>
                    <a:lnTo>
                      <a:pt x="95" y="243"/>
                    </a:lnTo>
                    <a:lnTo>
                      <a:pt x="200" y="0"/>
                    </a:lnTo>
                    <a:lnTo>
                      <a:pt x="53" y="7"/>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8" name="Freeform 1816">
                <a:extLst>
                  <a:ext uri="{FF2B5EF4-FFF2-40B4-BE49-F238E27FC236}">
                    <a16:creationId xmlns:a16="http://schemas.microsoft.com/office/drawing/2014/main" id="{1E4923C8-4CA5-889C-19CD-AFE15D1A8DF4}"/>
                  </a:ext>
                </a:extLst>
              </p:cNvPr>
              <p:cNvSpPr>
                <a:spLocks/>
              </p:cNvSpPr>
              <p:nvPr/>
            </p:nvSpPr>
            <p:spPr bwMode="auto">
              <a:xfrm>
                <a:off x="5989797" y="5453970"/>
                <a:ext cx="317500" cy="385763"/>
              </a:xfrm>
              <a:custGeom>
                <a:avLst/>
                <a:gdLst>
                  <a:gd name="T0" fmla="*/ 53 w 200"/>
                  <a:gd name="T1" fmla="*/ 7 h 243"/>
                  <a:gd name="T2" fmla="*/ 0 w 200"/>
                  <a:gd name="T3" fmla="*/ 128 h 243"/>
                  <a:gd name="T4" fmla="*/ 94 w 200"/>
                  <a:gd name="T5" fmla="*/ 243 h 243"/>
                  <a:gd name="T6" fmla="*/ 95 w 200"/>
                  <a:gd name="T7" fmla="*/ 243 h 243"/>
                  <a:gd name="T8" fmla="*/ 200 w 200"/>
                  <a:gd name="T9" fmla="*/ 0 h 243"/>
                  <a:gd name="T10" fmla="*/ 53 w 200"/>
                  <a:gd name="T11" fmla="*/ 7 h 243"/>
                </a:gdLst>
                <a:ahLst/>
                <a:cxnLst>
                  <a:cxn ang="0">
                    <a:pos x="T0" y="T1"/>
                  </a:cxn>
                  <a:cxn ang="0">
                    <a:pos x="T2" y="T3"/>
                  </a:cxn>
                  <a:cxn ang="0">
                    <a:pos x="T4" y="T5"/>
                  </a:cxn>
                  <a:cxn ang="0">
                    <a:pos x="T6" y="T7"/>
                  </a:cxn>
                  <a:cxn ang="0">
                    <a:pos x="T8" y="T9"/>
                  </a:cxn>
                  <a:cxn ang="0">
                    <a:pos x="T10" y="T11"/>
                  </a:cxn>
                </a:cxnLst>
                <a:rect l="0" t="0" r="r" b="b"/>
                <a:pathLst>
                  <a:path w="200" h="243">
                    <a:moveTo>
                      <a:pt x="53" y="7"/>
                    </a:moveTo>
                    <a:lnTo>
                      <a:pt x="0" y="128"/>
                    </a:lnTo>
                    <a:lnTo>
                      <a:pt x="94" y="243"/>
                    </a:lnTo>
                    <a:lnTo>
                      <a:pt x="95" y="243"/>
                    </a:lnTo>
                    <a:lnTo>
                      <a:pt x="200" y="0"/>
                    </a:lnTo>
                    <a:lnTo>
                      <a:pt x="53" y="7"/>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29" name="Freeform 1817">
                <a:extLst>
                  <a:ext uri="{FF2B5EF4-FFF2-40B4-BE49-F238E27FC236}">
                    <a16:creationId xmlns:a16="http://schemas.microsoft.com/office/drawing/2014/main" id="{5782AF82-0720-CEBE-F97D-13F8BDA9BF44}"/>
                  </a:ext>
                </a:extLst>
              </p:cNvPr>
              <p:cNvSpPr>
                <a:spLocks/>
              </p:cNvSpPr>
              <p:nvPr/>
            </p:nvSpPr>
            <p:spPr bwMode="auto">
              <a:xfrm>
                <a:off x="6269197" y="5511120"/>
                <a:ext cx="319088" cy="385763"/>
              </a:xfrm>
              <a:custGeom>
                <a:avLst/>
                <a:gdLst>
                  <a:gd name="T0" fmla="*/ 201 w 201"/>
                  <a:gd name="T1" fmla="*/ 113 h 243"/>
                  <a:gd name="T2" fmla="*/ 148 w 201"/>
                  <a:gd name="T3" fmla="*/ 234 h 243"/>
                  <a:gd name="T4" fmla="*/ 2 w 201"/>
                  <a:gd name="T5" fmla="*/ 243 h 243"/>
                  <a:gd name="T6" fmla="*/ 0 w 201"/>
                  <a:gd name="T7" fmla="*/ 242 h 243"/>
                  <a:gd name="T8" fmla="*/ 107 w 201"/>
                  <a:gd name="T9" fmla="*/ 0 h 243"/>
                  <a:gd name="T10" fmla="*/ 201 w 201"/>
                  <a:gd name="T11" fmla="*/ 113 h 243"/>
                </a:gdLst>
                <a:ahLst/>
                <a:cxnLst>
                  <a:cxn ang="0">
                    <a:pos x="T0" y="T1"/>
                  </a:cxn>
                  <a:cxn ang="0">
                    <a:pos x="T2" y="T3"/>
                  </a:cxn>
                  <a:cxn ang="0">
                    <a:pos x="T4" y="T5"/>
                  </a:cxn>
                  <a:cxn ang="0">
                    <a:pos x="T6" y="T7"/>
                  </a:cxn>
                  <a:cxn ang="0">
                    <a:pos x="T8" y="T9"/>
                  </a:cxn>
                  <a:cxn ang="0">
                    <a:pos x="T10" y="T11"/>
                  </a:cxn>
                </a:cxnLst>
                <a:rect l="0" t="0" r="r" b="b"/>
                <a:pathLst>
                  <a:path w="201" h="243">
                    <a:moveTo>
                      <a:pt x="201" y="113"/>
                    </a:moveTo>
                    <a:lnTo>
                      <a:pt x="148" y="234"/>
                    </a:lnTo>
                    <a:lnTo>
                      <a:pt x="2" y="243"/>
                    </a:lnTo>
                    <a:lnTo>
                      <a:pt x="0" y="242"/>
                    </a:lnTo>
                    <a:lnTo>
                      <a:pt x="107" y="0"/>
                    </a:lnTo>
                    <a:lnTo>
                      <a:pt x="201" y="113"/>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0" name="Freeform 1818">
                <a:extLst>
                  <a:ext uri="{FF2B5EF4-FFF2-40B4-BE49-F238E27FC236}">
                    <a16:creationId xmlns:a16="http://schemas.microsoft.com/office/drawing/2014/main" id="{9866B9DC-1E54-CB68-6F53-29E9BC143D4F}"/>
                  </a:ext>
                </a:extLst>
              </p:cNvPr>
              <p:cNvSpPr>
                <a:spLocks/>
              </p:cNvSpPr>
              <p:nvPr/>
            </p:nvSpPr>
            <p:spPr bwMode="auto">
              <a:xfrm>
                <a:off x="6269197" y="5511120"/>
                <a:ext cx="319088" cy="385763"/>
              </a:xfrm>
              <a:custGeom>
                <a:avLst/>
                <a:gdLst>
                  <a:gd name="T0" fmla="*/ 201 w 201"/>
                  <a:gd name="T1" fmla="*/ 113 h 243"/>
                  <a:gd name="T2" fmla="*/ 148 w 201"/>
                  <a:gd name="T3" fmla="*/ 234 h 243"/>
                  <a:gd name="T4" fmla="*/ 2 w 201"/>
                  <a:gd name="T5" fmla="*/ 243 h 243"/>
                  <a:gd name="T6" fmla="*/ 0 w 201"/>
                  <a:gd name="T7" fmla="*/ 242 h 243"/>
                  <a:gd name="T8" fmla="*/ 107 w 201"/>
                  <a:gd name="T9" fmla="*/ 0 h 243"/>
                  <a:gd name="T10" fmla="*/ 201 w 201"/>
                  <a:gd name="T11" fmla="*/ 113 h 243"/>
                </a:gdLst>
                <a:ahLst/>
                <a:cxnLst>
                  <a:cxn ang="0">
                    <a:pos x="T0" y="T1"/>
                  </a:cxn>
                  <a:cxn ang="0">
                    <a:pos x="T2" y="T3"/>
                  </a:cxn>
                  <a:cxn ang="0">
                    <a:pos x="T4" y="T5"/>
                  </a:cxn>
                  <a:cxn ang="0">
                    <a:pos x="T6" y="T7"/>
                  </a:cxn>
                  <a:cxn ang="0">
                    <a:pos x="T8" y="T9"/>
                  </a:cxn>
                  <a:cxn ang="0">
                    <a:pos x="T10" y="T11"/>
                  </a:cxn>
                </a:cxnLst>
                <a:rect l="0" t="0" r="r" b="b"/>
                <a:pathLst>
                  <a:path w="201" h="243">
                    <a:moveTo>
                      <a:pt x="201" y="113"/>
                    </a:moveTo>
                    <a:lnTo>
                      <a:pt x="148" y="234"/>
                    </a:lnTo>
                    <a:lnTo>
                      <a:pt x="2" y="243"/>
                    </a:lnTo>
                    <a:lnTo>
                      <a:pt x="0" y="242"/>
                    </a:lnTo>
                    <a:lnTo>
                      <a:pt x="107" y="0"/>
                    </a:lnTo>
                    <a:lnTo>
                      <a:pt x="201" y="113"/>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1" name="Freeform 1819">
                <a:extLst>
                  <a:ext uri="{FF2B5EF4-FFF2-40B4-BE49-F238E27FC236}">
                    <a16:creationId xmlns:a16="http://schemas.microsoft.com/office/drawing/2014/main" id="{5A6BE26D-14FE-D7DC-E0D5-3DAF31348329}"/>
                  </a:ext>
                </a:extLst>
              </p:cNvPr>
              <p:cNvSpPr>
                <a:spLocks/>
              </p:cNvSpPr>
              <p:nvPr/>
            </p:nvSpPr>
            <p:spPr bwMode="auto">
              <a:xfrm>
                <a:off x="6140609" y="5453970"/>
                <a:ext cx="298450" cy="441325"/>
              </a:xfrm>
              <a:custGeom>
                <a:avLst/>
                <a:gdLst>
                  <a:gd name="T0" fmla="*/ 81 w 188"/>
                  <a:gd name="T1" fmla="*/ 278 h 278"/>
                  <a:gd name="T2" fmla="*/ 0 w 188"/>
                  <a:gd name="T3" fmla="*/ 243 h 278"/>
                  <a:gd name="T4" fmla="*/ 105 w 188"/>
                  <a:gd name="T5" fmla="*/ 0 h 278"/>
                  <a:gd name="T6" fmla="*/ 188 w 188"/>
                  <a:gd name="T7" fmla="*/ 36 h 278"/>
                  <a:gd name="T8" fmla="*/ 81 w 188"/>
                  <a:gd name="T9" fmla="*/ 278 h 278"/>
                </a:gdLst>
                <a:ahLst/>
                <a:cxnLst>
                  <a:cxn ang="0">
                    <a:pos x="T0" y="T1"/>
                  </a:cxn>
                  <a:cxn ang="0">
                    <a:pos x="T2" y="T3"/>
                  </a:cxn>
                  <a:cxn ang="0">
                    <a:pos x="T4" y="T5"/>
                  </a:cxn>
                  <a:cxn ang="0">
                    <a:pos x="T6" y="T7"/>
                  </a:cxn>
                  <a:cxn ang="0">
                    <a:pos x="T8" y="T9"/>
                  </a:cxn>
                </a:cxnLst>
                <a:rect l="0" t="0" r="r" b="b"/>
                <a:pathLst>
                  <a:path w="188" h="278">
                    <a:moveTo>
                      <a:pt x="81" y="278"/>
                    </a:moveTo>
                    <a:lnTo>
                      <a:pt x="0" y="243"/>
                    </a:lnTo>
                    <a:lnTo>
                      <a:pt x="105" y="0"/>
                    </a:lnTo>
                    <a:lnTo>
                      <a:pt x="188" y="36"/>
                    </a:lnTo>
                    <a:lnTo>
                      <a:pt x="81" y="278"/>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132" name="Freeform 1820">
                <a:extLst>
                  <a:ext uri="{FF2B5EF4-FFF2-40B4-BE49-F238E27FC236}">
                    <a16:creationId xmlns:a16="http://schemas.microsoft.com/office/drawing/2014/main" id="{1E211FDE-2664-8571-4CC8-91BD192C0528}"/>
                  </a:ext>
                </a:extLst>
              </p:cNvPr>
              <p:cNvSpPr>
                <a:spLocks/>
              </p:cNvSpPr>
              <p:nvPr/>
            </p:nvSpPr>
            <p:spPr bwMode="auto">
              <a:xfrm>
                <a:off x="6140609" y="5453970"/>
                <a:ext cx="298450" cy="441325"/>
              </a:xfrm>
              <a:custGeom>
                <a:avLst/>
                <a:gdLst>
                  <a:gd name="T0" fmla="*/ 81 w 188"/>
                  <a:gd name="T1" fmla="*/ 278 h 278"/>
                  <a:gd name="T2" fmla="*/ 0 w 188"/>
                  <a:gd name="T3" fmla="*/ 243 h 278"/>
                  <a:gd name="T4" fmla="*/ 105 w 188"/>
                  <a:gd name="T5" fmla="*/ 0 h 278"/>
                  <a:gd name="T6" fmla="*/ 188 w 188"/>
                  <a:gd name="T7" fmla="*/ 36 h 278"/>
                  <a:gd name="T8" fmla="*/ 81 w 188"/>
                  <a:gd name="T9" fmla="*/ 278 h 278"/>
                </a:gdLst>
                <a:ahLst/>
                <a:cxnLst>
                  <a:cxn ang="0">
                    <a:pos x="T0" y="T1"/>
                  </a:cxn>
                  <a:cxn ang="0">
                    <a:pos x="T2" y="T3"/>
                  </a:cxn>
                  <a:cxn ang="0">
                    <a:pos x="T4" y="T5"/>
                  </a:cxn>
                  <a:cxn ang="0">
                    <a:pos x="T6" y="T7"/>
                  </a:cxn>
                  <a:cxn ang="0">
                    <a:pos x="T8" y="T9"/>
                  </a:cxn>
                </a:cxnLst>
                <a:rect l="0" t="0" r="r" b="b"/>
                <a:pathLst>
                  <a:path w="188" h="278">
                    <a:moveTo>
                      <a:pt x="81" y="278"/>
                    </a:moveTo>
                    <a:lnTo>
                      <a:pt x="0" y="243"/>
                    </a:lnTo>
                    <a:lnTo>
                      <a:pt x="105" y="0"/>
                    </a:lnTo>
                    <a:lnTo>
                      <a:pt x="188" y="36"/>
                    </a:lnTo>
                    <a:lnTo>
                      <a:pt x="81" y="278"/>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grpSp>
        <p:grpSp>
          <p:nvGrpSpPr>
            <p:cNvPr id="31" name="Group 398">
              <a:extLst>
                <a:ext uri="{FF2B5EF4-FFF2-40B4-BE49-F238E27FC236}">
                  <a16:creationId xmlns:a16="http://schemas.microsoft.com/office/drawing/2014/main" id="{2B76B54A-80FF-B8AE-1D5F-5F06BFFBBA2D}"/>
                </a:ext>
              </a:extLst>
            </p:cNvPr>
            <p:cNvGrpSpPr>
              <a:grpSpLocks noChangeAspect="1"/>
            </p:cNvGrpSpPr>
            <p:nvPr/>
          </p:nvGrpSpPr>
          <p:grpSpPr>
            <a:xfrm>
              <a:off x="6603775" y="4113258"/>
              <a:ext cx="793916" cy="412057"/>
              <a:chOff x="7386797" y="5552395"/>
              <a:chExt cx="1293813" cy="671513"/>
            </a:xfrm>
          </p:grpSpPr>
          <p:sp>
            <p:nvSpPr>
              <p:cNvPr id="32" name="Rectangle 1821">
                <a:extLst>
                  <a:ext uri="{FF2B5EF4-FFF2-40B4-BE49-F238E27FC236}">
                    <a16:creationId xmlns:a16="http://schemas.microsoft.com/office/drawing/2014/main" id="{62AC3318-4109-1439-4003-50626E995DBA}"/>
                  </a:ext>
                </a:extLst>
              </p:cNvPr>
              <p:cNvSpPr>
                <a:spLocks noChangeArrowheads="1"/>
              </p:cNvSpPr>
              <p:nvPr/>
            </p:nvSpPr>
            <p:spPr bwMode="auto">
              <a:xfrm>
                <a:off x="7651909" y="5903233"/>
                <a:ext cx="331788" cy="134938"/>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33" name="Rectangle 1822">
                <a:extLst>
                  <a:ext uri="{FF2B5EF4-FFF2-40B4-BE49-F238E27FC236}">
                    <a16:creationId xmlns:a16="http://schemas.microsoft.com/office/drawing/2014/main" id="{9F22FD95-A84F-13DD-80B5-214EC8D8B6AD}"/>
                  </a:ext>
                </a:extLst>
              </p:cNvPr>
              <p:cNvSpPr>
                <a:spLocks noChangeArrowheads="1"/>
              </p:cNvSpPr>
              <p:nvPr/>
            </p:nvSpPr>
            <p:spPr bwMode="auto">
              <a:xfrm>
                <a:off x="7651909" y="5903233"/>
                <a:ext cx="331788" cy="134938"/>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34" name="Freeform 1823">
                <a:extLst>
                  <a:ext uri="{FF2B5EF4-FFF2-40B4-BE49-F238E27FC236}">
                    <a16:creationId xmlns:a16="http://schemas.microsoft.com/office/drawing/2014/main" id="{D274D384-1738-89B1-84E8-75D4B9DD4F19}"/>
                  </a:ext>
                </a:extLst>
              </p:cNvPr>
              <p:cNvSpPr>
                <a:spLocks/>
              </p:cNvSpPr>
              <p:nvPr/>
            </p:nvSpPr>
            <p:spPr bwMode="auto">
              <a:xfrm>
                <a:off x="8164672" y="5777820"/>
                <a:ext cx="134938" cy="201613"/>
              </a:xfrm>
              <a:custGeom>
                <a:avLst/>
                <a:gdLst>
                  <a:gd name="T0" fmla="*/ 71 w 85"/>
                  <a:gd name="T1" fmla="*/ 0 h 127"/>
                  <a:gd name="T2" fmla="*/ 45 w 85"/>
                  <a:gd name="T3" fmla="*/ 0 h 127"/>
                  <a:gd name="T4" fmla="*/ 0 w 85"/>
                  <a:gd name="T5" fmla="*/ 127 h 127"/>
                  <a:gd name="T6" fmla="*/ 85 w 85"/>
                  <a:gd name="T7" fmla="*/ 127 h 127"/>
                  <a:gd name="T8" fmla="*/ 71 w 85"/>
                  <a:gd name="T9" fmla="*/ 0 h 127"/>
                </a:gdLst>
                <a:ahLst/>
                <a:cxnLst>
                  <a:cxn ang="0">
                    <a:pos x="T0" y="T1"/>
                  </a:cxn>
                  <a:cxn ang="0">
                    <a:pos x="T2" y="T3"/>
                  </a:cxn>
                  <a:cxn ang="0">
                    <a:pos x="T4" y="T5"/>
                  </a:cxn>
                  <a:cxn ang="0">
                    <a:pos x="T6" y="T7"/>
                  </a:cxn>
                  <a:cxn ang="0">
                    <a:pos x="T8" y="T9"/>
                  </a:cxn>
                </a:cxnLst>
                <a:rect l="0" t="0" r="r" b="b"/>
                <a:pathLst>
                  <a:path w="85" h="127">
                    <a:moveTo>
                      <a:pt x="71" y="0"/>
                    </a:moveTo>
                    <a:lnTo>
                      <a:pt x="45" y="0"/>
                    </a:lnTo>
                    <a:lnTo>
                      <a:pt x="0" y="127"/>
                    </a:lnTo>
                    <a:lnTo>
                      <a:pt x="85" y="127"/>
                    </a:lnTo>
                    <a:lnTo>
                      <a:pt x="71"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35" name="Freeform 1824">
                <a:extLst>
                  <a:ext uri="{FF2B5EF4-FFF2-40B4-BE49-F238E27FC236}">
                    <a16:creationId xmlns:a16="http://schemas.microsoft.com/office/drawing/2014/main" id="{029A318F-39F8-3DBA-993F-866BCEAE409E}"/>
                  </a:ext>
                </a:extLst>
              </p:cNvPr>
              <p:cNvSpPr>
                <a:spLocks/>
              </p:cNvSpPr>
              <p:nvPr/>
            </p:nvSpPr>
            <p:spPr bwMode="auto">
              <a:xfrm>
                <a:off x="8164672" y="5777820"/>
                <a:ext cx="134938" cy="201613"/>
              </a:xfrm>
              <a:custGeom>
                <a:avLst/>
                <a:gdLst>
                  <a:gd name="T0" fmla="*/ 71 w 85"/>
                  <a:gd name="T1" fmla="*/ 0 h 127"/>
                  <a:gd name="T2" fmla="*/ 45 w 85"/>
                  <a:gd name="T3" fmla="*/ 0 h 127"/>
                  <a:gd name="T4" fmla="*/ 0 w 85"/>
                  <a:gd name="T5" fmla="*/ 127 h 127"/>
                  <a:gd name="T6" fmla="*/ 85 w 85"/>
                  <a:gd name="T7" fmla="*/ 127 h 127"/>
                  <a:gd name="T8" fmla="*/ 71 w 85"/>
                  <a:gd name="T9" fmla="*/ 0 h 127"/>
                </a:gdLst>
                <a:ahLst/>
                <a:cxnLst>
                  <a:cxn ang="0">
                    <a:pos x="T0" y="T1"/>
                  </a:cxn>
                  <a:cxn ang="0">
                    <a:pos x="T2" y="T3"/>
                  </a:cxn>
                  <a:cxn ang="0">
                    <a:pos x="T4" y="T5"/>
                  </a:cxn>
                  <a:cxn ang="0">
                    <a:pos x="T6" y="T7"/>
                  </a:cxn>
                  <a:cxn ang="0">
                    <a:pos x="T8" y="T9"/>
                  </a:cxn>
                </a:cxnLst>
                <a:rect l="0" t="0" r="r" b="b"/>
                <a:pathLst>
                  <a:path w="85" h="127">
                    <a:moveTo>
                      <a:pt x="71" y="0"/>
                    </a:moveTo>
                    <a:lnTo>
                      <a:pt x="45" y="0"/>
                    </a:lnTo>
                    <a:lnTo>
                      <a:pt x="0" y="127"/>
                    </a:lnTo>
                    <a:lnTo>
                      <a:pt x="85" y="127"/>
                    </a:lnTo>
                    <a:lnTo>
                      <a:pt x="71"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3" name="Rectangle 1825">
                <a:extLst>
                  <a:ext uri="{FF2B5EF4-FFF2-40B4-BE49-F238E27FC236}">
                    <a16:creationId xmlns:a16="http://schemas.microsoft.com/office/drawing/2014/main" id="{8841E9BA-7595-6B3C-1C5C-BFCBE1A45834}"/>
                  </a:ext>
                </a:extLst>
              </p:cNvPr>
              <p:cNvSpPr>
                <a:spLocks noChangeArrowheads="1"/>
              </p:cNvSpPr>
              <p:nvPr/>
            </p:nvSpPr>
            <p:spPr bwMode="auto">
              <a:xfrm>
                <a:off x="7461409" y="5998483"/>
                <a:ext cx="133350" cy="61913"/>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4" name="Rectangle 1826">
                <a:extLst>
                  <a:ext uri="{FF2B5EF4-FFF2-40B4-BE49-F238E27FC236}">
                    <a16:creationId xmlns:a16="http://schemas.microsoft.com/office/drawing/2014/main" id="{2CC2225D-B34B-4B7B-4DC8-E7B7FBBF05C4}"/>
                  </a:ext>
                </a:extLst>
              </p:cNvPr>
              <p:cNvSpPr>
                <a:spLocks noChangeArrowheads="1"/>
              </p:cNvSpPr>
              <p:nvPr/>
            </p:nvSpPr>
            <p:spPr bwMode="auto">
              <a:xfrm>
                <a:off x="7461409" y="5998483"/>
                <a:ext cx="133350" cy="61913"/>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5" name="Freeform 1827">
                <a:extLst>
                  <a:ext uri="{FF2B5EF4-FFF2-40B4-BE49-F238E27FC236}">
                    <a16:creationId xmlns:a16="http://schemas.microsoft.com/office/drawing/2014/main" id="{79ADD507-65FB-BDE8-6E13-C8D633DA99BF}"/>
                  </a:ext>
                </a:extLst>
              </p:cNvPr>
              <p:cNvSpPr>
                <a:spLocks/>
              </p:cNvSpPr>
              <p:nvPr/>
            </p:nvSpPr>
            <p:spPr bwMode="auto">
              <a:xfrm>
                <a:off x="7531259" y="5982608"/>
                <a:ext cx="773113" cy="160338"/>
              </a:xfrm>
              <a:custGeom>
                <a:avLst/>
                <a:gdLst>
                  <a:gd name="T0" fmla="*/ 487 w 487"/>
                  <a:gd name="T1" fmla="*/ 101 h 101"/>
                  <a:gd name="T2" fmla="*/ 0 w 487"/>
                  <a:gd name="T3" fmla="*/ 101 h 101"/>
                  <a:gd name="T4" fmla="*/ 45 w 487"/>
                  <a:gd name="T5" fmla="*/ 0 h 101"/>
                  <a:gd name="T6" fmla="*/ 487 w 487"/>
                  <a:gd name="T7" fmla="*/ 0 h 101"/>
                  <a:gd name="T8" fmla="*/ 487 w 487"/>
                  <a:gd name="T9" fmla="*/ 101 h 101"/>
                </a:gdLst>
                <a:ahLst/>
                <a:cxnLst>
                  <a:cxn ang="0">
                    <a:pos x="T0" y="T1"/>
                  </a:cxn>
                  <a:cxn ang="0">
                    <a:pos x="T2" y="T3"/>
                  </a:cxn>
                  <a:cxn ang="0">
                    <a:pos x="T4" y="T5"/>
                  </a:cxn>
                  <a:cxn ang="0">
                    <a:pos x="T6" y="T7"/>
                  </a:cxn>
                  <a:cxn ang="0">
                    <a:pos x="T8" y="T9"/>
                  </a:cxn>
                </a:cxnLst>
                <a:rect l="0" t="0" r="r" b="b"/>
                <a:pathLst>
                  <a:path w="487" h="101">
                    <a:moveTo>
                      <a:pt x="487" y="101"/>
                    </a:moveTo>
                    <a:lnTo>
                      <a:pt x="0" y="101"/>
                    </a:lnTo>
                    <a:lnTo>
                      <a:pt x="45" y="0"/>
                    </a:lnTo>
                    <a:lnTo>
                      <a:pt x="487" y="0"/>
                    </a:lnTo>
                    <a:lnTo>
                      <a:pt x="487" y="101"/>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6" name="Freeform 1828">
                <a:extLst>
                  <a:ext uri="{FF2B5EF4-FFF2-40B4-BE49-F238E27FC236}">
                    <a16:creationId xmlns:a16="http://schemas.microsoft.com/office/drawing/2014/main" id="{13A7A056-2918-01BE-0636-99B722788C57}"/>
                  </a:ext>
                </a:extLst>
              </p:cNvPr>
              <p:cNvSpPr>
                <a:spLocks/>
              </p:cNvSpPr>
              <p:nvPr/>
            </p:nvSpPr>
            <p:spPr bwMode="auto">
              <a:xfrm>
                <a:off x="7531259" y="5982608"/>
                <a:ext cx="773113" cy="160338"/>
              </a:xfrm>
              <a:custGeom>
                <a:avLst/>
                <a:gdLst>
                  <a:gd name="T0" fmla="*/ 487 w 487"/>
                  <a:gd name="T1" fmla="*/ 101 h 101"/>
                  <a:gd name="T2" fmla="*/ 0 w 487"/>
                  <a:gd name="T3" fmla="*/ 101 h 101"/>
                  <a:gd name="T4" fmla="*/ 45 w 487"/>
                  <a:gd name="T5" fmla="*/ 0 h 101"/>
                  <a:gd name="T6" fmla="*/ 487 w 487"/>
                  <a:gd name="T7" fmla="*/ 0 h 101"/>
                  <a:gd name="T8" fmla="*/ 487 w 487"/>
                  <a:gd name="T9" fmla="*/ 101 h 101"/>
                </a:gdLst>
                <a:ahLst/>
                <a:cxnLst>
                  <a:cxn ang="0">
                    <a:pos x="T0" y="T1"/>
                  </a:cxn>
                  <a:cxn ang="0">
                    <a:pos x="T2" y="T3"/>
                  </a:cxn>
                  <a:cxn ang="0">
                    <a:pos x="T4" y="T5"/>
                  </a:cxn>
                  <a:cxn ang="0">
                    <a:pos x="T6" y="T7"/>
                  </a:cxn>
                  <a:cxn ang="0">
                    <a:pos x="T8" y="T9"/>
                  </a:cxn>
                </a:cxnLst>
                <a:rect l="0" t="0" r="r" b="b"/>
                <a:pathLst>
                  <a:path w="487" h="101">
                    <a:moveTo>
                      <a:pt x="487" y="101"/>
                    </a:moveTo>
                    <a:lnTo>
                      <a:pt x="0" y="101"/>
                    </a:lnTo>
                    <a:lnTo>
                      <a:pt x="45" y="0"/>
                    </a:lnTo>
                    <a:lnTo>
                      <a:pt x="487" y="0"/>
                    </a:lnTo>
                    <a:lnTo>
                      <a:pt x="487" y="101"/>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7" name="Rectangle 1829">
                <a:extLst>
                  <a:ext uri="{FF2B5EF4-FFF2-40B4-BE49-F238E27FC236}">
                    <a16:creationId xmlns:a16="http://schemas.microsoft.com/office/drawing/2014/main" id="{51222720-2F5D-DF4F-07DC-4306183B3B5F}"/>
                  </a:ext>
                </a:extLst>
              </p:cNvPr>
              <p:cNvSpPr>
                <a:spLocks noChangeArrowheads="1"/>
              </p:cNvSpPr>
              <p:nvPr/>
            </p:nvSpPr>
            <p:spPr bwMode="auto">
              <a:xfrm>
                <a:off x="7531259" y="6100083"/>
                <a:ext cx="1149350" cy="42863"/>
              </a:xfrm>
              <a:prstGeom prst="rect">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8" name="Rectangle 1830">
                <a:extLst>
                  <a:ext uri="{FF2B5EF4-FFF2-40B4-BE49-F238E27FC236}">
                    <a16:creationId xmlns:a16="http://schemas.microsoft.com/office/drawing/2014/main" id="{5778EA3A-DBAB-1266-9EFE-270594731BB0}"/>
                  </a:ext>
                </a:extLst>
              </p:cNvPr>
              <p:cNvSpPr>
                <a:spLocks noChangeArrowheads="1"/>
              </p:cNvSpPr>
              <p:nvPr/>
            </p:nvSpPr>
            <p:spPr bwMode="auto">
              <a:xfrm>
                <a:off x="7531259" y="6100083"/>
                <a:ext cx="1149350" cy="42863"/>
              </a:xfrm>
              <a:prstGeom prst="rect">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49" name="Freeform 1831">
                <a:extLst>
                  <a:ext uri="{FF2B5EF4-FFF2-40B4-BE49-F238E27FC236}">
                    <a16:creationId xmlns:a16="http://schemas.microsoft.com/office/drawing/2014/main" id="{1DD17321-45E0-72F2-32B8-88D81578056E}"/>
                  </a:ext>
                </a:extLst>
              </p:cNvPr>
              <p:cNvSpPr>
                <a:spLocks/>
              </p:cNvSpPr>
              <p:nvPr/>
            </p:nvSpPr>
            <p:spPr bwMode="auto">
              <a:xfrm>
                <a:off x="8272622" y="5660345"/>
                <a:ext cx="407988" cy="439738"/>
              </a:xfrm>
              <a:custGeom>
                <a:avLst/>
                <a:gdLst>
                  <a:gd name="T0" fmla="*/ 180 w 257"/>
                  <a:gd name="T1" fmla="*/ 0 h 277"/>
                  <a:gd name="T2" fmla="*/ 0 w 257"/>
                  <a:gd name="T3" fmla="*/ 0 h 277"/>
                  <a:gd name="T4" fmla="*/ 0 w 257"/>
                  <a:gd name="T5" fmla="*/ 277 h 277"/>
                  <a:gd name="T6" fmla="*/ 257 w 257"/>
                  <a:gd name="T7" fmla="*/ 277 h 277"/>
                  <a:gd name="T8" fmla="*/ 257 w 257"/>
                  <a:gd name="T9" fmla="*/ 128 h 277"/>
                  <a:gd name="T10" fmla="*/ 180 w 257"/>
                  <a:gd name="T11" fmla="*/ 0 h 277"/>
                </a:gdLst>
                <a:ahLst/>
                <a:cxnLst>
                  <a:cxn ang="0">
                    <a:pos x="T0" y="T1"/>
                  </a:cxn>
                  <a:cxn ang="0">
                    <a:pos x="T2" y="T3"/>
                  </a:cxn>
                  <a:cxn ang="0">
                    <a:pos x="T4" y="T5"/>
                  </a:cxn>
                  <a:cxn ang="0">
                    <a:pos x="T6" y="T7"/>
                  </a:cxn>
                  <a:cxn ang="0">
                    <a:pos x="T8" y="T9"/>
                  </a:cxn>
                  <a:cxn ang="0">
                    <a:pos x="T10" y="T11"/>
                  </a:cxn>
                </a:cxnLst>
                <a:rect l="0" t="0" r="r" b="b"/>
                <a:pathLst>
                  <a:path w="257" h="277">
                    <a:moveTo>
                      <a:pt x="180" y="0"/>
                    </a:moveTo>
                    <a:lnTo>
                      <a:pt x="0" y="0"/>
                    </a:lnTo>
                    <a:lnTo>
                      <a:pt x="0" y="277"/>
                    </a:lnTo>
                    <a:lnTo>
                      <a:pt x="257" y="277"/>
                    </a:lnTo>
                    <a:lnTo>
                      <a:pt x="257" y="128"/>
                    </a:lnTo>
                    <a:lnTo>
                      <a:pt x="180"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0" name="Freeform 1832">
                <a:extLst>
                  <a:ext uri="{FF2B5EF4-FFF2-40B4-BE49-F238E27FC236}">
                    <a16:creationId xmlns:a16="http://schemas.microsoft.com/office/drawing/2014/main" id="{158214FC-8C35-BDD0-ACE7-18AD501C2A0D}"/>
                  </a:ext>
                </a:extLst>
              </p:cNvPr>
              <p:cNvSpPr>
                <a:spLocks/>
              </p:cNvSpPr>
              <p:nvPr/>
            </p:nvSpPr>
            <p:spPr bwMode="auto">
              <a:xfrm>
                <a:off x="8272622" y="5660345"/>
                <a:ext cx="407988" cy="439738"/>
              </a:xfrm>
              <a:custGeom>
                <a:avLst/>
                <a:gdLst>
                  <a:gd name="T0" fmla="*/ 180 w 257"/>
                  <a:gd name="T1" fmla="*/ 0 h 277"/>
                  <a:gd name="T2" fmla="*/ 0 w 257"/>
                  <a:gd name="T3" fmla="*/ 0 h 277"/>
                  <a:gd name="T4" fmla="*/ 0 w 257"/>
                  <a:gd name="T5" fmla="*/ 277 h 277"/>
                  <a:gd name="T6" fmla="*/ 257 w 257"/>
                  <a:gd name="T7" fmla="*/ 277 h 277"/>
                  <a:gd name="T8" fmla="*/ 257 w 257"/>
                  <a:gd name="T9" fmla="*/ 128 h 277"/>
                  <a:gd name="T10" fmla="*/ 180 w 257"/>
                  <a:gd name="T11" fmla="*/ 0 h 277"/>
                </a:gdLst>
                <a:ahLst/>
                <a:cxnLst>
                  <a:cxn ang="0">
                    <a:pos x="T0" y="T1"/>
                  </a:cxn>
                  <a:cxn ang="0">
                    <a:pos x="T2" y="T3"/>
                  </a:cxn>
                  <a:cxn ang="0">
                    <a:pos x="T4" y="T5"/>
                  </a:cxn>
                  <a:cxn ang="0">
                    <a:pos x="T6" y="T7"/>
                  </a:cxn>
                  <a:cxn ang="0">
                    <a:pos x="T8" y="T9"/>
                  </a:cxn>
                  <a:cxn ang="0">
                    <a:pos x="T10" y="T11"/>
                  </a:cxn>
                </a:cxnLst>
                <a:rect l="0" t="0" r="r" b="b"/>
                <a:pathLst>
                  <a:path w="257" h="277">
                    <a:moveTo>
                      <a:pt x="180" y="0"/>
                    </a:moveTo>
                    <a:lnTo>
                      <a:pt x="0" y="0"/>
                    </a:lnTo>
                    <a:lnTo>
                      <a:pt x="0" y="277"/>
                    </a:lnTo>
                    <a:lnTo>
                      <a:pt x="257" y="277"/>
                    </a:lnTo>
                    <a:lnTo>
                      <a:pt x="257" y="128"/>
                    </a:lnTo>
                    <a:lnTo>
                      <a:pt x="180"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1" name="Freeform 1833">
                <a:extLst>
                  <a:ext uri="{FF2B5EF4-FFF2-40B4-BE49-F238E27FC236}">
                    <a16:creationId xmlns:a16="http://schemas.microsoft.com/office/drawing/2014/main" id="{0220A6FC-195B-66F4-7FD6-50490969FD0D}"/>
                  </a:ext>
                </a:extLst>
              </p:cNvPr>
              <p:cNvSpPr>
                <a:spLocks/>
              </p:cNvSpPr>
              <p:nvPr/>
            </p:nvSpPr>
            <p:spPr bwMode="auto">
              <a:xfrm>
                <a:off x="8345647" y="5725433"/>
                <a:ext cx="247650" cy="127000"/>
              </a:xfrm>
              <a:custGeom>
                <a:avLst/>
                <a:gdLst>
                  <a:gd name="T0" fmla="*/ 156 w 156"/>
                  <a:gd name="T1" fmla="*/ 80 h 80"/>
                  <a:gd name="T2" fmla="*/ 107 w 156"/>
                  <a:gd name="T3" fmla="*/ 0 h 80"/>
                  <a:gd name="T4" fmla="*/ 0 w 156"/>
                  <a:gd name="T5" fmla="*/ 0 h 80"/>
                  <a:gd name="T6" fmla="*/ 0 w 156"/>
                  <a:gd name="T7" fmla="*/ 80 h 80"/>
                  <a:gd name="T8" fmla="*/ 156 w 156"/>
                  <a:gd name="T9" fmla="*/ 80 h 80"/>
                </a:gdLst>
                <a:ahLst/>
                <a:cxnLst>
                  <a:cxn ang="0">
                    <a:pos x="T0" y="T1"/>
                  </a:cxn>
                  <a:cxn ang="0">
                    <a:pos x="T2" y="T3"/>
                  </a:cxn>
                  <a:cxn ang="0">
                    <a:pos x="T4" y="T5"/>
                  </a:cxn>
                  <a:cxn ang="0">
                    <a:pos x="T6" y="T7"/>
                  </a:cxn>
                  <a:cxn ang="0">
                    <a:pos x="T8" y="T9"/>
                  </a:cxn>
                </a:cxnLst>
                <a:rect l="0" t="0" r="r" b="b"/>
                <a:pathLst>
                  <a:path w="156" h="80">
                    <a:moveTo>
                      <a:pt x="156" y="80"/>
                    </a:moveTo>
                    <a:lnTo>
                      <a:pt x="107" y="0"/>
                    </a:lnTo>
                    <a:lnTo>
                      <a:pt x="0" y="0"/>
                    </a:lnTo>
                    <a:lnTo>
                      <a:pt x="0" y="80"/>
                    </a:lnTo>
                    <a:lnTo>
                      <a:pt x="156" y="8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2" name="Freeform 1834">
                <a:extLst>
                  <a:ext uri="{FF2B5EF4-FFF2-40B4-BE49-F238E27FC236}">
                    <a16:creationId xmlns:a16="http://schemas.microsoft.com/office/drawing/2014/main" id="{6742494B-AE61-2B47-2C0B-834B0CE27A69}"/>
                  </a:ext>
                </a:extLst>
              </p:cNvPr>
              <p:cNvSpPr>
                <a:spLocks/>
              </p:cNvSpPr>
              <p:nvPr/>
            </p:nvSpPr>
            <p:spPr bwMode="auto">
              <a:xfrm>
                <a:off x="8345647" y="5725433"/>
                <a:ext cx="247650" cy="127000"/>
              </a:xfrm>
              <a:custGeom>
                <a:avLst/>
                <a:gdLst>
                  <a:gd name="T0" fmla="*/ 156 w 156"/>
                  <a:gd name="T1" fmla="*/ 80 h 80"/>
                  <a:gd name="T2" fmla="*/ 107 w 156"/>
                  <a:gd name="T3" fmla="*/ 0 h 80"/>
                  <a:gd name="T4" fmla="*/ 0 w 156"/>
                  <a:gd name="T5" fmla="*/ 0 h 80"/>
                  <a:gd name="T6" fmla="*/ 0 w 156"/>
                  <a:gd name="T7" fmla="*/ 80 h 80"/>
                  <a:gd name="T8" fmla="*/ 156 w 156"/>
                  <a:gd name="T9" fmla="*/ 80 h 80"/>
                </a:gdLst>
                <a:ahLst/>
                <a:cxnLst>
                  <a:cxn ang="0">
                    <a:pos x="T0" y="T1"/>
                  </a:cxn>
                  <a:cxn ang="0">
                    <a:pos x="T2" y="T3"/>
                  </a:cxn>
                  <a:cxn ang="0">
                    <a:pos x="T4" y="T5"/>
                  </a:cxn>
                  <a:cxn ang="0">
                    <a:pos x="T6" y="T7"/>
                  </a:cxn>
                  <a:cxn ang="0">
                    <a:pos x="T8" y="T9"/>
                  </a:cxn>
                </a:cxnLst>
                <a:rect l="0" t="0" r="r" b="b"/>
                <a:pathLst>
                  <a:path w="156" h="80">
                    <a:moveTo>
                      <a:pt x="156" y="80"/>
                    </a:moveTo>
                    <a:lnTo>
                      <a:pt x="107" y="0"/>
                    </a:lnTo>
                    <a:lnTo>
                      <a:pt x="0" y="0"/>
                    </a:lnTo>
                    <a:lnTo>
                      <a:pt x="0" y="80"/>
                    </a:lnTo>
                    <a:lnTo>
                      <a:pt x="156" y="8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3" name="Line 1835">
                <a:extLst>
                  <a:ext uri="{FF2B5EF4-FFF2-40B4-BE49-F238E27FC236}">
                    <a16:creationId xmlns:a16="http://schemas.microsoft.com/office/drawing/2014/main" id="{C86852D6-7631-6F47-1A52-ACC2A0D8E1D9}"/>
                  </a:ext>
                </a:extLst>
              </p:cNvPr>
              <p:cNvSpPr>
                <a:spLocks noChangeShapeType="1"/>
              </p:cNvSpPr>
              <p:nvPr/>
            </p:nvSpPr>
            <p:spPr bwMode="auto">
              <a:xfrm>
                <a:off x="8332947" y="5923870"/>
                <a:ext cx="73025" cy="0"/>
              </a:xfrm>
              <a:prstGeom prst="line">
                <a:avLst/>
              </a:prstGeom>
              <a:noFill/>
              <a:ln w="127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4" name="Line 1836">
                <a:extLst>
                  <a:ext uri="{FF2B5EF4-FFF2-40B4-BE49-F238E27FC236}">
                    <a16:creationId xmlns:a16="http://schemas.microsoft.com/office/drawing/2014/main" id="{C544E66E-1B28-6AD1-A5E1-6E9A55C6B0DC}"/>
                  </a:ext>
                </a:extLst>
              </p:cNvPr>
              <p:cNvSpPr>
                <a:spLocks noChangeShapeType="1"/>
              </p:cNvSpPr>
              <p:nvPr/>
            </p:nvSpPr>
            <p:spPr bwMode="auto">
              <a:xfrm>
                <a:off x="8625047" y="5963558"/>
                <a:ext cx="55563" cy="0"/>
              </a:xfrm>
              <a:prstGeom prst="line">
                <a:avLst/>
              </a:prstGeom>
              <a:noFill/>
              <a:ln w="12700" cap="rnd">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5" name="Freeform 1837">
                <a:extLst>
                  <a:ext uri="{FF2B5EF4-FFF2-40B4-BE49-F238E27FC236}">
                    <a16:creationId xmlns:a16="http://schemas.microsoft.com/office/drawing/2014/main" id="{81D035E7-990E-1C9E-0292-A8A5965252B3}"/>
                  </a:ext>
                </a:extLst>
              </p:cNvPr>
              <p:cNvSpPr>
                <a:spLocks/>
              </p:cNvSpPr>
              <p:nvPr/>
            </p:nvSpPr>
            <p:spPr bwMode="auto">
              <a:xfrm>
                <a:off x="8382159" y="6009595"/>
                <a:ext cx="250825" cy="128588"/>
              </a:xfrm>
              <a:custGeom>
                <a:avLst/>
                <a:gdLst>
                  <a:gd name="T0" fmla="*/ 134 w 134"/>
                  <a:gd name="T1" fmla="*/ 68 h 68"/>
                  <a:gd name="T2" fmla="*/ 67 w 134"/>
                  <a:gd name="T3" fmla="*/ 0 h 68"/>
                  <a:gd name="T4" fmla="*/ 0 w 134"/>
                  <a:gd name="T5" fmla="*/ 68 h 68"/>
                  <a:gd name="T6" fmla="*/ 0 w 134"/>
                  <a:gd name="T7" fmla="*/ 68 h 68"/>
                  <a:gd name="T8" fmla="*/ 134 w 134"/>
                  <a:gd name="T9" fmla="*/ 68 h 68"/>
                </a:gdLst>
                <a:ahLst/>
                <a:cxnLst>
                  <a:cxn ang="0">
                    <a:pos x="T0" y="T1"/>
                  </a:cxn>
                  <a:cxn ang="0">
                    <a:pos x="T2" y="T3"/>
                  </a:cxn>
                  <a:cxn ang="0">
                    <a:pos x="T4" y="T5"/>
                  </a:cxn>
                  <a:cxn ang="0">
                    <a:pos x="T6" y="T7"/>
                  </a:cxn>
                  <a:cxn ang="0">
                    <a:pos x="T8" y="T9"/>
                  </a:cxn>
                </a:cxnLst>
                <a:rect l="0" t="0" r="r" b="b"/>
                <a:pathLst>
                  <a:path w="134" h="68">
                    <a:moveTo>
                      <a:pt x="134" y="68"/>
                    </a:moveTo>
                    <a:cubicBezTo>
                      <a:pt x="134" y="31"/>
                      <a:pt x="104" y="0"/>
                      <a:pt x="67" y="0"/>
                    </a:cubicBezTo>
                    <a:cubicBezTo>
                      <a:pt x="30" y="0"/>
                      <a:pt x="0" y="31"/>
                      <a:pt x="0" y="68"/>
                    </a:cubicBezTo>
                    <a:cubicBezTo>
                      <a:pt x="0" y="68"/>
                      <a:pt x="0" y="68"/>
                      <a:pt x="0" y="68"/>
                    </a:cubicBezTo>
                    <a:cubicBezTo>
                      <a:pt x="134" y="68"/>
                      <a:pt x="134" y="68"/>
                      <a:pt x="134" y="68"/>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6" name="Freeform 1838">
                <a:extLst>
                  <a:ext uri="{FF2B5EF4-FFF2-40B4-BE49-F238E27FC236}">
                    <a16:creationId xmlns:a16="http://schemas.microsoft.com/office/drawing/2014/main" id="{16074CE3-7AA9-22FF-B0BE-CBC0A76CA3C3}"/>
                  </a:ext>
                </a:extLst>
              </p:cNvPr>
              <p:cNvSpPr>
                <a:spLocks/>
              </p:cNvSpPr>
              <p:nvPr/>
            </p:nvSpPr>
            <p:spPr bwMode="auto">
              <a:xfrm>
                <a:off x="8382159" y="6009595"/>
                <a:ext cx="250825" cy="128588"/>
              </a:xfrm>
              <a:custGeom>
                <a:avLst/>
                <a:gdLst>
                  <a:gd name="T0" fmla="*/ 134 w 134"/>
                  <a:gd name="T1" fmla="*/ 68 h 68"/>
                  <a:gd name="T2" fmla="*/ 67 w 134"/>
                  <a:gd name="T3" fmla="*/ 0 h 68"/>
                  <a:gd name="T4" fmla="*/ 0 w 134"/>
                  <a:gd name="T5" fmla="*/ 68 h 68"/>
                  <a:gd name="T6" fmla="*/ 0 w 134"/>
                  <a:gd name="T7" fmla="*/ 68 h 68"/>
                  <a:gd name="T8" fmla="*/ 134 w 134"/>
                  <a:gd name="T9" fmla="*/ 68 h 68"/>
                </a:gdLst>
                <a:ahLst/>
                <a:cxnLst>
                  <a:cxn ang="0">
                    <a:pos x="T0" y="T1"/>
                  </a:cxn>
                  <a:cxn ang="0">
                    <a:pos x="T2" y="T3"/>
                  </a:cxn>
                  <a:cxn ang="0">
                    <a:pos x="T4" y="T5"/>
                  </a:cxn>
                  <a:cxn ang="0">
                    <a:pos x="T6" y="T7"/>
                  </a:cxn>
                  <a:cxn ang="0">
                    <a:pos x="T8" y="T9"/>
                  </a:cxn>
                </a:cxnLst>
                <a:rect l="0" t="0" r="r" b="b"/>
                <a:pathLst>
                  <a:path w="134" h="68">
                    <a:moveTo>
                      <a:pt x="134" y="68"/>
                    </a:moveTo>
                    <a:cubicBezTo>
                      <a:pt x="134" y="31"/>
                      <a:pt x="104" y="0"/>
                      <a:pt x="67" y="0"/>
                    </a:cubicBezTo>
                    <a:cubicBezTo>
                      <a:pt x="30" y="0"/>
                      <a:pt x="0" y="31"/>
                      <a:pt x="0" y="68"/>
                    </a:cubicBezTo>
                    <a:cubicBezTo>
                      <a:pt x="0" y="68"/>
                      <a:pt x="0" y="68"/>
                      <a:pt x="0" y="68"/>
                    </a:cubicBezTo>
                    <a:cubicBezTo>
                      <a:pt x="134" y="68"/>
                      <a:pt x="134" y="68"/>
                      <a:pt x="134" y="68"/>
                    </a:cubicBez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7" name="Oval 1839">
                <a:extLst>
                  <a:ext uri="{FF2B5EF4-FFF2-40B4-BE49-F238E27FC236}">
                    <a16:creationId xmlns:a16="http://schemas.microsoft.com/office/drawing/2014/main" id="{196C94D0-4BB6-640B-FFAB-724E977D056D}"/>
                  </a:ext>
                </a:extLst>
              </p:cNvPr>
              <p:cNvSpPr>
                <a:spLocks noChangeArrowheads="1"/>
              </p:cNvSpPr>
              <p:nvPr/>
            </p:nvSpPr>
            <p:spPr bwMode="auto">
              <a:xfrm>
                <a:off x="8466297" y="6096908"/>
                <a:ext cx="82550" cy="82550"/>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8" name="Freeform 1840">
                <a:extLst>
                  <a:ext uri="{FF2B5EF4-FFF2-40B4-BE49-F238E27FC236}">
                    <a16:creationId xmlns:a16="http://schemas.microsoft.com/office/drawing/2014/main" id="{FDCCED76-200A-F53D-17E0-BDCE49D38BE3}"/>
                  </a:ext>
                </a:extLst>
              </p:cNvPr>
              <p:cNvSpPr>
                <a:spLocks noEditPoints="1"/>
              </p:cNvSpPr>
              <p:nvPr/>
            </p:nvSpPr>
            <p:spPr bwMode="auto">
              <a:xfrm>
                <a:off x="8421847" y="6049283"/>
                <a:ext cx="174625" cy="174625"/>
              </a:xfrm>
              <a:custGeom>
                <a:avLst/>
                <a:gdLst>
                  <a:gd name="T0" fmla="*/ 46 w 93"/>
                  <a:gd name="T1" fmla="*/ 0 h 93"/>
                  <a:gd name="T2" fmla="*/ 93 w 93"/>
                  <a:gd name="T3" fmla="*/ 47 h 93"/>
                  <a:gd name="T4" fmla="*/ 46 w 93"/>
                  <a:gd name="T5" fmla="*/ 93 h 93"/>
                  <a:gd name="T6" fmla="*/ 0 w 93"/>
                  <a:gd name="T7" fmla="*/ 47 h 93"/>
                  <a:gd name="T8" fmla="*/ 46 w 93"/>
                  <a:gd name="T9" fmla="*/ 0 h 93"/>
                  <a:gd name="T10" fmla="*/ 68 w 93"/>
                  <a:gd name="T11" fmla="*/ 47 h 93"/>
                  <a:gd name="T12" fmla="*/ 46 w 93"/>
                  <a:gd name="T13" fmla="*/ 25 h 93"/>
                  <a:gd name="T14" fmla="*/ 24 w 93"/>
                  <a:gd name="T15" fmla="*/ 47 h 93"/>
                  <a:gd name="T16" fmla="*/ 46 w 93"/>
                  <a:gd name="T17" fmla="*/ 69 h 93"/>
                  <a:gd name="T18" fmla="*/ 68 w 93"/>
                  <a:gd name="T1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6" y="0"/>
                    </a:moveTo>
                    <a:cubicBezTo>
                      <a:pt x="72" y="0"/>
                      <a:pt x="93" y="21"/>
                      <a:pt x="93" y="47"/>
                    </a:cubicBezTo>
                    <a:cubicBezTo>
                      <a:pt x="93" y="72"/>
                      <a:pt x="72" y="93"/>
                      <a:pt x="46" y="93"/>
                    </a:cubicBezTo>
                    <a:cubicBezTo>
                      <a:pt x="21" y="93"/>
                      <a:pt x="0" y="72"/>
                      <a:pt x="0" y="47"/>
                    </a:cubicBezTo>
                    <a:cubicBezTo>
                      <a:pt x="0" y="21"/>
                      <a:pt x="21" y="0"/>
                      <a:pt x="46" y="0"/>
                    </a:cubicBezTo>
                    <a:close/>
                    <a:moveTo>
                      <a:pt x="68" y="47"/>
                    </a:moveTo>
                    <a:cubicBezTo>
                      <a:pt x="68" y="34"/>
                      <a:pt x="58" y="25"/>
                      <a:pt x="46" y="25"/>
                    </a:cubicBezTo>
                    <a:cubicBezTo>
                      <a:pt x="34" y="25"/>
                      <a:pt x="24" y="34"/>
                      <a:pt x="24" y="47"/>
                    </a:cubicBezTo>
                    <a:cubicBezTo>
                      <a:pt x="24" y="59"/>
                      <a:pt x="34" y="69"/>
                      <a:pt x="46" y="69"/>
                    </a:cubicBezTo>
                    <a:cubicBezTo>
                      <a:pt x="58" y="69"/>
                      <a:pt x="68" y="59"/>
                      <a:pt x="68" y="47"/>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59" name="Oval 1841">
                <a:extLst>
                  <a:ext uri="{FF2B5EF4-FFF2-40B4-BE49-F238E27FC236}">
                    <a16:creationId xmlns:a16="http://schemas.microsoft.com/office/drawing/2014/main" id="{2F5AB2FA-2675-720F-6355-C95BF012DB57}"/>
                  </a:ext>
                </a:extLst>
              </p:cNvPr>
              <p:cNvSpPr>
                <a:spLocks noChangeArrowheads="1"/>
              </p:cNvSpPr>
              <p:nvPr/>
            </p:nvSpPr>
            <p:spPr bwMode="auto">
              <a:xfrm>
                <a:off x="8421847" y="6049283"/>
                <a:ext cx="174625" cy="1746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0" name="Oval 1842">
                <a:extLst>
                  <a:ext uri="{FF2B5EF4-FFF2-40B4-BE49-F238E27FC236}">
                    <a16:creationId xmlns:a16="http://schemas.microsoft.com/office/drawing/2014/main" id="{35D6F4B1-A135-DCD7-1A0D-67AA5A2B3D6D}"/>
                  </a:ext>
                </a:extLst>
              </p:cNvPr>
              <p:cNvSpPr>
                <a:spLocks noChangeArrowheads="1"/>
              </p:cNvSpPr>
              <p:nvPr/>
            </p:nvSpPr>
            <p:spPr bwMode="auto">
              <a:xfrm>
                <a:off x="8466297" y="6096908"/>
                <a:ext cx="82550" cy="82550"/>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2" name="Freeform 1843">
                <a:extLst>
                  <a:ext uri="{FF2B5EF4-FFF2-40B4-BE49-F238E27FC236}">
                    <a16:creationId xmlns:a16="http://schemas.microsoft.com/office/drawing/2014/main" id="{D0AA1CD3-4F6E-8D26-4488-E6B0B272834B}"/>
                  </a:ext>
                </a:extLst>
              </p:cNvPr>
              <p:cNvSpPr>
                <a:spLocks/>
              </p:cNvSpPr>
              <p:nvPr/>
            </p:nvSpPr>
            <p:spPr bwMode="auto">
              <a:xfrm>
                <a:off x="7518559" y="6000070"/>
                <a:ext cx="558800" cy="95250"/>
              </a:xfrm>
              <a:custGeom>
                <a:avLst/>
                <a:gdLst>
                  <a:gd name="T0" fmla="*/ 45 w 352"/>
                  <a:gd name="T1" fmla="*/ 0 h 60"/>
                  <a:gd name="T2" fmla="*/ 0 w 352"/>
                  <a:gd name="T3" fmla="*/ 55 h 60"/>
                  <a:gd name="T4" fmla="*/ 2 w 352"/>
                  <a:gd name="T5" fmla="*/ 60 h 60"/>
                  <a:gd name="T6" fmla="*/ 352 w 352"/>
                  <a:gd name="T7" fmla="*/ 60 h 60"/>
                  <a:gd name="T8" fmla="*/ 305 w 352"/>
                  <a:gd name="T9" fmla="*/ 0 h 60"/>
                  <a:gd name="T10" fmla="*/ 45 w 352"/>
                  <a:gd name="T11" fmla="*/ 0 h 60"/>
                </a:gdLst>
                <a:ahLst/>
                <a:cxnLst>
                  <a:cxn ang="0">
                    <a:pos x="T0" y="T1"/>
                  </a:cxn>
                  <a:cxn ang="0">
                    <a:pos x="T2" y="T3"/>
                  </a:cxn>
                  <a:cxn ang="0">
                    <a:pos x="T4" y="T5"/>
                  </a:cxn>
                  <a:cxn ang="0">
                    <a:pos x="T6" y="T7"/>
                  </a:cxn>
                  <a:cxn ang="0">
                    <a:pos x="T8" y="T9"/>
                  </a:cxn>
                  <a:cxn ang="0">
                    <a:pos x="T10" y="T11"/>
                  </a:cxn>
                </a:cxnLst>
                <a:rect l="0" t="0" r="r" b="b"/>
                <a:pathLst>
                  <a:path w="352" h="60">
                    <a:moveTo>
                      <a:pt x="45" y="0"/>
                    </a:moveTo>
                    <a:lnTo>
                      <a:pt x="0" y="55"/>
                    </a:lnTo>
                    <a:lnTo>
                      <a:pt x="2" y="60"/>
                    </a:lnTo>
                    <a:lnTo>
                      <a:pt x="352" y="60"/>
                    </a:lnTo>
                    <a:lnTo>
                      <a:pt x="305" y="0"/>
                    </a:lnTo>
                    <a:lnTo>
                      <a:pt x="45"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3" name="Freeform 1844">
                <a:extLst>
                  <a:ext uri="{FF2B5EF4-FFF2-40B4-BE49-F238E27FC236}">
                    <a16:creationId xmlns:a16="http://schemas.microsoft.com/office/drawing/2014/main" id="{3AF36008-70F7-310E-5F9C-887DA1C25CA9}"/>
                  </a:ext>
                </a:extLst>
              </p:cNvPr>
              <p:cNvSpPr>
                <a:spLocks/>
              </p:cNvSpPr>
              <p:nvPr/>
            </p:nvSpPr>
            <p:spPr bwMode="auto">
              <a:xfrm>
                <a:off x="7386797" y="5647645"/>
                <a:ext cx="779463" cy="293688"/>
              </a:xfrm>
              <a:custGeom>
                <a:avLst/>
                <a:gdLst>
                  <a:gd name="T0" fmla="*/ 62 w 491"/>
                  <a:gd name="T1" fmla="*/ 0 h 185"/>
                  <a:gd name="T2" fmla="*/ 0 w 491"/>
                  <a:gd name="T3" fmla="*/ 185 h 185"/>
                  <a:gd name="T4" fmla="*/ 49 w 491"/>
                  <a:gd name="T5" fmla="*/ 185 h 185"/>
                  <a:gd name="T6" fmla="*/ 102 w 491"/>
                  <a:gd name="T7" fmla="*/ 36 h 185"/>
                  <a:gd name="T8" fmla="*/ 147 w 491"/>
                  <a:gd name="T9" fmla="*/ 36 h 185"/>
                  <a:gd name="T10" fmla="*/ 95 w 491"/>
                  <a:gd name="T11" fmla="*/ 185 h 185"/>
                  <a:gd name="T12" fmla="*/ 143 w 491"/>
                  <a:gd name="T13" fmla="*/ 185 h 185"/>
                  <a:gd name="T14" fmla="*/ 195 w 491"/>
                  <a:gd name="T15" fmla="*/ 36 h 185"/>
                  <a:gd name="T16" fmla="*/ 241 w 491"/>
                  <a:gd name="T17" fmla="*/ 36 h 185"/>
                  <a:gd name="T18" fmla="*/ 188 w 491"/>
                  <a:gd name="T19" fmla="*/ 185 h 185"/>
                  <a:gd name="T20" fmla="*/ 238 w 491"/>
                  <a:gd name="T21" fmla="*/ 185 h 185"/>
                  <a:gd name="T22" fmla="*/ 290 w 491"/>
                  <a:gd name="T23" fmla="*/ 36 h 185"/>
                  <a:gd name="T24" fmla="*/ 335 w 491"/>
                  <a:gd name="T25" fmla="*/ 36 h 185"/>
                  <a:gd name="T26" fmla="*/ 283 w 491"/>
                  <a:gd name="T27" fmla="*/ 185 h 185"/>
                  <a:gd name="T28" fmla="*/ 331 w 491"/>
                  <a:gd name="T29" fmla="*/ 185 h 185"/>
                  <a:gd name="T30" fmla="*/ 383 w 491"/>
                  <a:gd name="T31" fmla="*/ 36 h 185"/>
                  <a:gd name="T32" fmla="*/ 429 w 491"/>
                  <a:gd name="T33" fmla="*/ 36 h 185"/>
                  <a:gd name="T34" fmla="*/ 376 w 491"/>
                  <a:gd name="T35" fmla="*/ 185 h 185"/>
                  <a:gd name="T36" fmla="*/ 426 w 491"/>
                  <a:gd name="T37" fmla="*/ 185 h 185"/>
                  <a:gd name="T38" fmla="*/ 491 w 491"/>
                  <a:gd name="T39" fmla="*/ 0 h 185"/>
                  <a:gd name="T40" fmla="*/ 62 w 491"/>
                  <a:gd name="T4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1" h="185">
                    <a:moveTo>
                      <a:pt x="62" y="0"/>
                    </a:moveTo>
                    <a:lnTo>
                      <a:pt x="0" y="185"/>
                    </a:lnTo>
                    <a:lnTo>
                      <a:pt x="49" y="185"/>
                    </a:lnTo>
                    <a:lnTo>
                      <a:pt x="102" y="36"/>
                    </a:lnTo>
                    <a:lnTo>
                      <a:pt x="147" y="36"/>
                    </a:lnTo>
                    <a:lnTo>
                      <a:pt x="95" y="185"/>
                    </a:lnTo>
                    <a:lnTo>
                      <a:pt x="143" y="185"/>
                    </a:lnTo>
                    <a:lnTo>
                      <a:pt x="195" y="36"/>
                    </a:lnTo>
                    <a:lnTo>
                      <a:pt x="241" y="36"/>
                    </a:lnTo>
                    <a:lnTo>
                      <a:pt x="188" y="185"/>
                    </a:lnTo>
                    <a:lnTo>
                      <a:pt x="238" y="185"/>
                    </a:lnTo>
                    <a:lnTo>
                      <a:pt x="290" y="36"/>
                    </a:lnTo>
                    <a:lnTo>
                      <a:pt x="335" y="36"/>
                    </a:lnTo>
                    <a:lnTo>
                      <a:pt x="283" y="185"/>
                    </a:lnTo>
                    <a:lnTo>
                      <a:pt x="331" y="185"/>
                    </a:lnTo>
                    <a:lnTo>
                      <a:pt x="383" y="36"/>
                    </a:lnTo>
                    <a:lnTo>
                      <a:pt x="429" y="36"/>
                    </a:lnTo>
                    <a:lnTo>
                      <a:pt x="376" y="185"/>
                    </a:lnTo>
                    <a:lnTo>
                      <a:pt x="426" y="185"/>
                    </a:lnTo>
                    <a:lnTo>
                      <a:pt x="491" y="0"/>
                    </a:lnTo>
                    <a:lnTo>
                      <a:pt x="62"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4" name="Freeform 1845">
                <a:extLst>
                  <a:ext uri="{FF2B5EF4-FFF2-40B4-BE49-F238E27FC236}">
                    <a16:creationId xmlns:a16="http://schemas.microsoft.com/office/drawing/2014/main" id="{4C6866E2-F3FB-879C-F04B-3AAF23484625}"/>
                  </a:ext>
                </a:extLst>
              </p:cNvPr>
              <p:cNvSpPr>
                <a:spLocks/>
              </p:cNvSpPr>
              <p:nvPr/>
            </p:nvSpPr>
            <p:spPr bwMode="auto">
              <a:xfrm>
                <a:off x="7464584" y="5704795"/>
                <a:ext cx="155575" cy="236538"/>
              </a:xfrm>
              <a:custGeom>
                <a:avLst/>
                <a:gdLst>
                  <a:gd name="T0" fmla="*/ 53 w 98"/>
                  <a:gd name="T1" fmla="*/ 0 h 149"/>
                  <a:gd name="T2" fmla="*/ 0 w 98"/>
                  <a:gd name="T3" fmla="*/ 149 h 149"/>
                  <a:gd name="T4" fmla="*/ 46 w 98"/>
                  <a:gd name="T5" fmla="*/ 149 h 149"/>
                  <a:gd name="T6" fmla="*/ 98 w 98"/>
                  <a:gd name="T7" fmla="*/ 0 h 149"/>
                  <a:gd name="T8" fmla="*/ 53 w 98"/>
                  <a:gd name="T9" fmla="*/ 0 h 149"/>
                </a:gdLst>
                <a:ahLst/>
                <a:cxnLst>
                  <a:cxn ang="0">
                    <a:pos x="T0" y="T1"/>
                  </a:cxn>
                  <a:cxn ang="0">
                    <a:pos x="T2" y="T3"/>
                  </a:cxn>
                  <a:cxn ang="0">
                    <a:pos x="T4" y="T5"/>
                  </a:cxn>
                  <a:cxn ang="0">
                    <a:pos x="T6" y="T7"/>
                  </a:cxn>
                  <a:cxn ang="0">
                    <a:pos x="T8" y="T9"/>
                  </a:cxn>
                </a:cxnLst>
                <a:rect l="0" t="0" r="r" b="b"/>
                <a:pathLst>
                  <a:path w="98" h="149">
                    <a:moveTo>
                      <a:pt x="53" y="0"/>
                    </a:moveTo>
                    <a:lnTo>
                      <a:pt x="0" y="149"/>
                    </a:lnTo>
                    <a:lnTo>
                      <a:pt x="46" y="149"/>
                    </a:lnTo>
                    <a:lnTo>
                      <a:pt x="98" y="0"/>
                    </a:lnTo>
                    <a:lnTo>
                      <a:pt x="53"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5" name="Freeform 1846">
                <a:extLst>
                  <a:ext uri="{FF2B5EF4-FFF2-40B4-BE49-F238E27FC236}">
                    <a16:creationId xmlns:a16="http://schemas.microsoft.com/office/drawing/2014/main" id="{46C4AB3B-7837-463A-AE2A-F1F2056721FD}"/>
                  </a:ext>
                </a:extLst>
              </p:cNvPr>
              <p:cNvSpPr>
                <a:spLocks/>
              </p:cNvSpPr>
              <p:nvPr/>
            </p:nvSpPr>
            <p:spPr bwMode="auto">
              <a:xfrm>
                <a:off x="761380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6" name="Freeform 1847">
                <a:extLst>
                  <a:ext uri="{FF2B5EF4-FFF2-40B4-BE49-F238E27FC236}">
                    <a16:creationId xmlns:a16="http://schemas.microsoft.com/office/drawing/2014/main" id="{748C84A5-B3CF-6ED6-3D30-4AF788274A95}"/>
                  </a:ext>
                </a:extLst>
              </p:cNvPr>
              <p:cNvSpPr>
                <a:spLocks/>
              </p:cNvSpPr>
              <p:nvPr/>
            </p:nvSpPr>
            <p:spPr bwMode="auto">
              <a:xfrm>
                <a:off x="7764622" y="5704795"/>
                <a:ext cx="153988" cy="236538"/>
              </a:xfrm>
              <a:custGeom>
                <a:avLst/>
                <a:gdLst>
                  <a:gd name="T0" fmla="*/ 52 w 97"/>
                  <a:gd name="T1" fmla="*/ 0 h 149"/>
                  <a:gd name="T2" fmla="*/ 0 w 97"/>
                  <a:gd name="T3" fmla="*/ 149 h 149"/>
                  <a:gd name="T4" fmla="*/ 45 w 97"/>
                  <a:gd name="T5" fmla="*/ 149 h 149"/>
                  <a:gd name="T6" fmla="*/ 97 w 97"/>
                  <a:gd name="T7" fmla="*/ 0 h 149"/>
                  <a:gd name="T8" fmla="*/ 52 w 97"/>
                  <a:gd name="T9" fmla="*/ 0 h 149"/>
                </a:gdLst>
                <a:ahLst/>
                <a:cxnLst>
                  <a:cxn ang="0">
                    <a:pos x="T0" y="T1"/>
                  </a:cxn>
                  <a:cxn ang="0">
                    <a:pos x="T2" y="T3"/>
                  </a:cxn>
                  <a:cxn ang="0">
                    <a:pos x="T4" y="T5"/>
                  </a:cxn>
                  <a:cxn ang="0">
                    <a:pos x="T6" y="T7"/>
                  </a:cxn>
                  <a:cxn ang="0">
                    <a:pos x="T8" y="T9"/>
                  </a:cxn>
                </a:cxnLst>
                <a:rect l="0" t="0" r="r" b="b"/>
                <a:pathLst>
                  <a:path w="97" h="149">
                    <a:moveTo>
                      <a:pt x="52" y="0"/>
                    </a:moveTo>
                    <a:lnTo>
                      <a:pt x="0" y="149"/>
                    </a:lnTo>
                    <a:lnTo>
                      <a:pt x="45" y="149"/>
                    </a:lnTo>
                    <a:lnTo>
                      <a:pt x="97" y="0"/>
                    </a:lnTo>
                    <a:lnTo>
                      <a:pt x="52"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7" name="Freeform 1848">
                <a:extLst>
                  <a:ext uri="{FF2B5EF4-FFF2-40B4-BE49-F238E27FC236}">
                    <a16:creationId xmlns:a16="http://schemas.microsoft.com/office/drawing/2014/main" id="{B8471479-26A8-BC1F-53D0-A74487AD1AE2}"/>
                  </a:ext>
                </a:extLst>
              </p:cNvPr>
              <p:cNvSpPr>
                <a:spLocks/>
              </p:cNvSpPr>
              <p:nvPr/>
            </p:nvSpPr>
            <p:spPr bwMode="auto">
              <a:xfrm>
                <a:off x="791225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8" name="Freeform 1849">
                <a:extLst>
                  <a:ext uri="{FF2B5EF4-FFF2-40B4-BE49-F238E27FC236}">
                    <a16:creationId xmlns:a16="http://schemas.microsoft.com/office/drawing/2014/main" id="{36211583-DEB6-36D7-3946-96FF43752D9C}"/>
                  </a:ext>
                </a:extLst>
              </p:cNvPr>
              <p:cNvSpPr>
                <a:spLocks/>
              </p:cNvSpPr>
              <p:nvPr/>
            </p:nvSpPr>
            <p:spPr bwMode="auto">
              <a:xfrm>
                <a:off x="7386797" y="5647645"/>
                <a:ext cx="779463" cy="293688"/>
              </a:xfrm>
              <a:custGeom>
                <a:avLst/>
                <a:gdLst>
                  <a:gd name="T0" fmla="*/ 62 w 491"/>
                  <a:gd name="T1" fmla="*/ 0 h 185"/>
                  <a:gd name="T2" fmla="*/ 0 w 491"/>
                  <a:gd name="T3" fmla="*/ 185 h 185"/>
                  <a:gd name="T4" fmla="*/ 49 w 491"/>
                  <a:gd name="T5" fmla="*/ 185 h 185"/>
                  <a:gd name="T6" fmla="*/ 102 w 491"/>
                  <a:gd name="T7" fmla="*/ 36 h 185"/>
                  <a:gd name="T8" fmla="*/ 147 w 491"/>
                  <a:gd name="T9" fmla="*/ 36 h 185"/>
                  <a:gd name="T10" fmla="*/ 95 w 491"/>
                  <a:gd name="T11" fmla="*/ 185 h 185"/>
                  <a:gd name="T12" fmla="*/ 143 w 491"/>
                  <a:gd name="T13" fmla="*/ 185 h 185"/>
                  <a:gd name="T14" fmla="*/ 195 w 491"/>
                  <a:gd name="T15" fmla="*/ 36 h 185"/>
                  <a:gd name="T16" fmla="*/ 241 w 491"/>
                  <a:gd name="T17" fmla="*/ 36 h 185"/>
                  <a:gd name="T18" fmla="*/ 188 w 491"/>
                  <a:gd name="T19" fmla="*/ 185 h 185"/>
                  <a:gd name="T20" fmla="*/ 238 w 491"/>
                  <a:gd name="T21" fmla="*/ 185 h 185"/>
                  <a:gd name="T22" fmla="*/ 290 w 491"/>
                  <a:gd name="T23" fmla="*/ 36 h 185"/>
                  <a:gd name="T24" fmla="*/ 335 w 491"/>
                  <a:gd name="T25" fmla="*/ 36 h 185"/>
                  <a:gd name="T26" fmla="*/ 283 w 491"/>
                  <a:gd name="T27" fmla="*/ 185 h 185"/>
                  <a:gd name="T28" fmla="*/ 331 w 491"/>
                  <a:gd name="T29" fmla="*/ 185 h 185"/>
                  <a:gd name="T30" fmla="*/ 383 w 491"/>
                  <a:gd name="T31" fmla="*/ 36 h 185"/>
                  <a:gd name="T32" fmla="*/ 429 w 491"/>
                  <a:gd name="T33" fmla="*/ 36 h 185"/>
                  <a:gd name="T34" fmla="*/ 376 w 491"/>
                  <a:gd name="T35" fmla="*/ 185 h 185"/>
                  <a:gd name="T36" fmla="*/ 426 w 491"/>
                  <a:gd name="T37" fmla="*/ 185 h 185"/>
                  <a:gd name="T38" fmla="*/ 491 w 491"/>
                  <a:gd name="T39" fmla="*/ 0 h 185"/>
                  <a:gd name="T40" fmla="*/ 62 w 491"/>
                  <a:gd name="T4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1" h="185">
                    <a:moveTo>
                      <a:pt x="62" y="0"/>
                    </a:moveTo>
                    <a:lnTo>
                      <a:pt x="0" y="185"/>
                    </a:lnTo>
                    <a:lnTo>
                      <a:pt x="49" y="185"/>
                    </a:lnTo>
                    <a:lnTo>
                      <a:pt x="102" y="36"/>
                    </a:lnTo>
                    <a:lnTo>
                      <a:pt x="147" y="36"/>
                    </a:lnTo>
                    <a:lnTo>
                      <a:pt x="95" y="185"/>
                    </a:lnTo>
                    <a:lnTo>
                      <a:pt x="143" y="185"/>
                    </a:lnTo>
                    <a:lnTo>
                      <a:pt x="195" y="36"/>
                    </a:lnTo>
                    <a:lnTo>
                      <a:pt x="241" y="36"/>
                    </a:lnTo>
                    <a:lnTo>
                      <a:pt x="188" y="185"/>
                    </a:lnTo>
                    <a:lnTo>
                      <a:pt x="238" y="185"/>
                    </a:lnTo>
                    <a:lnTo>
                      <a:pt x="290" y="36"/>
                    </a:lnTo>
                    <a:lnTo>
                      <a:pt x="335" y="36"/>
                    </a:lnTo>
                    <a:lnTo>
                      <a:pt x="283" y="185"/>
                    </a:lnTo>
                    <a:lnTo>
                      <a:pt x="331" y="185"/>
                    </a:lnTo>
                    <a:lnTo>
                      <a:pt x="383" y="36"/>
                    </a:lnTo>
                    <a:lnTo>
                      <a:pt x="429" y="36"/>
                    </a:lnTo>
                    <a:lnTo>
                      <a:pt x="376" y="185"/>
                    </a:lnTo>
                    <a:lnTo>
                      <a:pt x="426" y="185"/>
                    </a:lnTo>
                    <a:lnTo>
                      <a:pt x="491" y="0"/>
                    </a:lnTo>
                    <a:lnTo>
                      <a:pt x="62"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69" name="Freeform 1850">
                <a:extLst>
                  <a:ext uri="{FF2B5EF4-FFF2-40B4-BE49-F238E27FC236}">
                    <a16:creationId xmlns:a16="http://schemas.microsoft.com/office/drawing/2014/main" id="{C514F7D7-46FF-181D-2116-869BA5CBC384}"/>
                  </a:ext>
                </a:extLst>
              </p:cNvPr>
              <p:cNvSpPr>
                <a:spLocks/>
              </p:cNvSpPr>
              <p:nvPr/>
            </p:nvSpPr>
            <p:spPr bwMode="auto">
              <a:xfrm>
                <a:off x="7464584" y="5704795"/>
                <a:ext cx="155575" cy="236538"/>
              </a:xfrm>
              <a:custGeom>
                <a:avLst/>
                <a:gdLst>
                  <a:gd name="T0" fmla="*/ 53 w 98"/>
                  <a:gd name="T1" fmla="*/ 0 h 149"/>
                  <a:gd name="T2" fmla="*/ 0 w 98"/>
                  <a:gd name="T3" fmla="*/ 149 h 149"/>
                  <a:gd name="T4" fmla="*/ 46 w 98"/>
                  <a:gd name="T5" fmla="*/ 149 h 149"/>
                  <a:gd name="T6" fmla="*/ 98 w 98"/>
                  <a:gd name="T7" fmla="*/ 0 h 149"/>
                  <a:gd name="T8" fmla="*/ 53 w 98"/>
                  <a:gd name="T9" fmla="*/ 0 h 149"/>
                </a:gdLst>
                <a:ahLst/>
                <a:cxnLst>
                  <a:cxn ang="0">
                    <a:pos x="T0" y="T1"/>
                  </a:cxn>
                  <a:cxn ang="0">
                    <a:pos x="T2" y="T3"/>
                  </a:cxn>
                  <a:cxn ang="0">
                    <a:pos x="T4" y="T5"/>
                  </a:cxn>
                  <a:cxn ang="0">
                    <a:pos x="T6" y="T7"/>
                  </a:cxn>
                  <a:cxn ang="0">
                    <a:pos x="T8" y="T9"/>
                  </a:cxn>
                </a:cxnLst>
                <a:rect l="0" t="0" r="r" b="b"/>
                <a:pathLst>
                  <a:path w="98" h="149">
                    <a:moveTo>
                      <a:pt x="53" y="0"/>
                    </a:moveTo>
                    <a:lnTo>
                      <a:pt x="0" y="149"/>
                    </a:lnTo>
                    <a:lnTo>
                      <a:pt x="46" y="149"/>
                    </a:lnTo>
                    <a:lnTo>
                      <a:pt x="98" y="0"/>
                    </a:lnTo>
                    <a:lnTo>
                      <a:pt x="53"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0" name="Freeform 1851">
                <a:extLst>
                  <a:ext uri="{FF2B5EF4-FFF2-40B4-BE49-F238E27FC236}">
                    <a16:creationId xmlns:a16="http://schemas.microsoft.com/office/drawing/2014/main" id="{1CF59F8E-D128-72C7-F7B5-11EAA4E38D57}"/>
                  </a:ext>
                </a:extLst>
              </p:cNvPr>
              <p:cNvSpPr>
                <a:spLocks/>
              </p:cNvSpPr>
              <p:nvPr/>
            </p:nvSpPr>
            <p:spPr bwMode="auto">
              <a:xfrm>
                <a:off x="761380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1" name="Freeform 1852">
                <a:extLst>
                  <a:ext uri="{FF2B5EF4-FFF2-40B4-BE49-F238E27FC236}">
                    <a16:creationId xmlns:a16="http://schemas.microsoft.com/office/drawing/2014/main" id="{AC200BFF-1B58-34FE-E5E7-9415814D85B7}"/>
                  </a:ext>
                </a:extLst>
              </p:cNvPr>
              <p:cNvSpPr>
                <a:spLocks/>
              </p:cNvSpPr>
              <p:nvPr/>
            </p:nvSpPr>
            <p:spPr bwMode="auto">
              <a:xfrm>
                <a:off x="7764622" y="5704795"/>
                <a:ext cx="153988" cy="236538"/>
              </a:xfrm>
              <a:custGeom>
                <a:avLst/>
                <a:gdLst>
                  <a:gd name="T0" fmla="*/ 52 w 97"/>
                  <a:gd name="T1" fmla="*/ 0 h 149"/>
                  <a:gd name="T2" fmla="*/ 0 w 97"/>
                  <a:gd name="T3" fmla="*/ 149 h 149"/>
                  <a:gd name="T4" fmla="*/ 45 w 97"/>
                  <a:gd name="T5" fmla="*/ 149 h 149"/>
                  <a:gd name="T6" fmla="*/ 97 w 97"/>
                  <a:gd name="T7" fmla="*/ 0 h 149"/>
                  <a:gd name="T8" fmla="*/ 52 w 97"/>
                  <a:gd name="T9" fmla="*/ 0 h 149"/>
                </a:gdLst>
                <a:ahLst/>
                <a:cxnLst>
                  <a:cxn ang="0">
                    <a:pos x="T0" y="T1"/>
                  </a:cxn>
                  <a:cxn ang="0">
                    <a:pos x="T2" y="T3"/>
                  </a:cxn>
                  <a:cxn ang="0">
                    <a:pos x="T4" y="T5"/>
                  </a:cxn>
                  <a:cxn ang="0">
                    <a:pos x="T6" y="T7"/>
                  </a:cxn>
                  <a:cxn ang="0">
                    <a:pos x="T8" y="T9"/>
                  </a:cxn>
                </a:cxnLst>
                <a:rect l="0" t="0" r="r" b="b"/>
                <a:pathLst>
                  <a:path w="97" h="149">
                    <a:moveTo>
                      <a:pt x="52" y="0"/>
                    </a:moveTo>
                    <a:lnTo>
                      <a:pt x="0" y="149"/>
                    </a:lnTo>
                    <a:lnTo>
                      <a:pt x="45" y="149"/>
                    </a:lnTo>
                    <a:lnTo>
                      <a:pt x="97" y="0"/>
                    </a:lnTo>
                    <a:lnTo>
                      <a:pt x="52"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2" name="Freeform 1853">
                <a:extLst>
                  <a:ext uri="{FF2B5EF4-FFF2-40B4-BE49-F238E27FC236}">
                    <a16:creationId xmlns:a16="http://schemas.microsoft.com/office/drawing/2014/main" id="{7BB35995-4145-3A9E-7AAE-EDAD82AE1F41}"/>
                  </a:ext>
                </a:extLst>
              </p:cNvPr>
              <p:cNvSpPr>
                <a:spLocks/>
              </p:cNvSpPr>
              <p:nvPr/>
            </p:nvSpPr>
            <p:spPr bwMode="auto">
              <a:xfrm>
                <a:off x="7912259" y="5704795"/>
                <a:ext cx="155575" cy="236538"/>
              </a:xfrm>
              <a:custGeom>
                <a:avLst/>
                <a:gdLst>
                  <a:gd name="T0" fmla="*/ 52 w 98"/>
                  <a:gd name="T1" fmla="*/ 0 h 149"/>
                  <a:gd name="T2" fmla="*/ 0 w 98"/>
                  <a:gd name="T3" fmla="*/ 149 h 149"/>
                  <a:gd name="T4" fmla="*/ 45 w 98"/>
                  <a:gd name="T5" fmla="*/ 149 h 149"/>
                  <a:gd name="T6" fmla="*/ 98 w 98"/>
                  <a:gd name="T7" fmla="*/ 0 h 149"/>
                  <a:gd name="T8" fmla="*/ 52 w 98"/>
                  <a:gd name="T9" fmla="*/ 0 h 149"/>
                </a:gdLst>
                <a:ahLst/>
                <a:cxnLst>
                  <a:cxn ang="0">
                    <a:pos x="T0" y="T1"/>
                  </a:cxn>
                  <a:cxn ang="0">
                    <a:pos x="T2" y="T3"/>
                  </a:cxn>
                  <a:cxn ang="0">
                    <a:pos x="T4" y="T5"/>
                  </a:cxn>
                  <a:cxn ang="0">
                    <a:pos x="T6" y="T7"/>
                  </a:cxn>
                  <a:cxn ang="0">
                    <a:pos x="T8" y="T9"/>
                  </a:cxn>
                </a:cxnLst>
                <a:rect l="0" t="0" r="r" b="b"/>
                <a:pathLst>
                  <a:path w="98" h="149">
                    <a:moveTo>
                      <a:pt x="52" y="0"/>
                    </a:moveTo>
                    <a:lnTo>
                      <a:pt x="0" y="149"/>
                    </a:lnTo>
                    <a:lnTo>
                      <a:pt x="45" y="149"/>
                    </a:lnTo>
                    <a:lnTo>
                      <a:pt x="98" y="0"/>
                    </a:lnTo>
                    <a:lnTo>
                      <a:pt x="52"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3" name="Freeform 1854">
                <a:extLst>
                  <a:ext uri="{FF2B5EF4-FFF2-40B4-BE49-F238E27FC236}">
                    <a16:creationId xmlns:a16="http://schemas.microsoft.com/office/drawing/2014/main" id="{02CCEB47-DC13-1955-94AE-2734FA029405}"/>
                  </a:ext>
                </a:extLst>
              </p:cNvPr>
              <p:cNvSpPr>
                <a:spLocks/>
              </p:cNvSpPr>
              <p:nvPr/>
            </p:nvSpPr>
            <p:spPr bwMode="auto">
              <a:xfrm>
                <a:off x="7413784" y="5607958"/>
                <a:ext cx="777875" cy="58738"/>
              </a:xfrm>
              <a:custGeom>
                <a:avLst/>
                <a:gdLst>
                  <a:gd name="T0" fmla="*/ 490 w 490"/>
                  <a:gd name="T1" fmla="*/ 37 h 37"/>
                  <a:gd name="T2" fmla="*/ 0 w 490"/>
                  <a:gd name="T3" fmla="*/ 37 h 37"/>
                  <a:gd name="T4" fmla="*/ 16 w 490"/>
                  <a:gd name="T5" fmla="*/ 0 h 37"/>
                  <a:gd name="T6" fmla="*/ 490 w 490"/>
                  <a:gd name="T7" fmla="*/ 0 h 37"/>
                  <a:gd name="T8" fmla="*/ 490 w 490"/>
                  <a:gd name="T9" fmla="*/ 37 h 37"/>
                </a:gdLst>
                <a:ahLst/>
                <a:cxnLst>
                  <a:cxn ang="0">
                    <a:pos x="T0" y="T1"/>
                  </a:cxn>
                  <a:cxn ang="0">
                    <a:pos x="T2" y="T3"/>
                  </a:cxn>
                  <a:cxn ang="0">
                    <a:pos x="T4" y="T5"/>
                  </a:cxn>
                  <a:cxn ang="0">
                    <a:pos x="T6" y="T7"/>
                  </a:cxn>
                  <a:cxn ang="0">
                    <a:pos x="T8" y="T9"/>
                  </a:cxn>
                </a:cxnLst>
                <a:rect l="0" t="0" r="r" b="b"/>
                <a:pathLst>
                  <a:path w="490" h="37">
                    <a:moveTo>
                      <a:pt x="490" y="37"/>
                    </a:moveTo>
                    <a:lnTo>
                      <a:pt x="0" y="37"/>
                    </a:lnTo>
                    <a:lnTo>
                      <a:pt x="16" y="0"/>
                    </a:lnTo>
                    <a:lnTo>
                      <a:pt x="490" y="0"/>
                    </a:lnTo>
                    <a:lnTo>
                      <a:pt x="490" y="37"/>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4" name="Freeform 1855">
                <a:extLst>
                  <a:ext uri="{FF2B5EF4-FFF2-40B4-BE49-F238E27FC236}">
                    <a16:creationId xmlns:a16="http://schemas.microsoft.com/office/drawing/2014/main" id="{71CB380E-17D7-3E34-250D-9955377D4159}"/>
                  </a:ext>
                </a:extLst>
              </p:cNvPr>
              <p:cNvSpPr>
                <a:spLocks/>
              </p:cNvSpPr>
              <p:nvPr/>
            </p:nvSpPr>
            <p:spPr bwMode="auto">
              <a:xfrm>
                <a:off x="7413784" y="5607958"/>
                <a:ext cx="777875" cy="58738"/>
              </a:xfrm>
              <a:custGeom>
                <a:avLst/>
                <a:gdLst>
                  <a:gd name="T0" fmla="*/ 490 w 490"/>
                  <a:gd name="T1" fmla="*/ 37 h 37"/>
                  <a:gd name="T2" fmla="*/ 0 w 490"/>
                  <a:gd name="T3" fmla="*/ 37 h 37"/>
                  <a:gd name="T4" fmla="*/ 16 w 490"/>
                  <a:gd name="T5" fmla="*/ 0 h 37"/>
                  <a:gd name="T6" fmla="*/ 490 w 490"/>
                  <a:gd name="T7" fmla="*/ 0 h 37"/>
                  <a:gd name="T8" fmla="*/ 490 w 490"/>
                  <a:gd name="T9" fmla="*/ 37 h 37"/>
                </a:gdLst>
                <a:ahLst/>
                <a:cxnLst>
                  <a:cxn ang="0">
                    <a:pos x="T0" y="T1"/>
                  </a:cxn>
                  <a:cxn ang="0">
                    <a:pos x="T2" y="T3"/>
                  </a:cxn>
                  <a:cxn ang="0">
                    <a:pos x="T4" y="T5"/>
                  </a:cxn>
                  <a:cxn ang="0">
                    <a:pos x="T6" y="T7"/>
                  </a:cxn>
                  <a:cxn ang="0">
                    <a:pos x="T8" y="T9"/>
                  </a:cxn>
                </a:cxnLst>
                <a:rect l="0" t="0" r="r" b="b"/>
                <a:pathLst>
                  <a:path w="490" h="37">
                    <a:moveTo>
                      <a:pt x="490" y="37"/>
                    </a:moveTo>
                    <a:lnTo>
                      <a:pt x="0" y="37"/>
                    </a:lnTo>
                    <a:lnTo>
                      <a:pt x="16" y="0"/>
                    </a:lnTo>
                    <a:lnTo>
                      <a:pt x="490" y="0"/>
                    </a:lnTo>
                    <a:lnTo>
                      <a:pt x="490" y="37"/>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5" name="Freeform 1856">
                <a:extLst>
                  <a:ext uri="{FF2B5EF4-FFF2-40B4-BE49-F238E27FC236}">
                    <a16:creationId xmlns:a16="http://schemas.microsoft.com/office/drawing/2014/main" id="{95D90755-D3CF-9A44-1226-41FB5A0DEE60}"/>
                  </a:ext>
                </a:extLst>
              </p:cNvPr>
              <p:cNvSpPr>
                <a:spLocks/>
              </p:cNvSpPr>
              <p:nvPr/>
            </p:nvSpPr>
            <p:spPr bwMode="auto">
              <a:xfrm>
                <a:off x="8215472" y="5552395"/>
                <a:ext cx="185738" cy="55563"/>
              </a:xfrm>
              <a:custGeom>
                <a:avLst/>
                <a:gdLst>
                  <a:gd name="T0" fmla="*/ 83 w 117"/>
                  <a:gd name="T1" fmla="*/ 35 h 35"/>
                  <a:gd name="T2" fmla="*/ 0 w 117"/>
                  <a:gd name="T3" fmla="*/ 35 h 35"/>
                  <a:gd name="T4" fmla="*/ 0 w 117"/>
                  <a:gd name="T5" fmla="*/ 0 h 35"/>
                  <a:gd name="T6" fmla="*/ 117 w 117"/>
                  <a:gd name="T7" fmla="*/ 0 h 35"/>
                  <a:gd name="T8" fmla="*/ 83 w 117"/>
                  <a:gd name="T9" fmla="*/ 35 h 35"/>
                </a:gdLst>
                <a:ahLst/>
                <a:cxnLst>
                  <a:cxn ang="0">
                    <a:pos x="T0" y="T1"/>
                  </a:cxn>
                  <a:cxn ang="0">
                    <a:pos x="T2" y="T3"/>
                  </a:cxn>
                  <a:cxn ang="0">
                    <a:pos x="T4" y="T5"/>
                  </a:cxn>
                  <a:cxn ang="0">
                    <a:pos x="T6" y="T7"/>
                  </a:cxn>
                  <a:cxn ang="0">
                    <a:pos x="T8" y="T9"/>
                  </a:cxn>
                </a:cxnLst>
                <a:rect l="0" t="0" r="r" b="b"/>
                <a:pathLst>
                  <a:path w="117" h="35">
                    <a:moveTo>
                      <a:pt x="83" y="35"/>
                    </a:moveTo>
                    <a:lnTo>
                      <a:pt x="0" y="35"/>
                    </a:lnTo>
                    <a:lnTo>
                      <a:pt x="0" y="0"/>
                    </a:lnTo>
                    <a:lnTo>
                      <a:pt x="117" y="0"/>
                    </a:lnTo>
                    <a:lnTo>
                      <a:pt x="83" y="35"/>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6" name="Freeform 1857">
                <a:extLst>
                  <a:ext uri="{FF2B5EF4-FFF2-40B4-BE49-F238E27FC236}">
                    <a16:creationId xmlns:a16="http://schemas.microsoft.com/office/drawing/2014/main" id="{0A79C21C-9461-6744-9B55-42FFA9D952E6}"/>
                  </a:ext>
                </a:extLst>
              </p:cNvPr>
              <p:cNvSpPr>
                <a:spLocks/>
              </p:cNvSpPr>
              <p:nvPr/>
            </p:nvSpPr>
            <p:spPr bwMode="auto">
              <a:xfrm>
                <a:off x="8215472" y="5552395"/>
                <a:ext cx="185738" cy="55563"/>
              </a:xfrm>
              <a:custGeom>
                <a:avLst/>
                <a:gdLst>
                  <a:gd name="T0" fmla="*/ 83 w 117"/>
                  <a:gd name="T1" fmla="*/ 35 h 35"/>
                  <a:gd name="T2" fmla="*/ 0 w 117"/>
                  <a:gd name="T3" fmla="*/ 35 h 35"/>
                  <a:gd name="T4" fmla="*/ 0 w 117"/>
                  <a:gd name="T5" fmla="*/ 0 h 35"/>
                  <a:gd name="T6" fmla="*/ 117 w 117"/>
                  <a:gd name="T7" fmla="*/ 0 h 35"/>
                  <a:gd name="T8" fmla="*/ 83 w 117"/>
                  <a:gd name="T9" fmla="*/ 35 h 35"/>
                </a:gdLst>
                <a:ahLst/>
                <a:cxnLst>
                  <a:cxn ang="0">
                    <a:pos x="T0" y="T1"/>
                  </a:cxn>
                  <a:cxn ang="0">
                    <a:pos x="T2" y="T3"/>
                  </a:cxn>
                  <a:cxn ang="0">
                    <a:pos x="T4" y="T5"/>
                  </a:cxn>
                  <a:cxn ang="0">
                    <a:pos x="T6" y="T7"/>
                  </a:cxn>
                  <a:cxn ang="0">
                    <a:pos x="T8" y="T9"/>
                  </a:cxn>
                </a:cxnLst>
                <a:rect l="0" t="0" r="r" b="b"/>
                <a:pathLst>
                  <a:path w="117" h="35">
                    <a:moveTo>
                      <a:pt x="83" y="35"/>
                    </a:moveTo>
                    <a:lnTo>
                      <a:pt x="0" y="35"/>
                    </a:lnTo>
                    <a:lnTo>
                      <a:pt x="0" y="0"/>
                    </a:lnTo>
                    <a:lnTo>
                      <a:pt x="117" y="0"/>
                    </a:lnTo>
                    <a:lnTo>
                      <a:pt x="83" y="35"/>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7" name="Freeform 1858">
                <a:extLst>
                  <a:ext uri="{FF2B5EF4-FFF2-40B4-BE49-F238E27FC236}">
                    <a16:creationId xmlns:a16="http://schemas.microsoft.com/office/drawing/2014/main" id="{21118C02-83BE-519B-0900-9A7A6E757ADC}"/>
                  </a:ext>
                </a:extLst>
              </p:cNvPr>
              <p:cNvSpPr>
                <a:spLocks/>
              </p:cNvSpPr>
              <p:nvPr/>
            </p:nvSpPr>
            <p:spPr bwMode="auto">
              <a:xfrm>
                <a:off x="8063072" y="5552395"/>
                <a:ext cx="207963" cy="388938"/>
              </a:xfrm>
              <a:custGeom>
                <a:avLst/>
                <a:gdLst>
                  <a:gd name="T0" fmla="*/ 86 w 131"/>
                  <a:gd name="T1" fmla="*/ 0 h 245"/>
                  <a:gd name="T2" fmla="*/ 0 w 131"/>
                  <a:gd name="T3" fmla="*/ 245 h 245"/>
                  <a:gd name="T4" fmla="*/ 45 w 131"/>
                  <a:gd name="T5" fmla="*/ 245 h 245"/>
                  <a:gd name="T6" fmla="*/ 131 w 131"/>
                  <a:gd name="T7" fmla="*/ 0 h 245"/>
                  <a:gd name="T8" fmla="*/ 86 w 131"/>
                  <a:gd name="T9" fmla="*/ 0 h 245"/>
                </a:gdLst>
                <a:ahLst/>
                <a:cxnLst>
                  <a:cxn ang="0">
                    <a:pos x="T0" y="T1"/>
                  </a:cxn>
                  <a:cxn ang="0">
                    <a:pos x="T2" y="T3"/>
                  </a:cxn>
                  <a:cxn ang="0">
                    <a:pos x="T4" y="T5"/>
                  </a:cxn>
                  <a:cxn ang="0">
                    <a:pos x="T6" y="T7"/>
                  </a:cxn>
                  <a:cxn ang="0">
                    <a:pos x="T8" y="T9"/>
                  </a:cxn>
                </a:cxnLst>
                <a:rect l="0" t="0" r="r" b="b"/>
                <a:pathLst>
                  <a:path w="131" h="245">
                    <a:moveTo>
                      <a:pt x="86" y="0"/>
                    </a:moveTo>
                    <a:lnTo>
                      <a:pt x="0" y="245"/>
                    </a:lnTo>
                    <a:lnTo>
                      <a:pt x="45" y="245"/>
                    </a:lnTo>
                    <a:lnTo>
                      <a:pt x="131" y="0"/>
                    </a:lnTo>
                    <a:lnTo>
                      <a:pt x="86"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8" name="Freeform 1859">
                <a:extLst>
                  <a:ext uri="{FF2B5EF4-FFF2-40B4-BE49-F238E27FC236}">
                    <a16:creationId xmlns:a16="http://schemas.microsoft.com/office/drawing/2014/main" id="{3A6FF3C6-388D-8A24-B338-A4870993B85C}"/>
                  </a:ext>
                </a:extLst>
              </p:cNvPr>
              <p:cNvSpPr>
                <a:spLocks/>
              </p:cNvSpPr>
              <p:nvPr/>
            </p:nvSpPr>
            <p:spPr bwMode="auto">
              <a:xfrm>
                <a:off x="8063072" y="5552395"/>
                <a:ext cx="207963" cy="388938"/>
              </a:xfrm>
              <a:custGeom>
                <a:avLst/>
                <a:gdLst>
                  <a:gd name="T0" fmla="*/ 86 w 131"/>
                  <a:gd name="T1" fmla="*/ 0 h 245"/>
                  <a:gd name="T2" fmla="*/ 0 w 131"/>
                  <a:gd name="T3" fmla="*/ 245 h 245"/>
                  <a:gd name="T4" fmla="*/ 45 w 131"/>
                  <a:gd name="T5" fmla="*/ 245 h 245"/>
                  <a:gd name="T6" fmla="*/ 131 w 131"/>
                  <a:gd name="T7" fmla="*/ 0 h 245"/>
                  <a:gd name="T8" fmla="*/ 86 w 131"/>
                  <a:gd name="T9" fmla="*/ 0 h 245"/>
                </a:gdLst>
                <a:ahLst/>
                <a:cxnLst>
                  <a:cxn ang="0">
                    <a:pos x="T0" y="T1"/>
                  </a:cxn>
                  <a:cxn ang="0">
                    <a:pos x="T2" y="T3"/>
                  </a:cxn>
                  <a:cxn ang="0">
                    <a:pos x="T4" y="T5"/>
                  </a:cxn>
                  <a:cxn ang="0">
                    <a:pos x="T6" y="T7"/>
                  </a:cxn>
                  <a:cxn ang="0">
                    <a:pos x="T8" y="T9"/>
                  </a:cxn>
                </a:cxnLst>
                <a:rect l="0" t="0" r="r" b="b"/>
                <a:pathLst>
                  <a:path w="131" h="245">
                    <a:moveTo>
                      <a:pt x="86" y="0"/>
                    </a:moveTo>
                    <a:lnTo>
                      <a:pt x="0" y="245"/>
                    </a:lnTo>
                    <a:lnTo>
                      <a:pt x="45" y="245"/>
                    </a:lnTo>
                    <a:lnTo>
                      <a:pt x="131" y="0"/>
                    </a:lnTo>
                    <a:lnTo>
                      <a:pt x="86"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79" name="Oval 1861">
                <a:extLst>
                  <a:ext uri="{FF2B5EF4-FFF2-40B4-BE49-F238E27FC236}">
                    <a16:creationId xmlns:a16="http://schemas.microsoft.com/office/drawing/2014/main" id="{DE102580-BFDD-425A-FFCB-EE5FB9919A80}"/>
                  </a:ext>
                </a:extLst>
              </p:cNvPr>
              <p:cNvSpPr>
                <a:spLocks noChangeArrowheads="1"/>
              </p:cNvSpPr>
              <p:nvPr/>
            </p:nvSpPr>
            <p:spPr bwMode="auto">
              <a:xfrm>
                <a:off x="7872572" y="6096907"/>
                <a:ext cx="82550" cy="82550"/>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0" name="Freeform 1862">
                <a:extLst>
                  <a:ext uri="{FF2B5EF4-FFF2-40B4-BE49-F238E27FC236}">
                    <a16:creationId xmlns:a16="http://schemas.microsoft.com/office/drawing/2014/main" id="{B4A764E6-F92F-5FA0-69DE-25CC6F342E59}"/>
                  </a:ext>
                </a:extLst>
              </p:cNvPr>
              <p:cNvSpPr>
                <a:spLocks noEditPoints="1"/>
              </p:cNvSpPr>
              <p:nvPr/>
            </p:nvSpPr>
            <p:spPr bwMode="auto">
              <a:xfrm>
                <a:off x="7828122" y="6049282"/>
                <a:ext cx="174625" cy="174625"/>
              </a:xfrm>
              <a:custGeom>
                <a:avLst/>
                <a:gdLst>
                  <a:gd name="T0" fmla="*/ 46 w 93"/>
                  <a:gd name="T1" fmla="*/ 0 h 93"/>
                  <a:gd name="T2" fmla="*/ 93 w 93"/>
                  <a:gd name="T3" fmla="*/ 47 h 93"/>
                  <a:gd name="T4" fmla="*/ 46 w 93"/>
                  <a:gd name="T5" fmla="*/ 93 h 93"/>
                  <a:gd name="T6" fmla="*/ 0 w 93"/>
                  <a:gd name="T7" fmla="*/ 47 h 93"/>
                  <a:gd name="T8" fmla="*/ 46 w 93"/>
                  <a:gd name="T9" fmla="*/ 0 h 93"/>
                  <a:gd name="T10" fmla="*/ 68 w 93"/>
                  <a:gd name="T11" fmla="*/ 47 h 93"/>
                  <a:gd name="T12" fmla="*/ 46 w 93"/>
                  <a:gd name="T13" fmla="*/ 25 h 93"/>
                  <a:gd name="T14" fmla="*/ 24 w 93"/>
                  <a:gd name="T15" fmla="*/ 47 h 93"/>
                  <a:gd name="T16" fmla="*/ 46 w 93"/>
                  <a:gd name="T17" fmla="*/ 69 h 93"/>
                  <a:gd name="T18" fmla="*/ 68 w 93"/>
                  <a:gd name="T1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6" y="0"/>
                    </a:moveTo>
                    <a:cubicBezTo>
                      <a:pt x="72" y="0"/>
                      <a:pt x="93" y="21"/>
                      <a:pt x="93" y="47"/>
                    </a:cubicBezTo>
                    <a:cubicBezTo>
                      <a:pt x="93" y="72"/>
                      <a:pt x="72" y="93"/>
                      <a:pt x="46" y="93"/>
                    </a:cubicBezTo>
                    <a:cubicBezTo>
                      <a:pt x="20" y="93"/>
                      <a:pt x="0" y="72"/>
                      <a:pt x="0" y="47"/>
                    </a:cubicBezTo>
                    <a:cubicBezTo>
                      <a:pt x="0" y="21"/>
                      <a:pt x="20" y="0"/>
                      <a:pt x="46" y="0"/>
                    </a:cubicBezTo>
                    <a:close/>
                    <a:moveTo>
                      <a:pt x="68" y="47"/>
                    </a:moveTo>
                    <a:cubicBezTo>
                      <a:pt x="68" y="34"/>
                      <a:pt x="58" y="25"/>
                      <a:pt x="46" y="25"/>
                    </a:cubicBezTo>
                    <a:cubicBezTo>
                      <a:pt x="34" y="25"/>
                      <a:pt x="24" y="34"/>
                      <a:pt x="24" y="47"/>
                    </a:cubicBezTo>
                    <a:cubicBezTo>
                      <a:pt x="24" y="59"/>
                      <a:pt x="34" y="69"/>
                      <a:pt x="46" y="69"/>
                    </a:cubicBezTo>
                    <a:cubicBezTo>
                      <a:pt x="58" y="69"/>
                      <a:pt x="68" y="59"/>
                      <a:pt x="68" y="47"/>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1" name="Oval 1863">
                <a:extLst>
                  <a:ext uri="{FF2B5EF4-FFF2-40B4-BE49-F238E27FC236}">
                    <a16:creationId xmlns:a16="http://schemas.microsoft.com/office/drawing/2014/main" id="{03B14DD8-6237-526C-C295-42643AB53BDA}"/>
                  </a:ext>
                </a:extLst>
              </p:cNvPr>
              <p:cNvSpPr>
                <a:spLocks noChangeArrowheads="1"/>
              </p:cNvSpPr>
              <p:nvPr/>
            </p:nvSpPr>
            <p:spPr bwMode="auto">
              <a:xfrm>
                <a:off x="7828122" y="6049282"/>
                <a:ext cx="174625" cy="1746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2" name="Oval 1864">
                <a:extLst>
                  <a:ext uri="{FF2B5EF4-FFF2-40B4-BE49-F238E27FC236}">
                    <a16:creationId xmlns:a16="http://schemas.microsoft.com/office/drawing/2014/main" id="{3A49B6FD-455A-8DDC-205B-2765CF4855AD}"/>
                  </a:ext>
                </a:extLst>
              </p:cNvPr>
              <p:cNvSpPr>
                <a:spLocks noChangeArrowheads="1"/>
              </p:cNvSpPr>
              <p:nvPr/>
            </p:nvSpPr>
            <p:spPr bwMode="auto">
              <a:xfrm>
                <a:off x="7872572" y="6096907"/>
                <a:ext cx="82550" cy="82550"/>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3" name="Oval 1865">
                <a:extLst>
                  <a:ext uri="{FF2B5EF4-FFF2-40B4-BE49-F238E27FC236}">
                    <a16:creationId xmlns:a16="http://schemas.microsoft.com/office/drawing/2014/main" id="{EA28FB3E-E803-0BBE-BA38-C68B9610CBCA}"/>
                  </a:ext>
                </a:extLst>
              </p:cNvPr>
              <p:cNvSpPr>
                <a:spLocks noChangeArrowheads="1"/>
              </p:cNvSpPr>
              <p:nvPr/>
            </p:nvSpPr>
            <p:spPr bwMode="auto">
              <a:xfrm>
                <a:off x="7640797" y="6096907"/>
                <a:ext cx="82550" cy="82550"/>
              </a:xfrm>
              <a:prstGeom prst="ellipse">
                <a:avLst/>
              </a:pr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4" name="Freeform 1866">
                <a:extLst>
                  <a:ext uri="{FF2B5EF4-FFF2-40B4-BE49-F238E27FC236}">
                    <a16:creationId xmlns:a16="http://schemas.microsoft.com/office/drawing/2014/main" id="{FF4B371E-D235-82BE-1B2C-0255B4EF86D9}"/>
                  </a:ext>
                </a:extLst>
              </p:cNvPr>
              <p:cNvSpPr>
                <a:spLocks noEditPoints="1"/>
              </p:cNvSpPr>
              <p:nvPr/>
            </p:nvSpPr>
            <p:spPr bwMode="auto">
              <a:xfrm>
                <a:off x="7593172" y="6049282"/>
                <a:ext cx="174625" cy="174625"/>
              </a:xfrm>
              <a:custGeom>
                <a:avLst/>
                <a:gdLst>
                  <a:gd name="T0" fmla="*/ 47 w 93"/>
                  <a:gd name="T1" fmla="*/ 0 h 93"/>
                  <a:gd name="T2" fmla="*/ 93 w 93"/>
                  <a:gd name="T3" fmla="*/ 47 h 93"/>
                  <a:gd name="T4" fmla="*/ 47 w 93"/>
                  <a:gd name="T5" fmla="*/ 93 h 93"/>
                  <a:gd name="T6" fmla="*/ 0 w 93"/>
                  <a:gd name="T7" fmla="*/ 47 h 93"/>
                  <a:gd name="T8" fmla="*/ 47 w 93"/>
                  <a:gd name="T9" fmla="*/ 0 h 93"/>
                  <a:gd name="T10" fmla="*/ 69 w 93"/>
                  <a:gd name="T11" fmla="*/ 47 h 93"/>
                  <a:gd name="T12" fmla="*/ 47 w 93"/>
                  <a:gd name="T13" fmla="*/ 25 h 93"/>
                  <a:gd name="T14" fmla="*/ 25 w 93"/>
                  <a:gd name="T15" fmla="*/ 47 h 93"/>
                  <a:gd name="T16" fmla="*/ 47 w 93"/>
                  <a:gd name="T17" fmla="*/ 69 h 93"/>
                  <a:gd name="T18" fmla="*/ 69 w 93"/>
                  <a:gd name="T1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73" y="0"/>
                      <a:pt x="93" y="21"/>
                      <a:pt x="93" y="47"/>
                    </a:cubicBezTo>
                    <a:cubicBezTo>
                      <a:pt x="93" y="72"/>
                      <a:pt x="73" y="93"/>
                      <a:pt x="47" y="93"/>
                    </a:cubicBezTo>
                    <a:cubicBezTo>
                      <a:pt x="21" y="93"/>
                      <a:pt x="0" y="72"/>
                      <a:pt x="0" y="47"/>
                    </a:cubicBezTo>
                    <a:cubicBezTo>
                      <a:pt x="0" y="21"/>
                      <a:pt x="21" y="0"/>
                      <a:pt x="47" y="0"/>
                    </a:cubicBezTo>
                    <a:close/>
                    <a:moveTo>
                      <a:pt x="69" y="47"/>
                    </a:moveTo>
                    <a:cubicBezTo>
                      <a:pt x="69" y="34"/>
                      <a:pt x="59" y="25"/>
                      <a:pt x="47" y="25"/>
                    </a:cubicBezTo>
                    <a:cubicBezTo>
                      <a:pt x="35" y="25"/>
                      <a:pt x="25" y="34"/>
                      <a:pt x="25" y="47"/>
                    </a:cubicBezTo>
                    <a:cubicBezTo>
                      <a:pt x="25" y="59"/>
                      <a:pt x="35" y="69"/>
                      <a:pt x="47" y="69"/>
                    </a:cubicBezTo>
                    <a:cubicBezTo>
                      <a:pt x="59" y="69"/>
                      <a:pt x="69" y="59"/>
                      <a:pt x="69" y="47"/>
                    </a:cubicBez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5" name="Oval 1867">
                <a:extLst>
                  <a:ext uri="{FF2B5EF4-FFF2-40B4-BE49-F238E27FC236}">
                    <a16:creationId xmlns:a16="http://schemas.microsoft.com/office/drawing/2014/main" id="{E52266A9-D160-9EA8-A553-9E41F1283562}"/>
                  </a:ext>
                </a:extLst>
              </p:cNvPr>
              <p:cNvSpPr>
                <a:spLocks noChangeArrowheads="1"/>
              </p:cNvSpPr>
              <p:nvPr/>
            </p:nvSpPr>
            <p:spPr bwMode="auto">
              <a:xfrm>
                <a:off x="7593172" y="6049282"/>
                <a:ext cx="174625" cy="174625"/>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6" name="Oval 1868">
                <a:extLst>
                  <a:ext uri="{FF2B5EF4-FFF2-40B4-BE49-F238E27FC236}">
                    <a16:creationId xmlns:a16="http://schemas.microsoft.com/office/drawing/2014/main" id="{0E278318-5873-AF6D-14C7-D21657044FF2}"/>
                  </a:ext>
                </a:extLst>
              </p:cNvPr>
              <p:cNvSpPr>
                <a:spLocks noChangeArrowheads="1"/>
              </p:cNvSpPr>
              <p:nvPr/>
            </p:nvSpPr>
            <p:spPr bwMode="auto">
              <a:xfrm>
                <a:off x="7640797" y="6096907"/>
                <a:ext cx="82550" cy="82550"/>
              </a:xfrm>
              <a:prstGeom prst="ellipse">
                <a:avLst/>
              </a:pr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7" name="Freeform 1869">
                <a:extLst>
                  <a:ext uri="{FF2B5EF4-FFF2-40B4-BE49-F238E27FC236}">
                    <a16:creationId xmlns:a16="http://schemas.microsoft.com/office/drawing/2014/main" id="{8CE39234-1C11-75AE-ABC4-3FC4848E684F}"/>
                  </a:ext>
                </a:extLst>
              </p:cNvPr>
              <p:cNvSpPr>
                <a:spLocks/>
              </p:cNvSpPr>
              <p:nvPr/>
            </p:nvSpPr>
            <p:spPr bwMode="auto">
              <a:xfrm>
                <a:off x="7486809" y="5979432"/>
                <a:ext cx="622300" cy="120650"/>
              </a:xfrm>
              <a:custGeom>
                <a:avLst/>
                <a:gdLst>
                  <a:gd name="T0" fmla="*/ 328 w 392"/>
                  <a:gd name="T1" fmla="*/ 0 h 76"/>
                  <a:gd name="T2" fmla="*/ 195 w 392"/>
                  <a:gd name="T3" fmla="*/ 0 h 76"/>
                  <a:gd name="T4" fmla="*/ 182 w 392"/>
                  <a:gd name="T5" fmla="*/ 0 h 76"/>
                  <a:gd name="T6" fmla="*/ 171 w 392"/>
                  <a:gd name="T7" fmla="*/ 0 h 76"/>
                  <a:gd name="T8" fmla="*/ 161 w 392"/>
                  <a:gd name="T9" fmla="*/ 0 h 76"/>
                  <a:gd name="T10" fmla="*/ 150 w 392"/>
                  <a:gd name="T11" fmla="*/ 0 h 76"/>
                  <a:gd name="T12" fmla="*/ 137 w 392"/>
                  <a:gd name="T13" fmla="*/ 0 h 76"/>
                  <a:gd name="T14" fmla="*/ 58 w 392"/>
                  <a:gd name="T15" fmla="*/ 0 h 76"/>
                  <a:gd name="T16" fmla="*/ 0 w 392"/>
                  <a:gd name="T17" fmla="*/ 76 h 76"/>
                  <a:gd name="T18" fmla="*/ 29 w 392"/>
                  <a:gd name="T19" fmla="*/ 76 h 76"/>
                  <a:gd name="T20" fmla="*/ 68 w 392"/>
                  <a:gd name="T21" fmla="*/ 23 h 76"/>
                  <a:gd name="T22" fmla="*/ 137 w 392"/>
                  <a:gd name="T23" fmla="*/ 23 h 76"/>
                  <a:gd name="T24" fmla="*/ 150 w 392"/>
                  <a:gd name="T25" fmla="*/ 23 h 76"/>
                  <a:gd name="T26" fmla="*/ 161 w 392"/>
                  <a:gd name="T27" fmla="*/ 23 h 76"/>
                  <a:gd name="T28" fmla="*/ 171 w 392"/>
                  <a:gd name="T29" fmla="*/ 23 h 76"/>
                  <a:gd name="T30" fmla="*/ 182 w 392"/>
                  <a:gd name="T31" fmla="*/ 23 h 76"/>
                  <a:gd name="T32" fmla="*/ 195 w 392"/>
                  <a:gd name="T33" fmla="*/ 23 h 76"/>
                  <a:gd name="T34" fmla="*/ 318 w 392"/>
                  <a:gd name="T35" fmla="*/ 23 h 76"/>
                  <a:gd name="T36" fmla="*/ 363 w 392"/>
                  <a:gd name="T37" fmla="*/ 76 h 76"/>
                  <a:gd name="T38" fmla="*/ 392 w 392"/>
                  <a:gd name="T39" fmla="*/ 76 h 76"/>
                  <a:gd name="T40" fmla="*/ 328 w 392"/>
                  <a:gd name="T4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2" h="76">
                    <a:moveTo>
                      <a:pt x="328" y="0"/>
                    </a:moveTo>
                    <a:lnTo>
                      <a:pt x="195" y="0"/>
                    </a:lnTo>
                    <a:lnTo>
                      <a:pt x="182" y="0"/>
                    </a:lnTo>
                    <a:lnTo>
                      <a:pt x="171" y="0"/>
                    </a:lnTo>
                    <a:lnTo>
                      <a:pt x="161" y="0"/>
                    </a:lnTo>
                    <a:lnTo>
                      <a:pt x="150" y="0"/>
                    </a:lnTo>
                    <a:lnTo>
                      <a:pt x="137" y="0"/>
                    </a:lnTo>
                    <a:lnTo>
                      <a:pt x="58" y="0"/>
                    </a:lnTo>
                    <a:lnTo>
                      <a:pt x="0" y="76"/>
                    </a:lnTo>
                    <a:lnTo>
                      <a:pt x="29" y="76"/>
                    </a:lnTo>
                    <a:lnTo>
                      <a:pt x="68" y="23"/>
                    </a:lnTo>
                    <a:lnTo>
                      <a:pt x="137" y="23"/>
                    </a:lnTo>
                    <a:lnTo>
                      <a:pt x="150" y="23"/>
                    </a:lnTo>
                    <a:lnTo>
                      <a:pt x="161" y="23"/>
                    </a:lnTo>
                    <a:lnTo>
                      <a:pt x="171" y="23"/>
                    </a:lnTo>
                    <a:lnTo>
                      <a:pt x="182" y="23"/>
                    </a:lnTo>
                    <a:lnTo>
                      <a:pt x="195" y="23"/>
                    </a:lnTo>
                    <a:lnTo>
                      <a:pt x="318" y="23"/>
                    </a:lnTo>
                    <a:lnTo>
                      <a:pt x="363" y="76"/>
                    </a:lnTo>
                    <a:lnTo>
                      <a:pt x="392" y="76"/>
                    </a:lnTo>
                    <a:lnTo>
                      <a:pt x="328" y="0"/>
                    </a:lnTo>
                    <a:close/>
                  </a:path>
                </a:pathLst>
              </a:custGeom>
              <a:solidFill>
                <a:srgbClr val="FFFFFF"/>
              </a:solid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sp>
            <p:nvSpPr>
              <p:cNvPr id="88" name="Freeform 1870">
                <a:extLst>
                  <a:ext uri="{FF2B5EF4-FFF2-40B4-BE49-F238E27FC236}">
                    <a16:creationId xmlns:a16="http://schemas.microsoft.com/office/drawing/2014/main" id="{16AE3511-BFD7-A797-C1A2-0B7CB251D399}"/>
                  </a:ext>
                </a:extLst>
              </p:cNvPr>
              <p:cNvSpPr>
                <a:spLocks/>
              </p:cNvSpPr>
              <p:nvPr/>
            </p:nvSpPr>
            <p:spPr bwMode="auto">
              <a:xfrm>
                <a:off x="7486809" y="5979432"/>
                <a:ext cx="622300" cy="120650"/>
              </a:xfrm>
              <a:custGeom>
                <a:avLst/>
                <a:gdLst>
                  <a:gd name="T0" fmla="*/ 328 w 392"/>
                  <a:gd name="T1" fmla="*/ 0 h 76"/>
                  <a:gd name="T2" fmla="*/ 195 w 392"/>
                  <a:gd name="T3" fmla="*/ 0 h 76"/>
                  <a:gd name="T4" fmla="*/ 182 w 392"/>
                  <a:gd name="T5" fmla="*/ 0 h 76"/>
                  <a:gd name="T6" fmla="*/ 171 w 392"/>
                  <a:gd name="T7" fmla="*/ 0 h 76"/>
                  <a:gd name="T8" fmla="*/ 161 w 392"/>
                  <a:gd name="T9" fmla="*/ 0 h 76"/>
                  <a:gd name="T10" fmla="*/ 150 w 392"/>
                  <a:gd name="T11" fmla="*/ 0 h 76"/>
                  <a:gd name="T12" fmla="*/ 137 w 392"/>
                  <a:gd name="T13" fmla="*/ 0 h 76"/>
                  <a:gd name="T14" fmla="*/ 58 w 392"/>
                  <a:gd name="T15" fmla="*/ 0 h 76"/>
                  <a:gd name="T16" fmla="*/ 0 w 392"/>
                  <a:gd name="T17" fmla="*/ 76 h 76"/>
                  <a:gd name="T18" fmla="*/ 29 w 392"/>
                  <a:gd name="T19" fmla="*/ 76 h 76"/>
                  <a:gd name="T20" fmla="*/ 68 w 392"/>
                  <a:gd name="T21" fmla="*/ 23 h 76"/>
                  <a:gd name="T22" fmla="*/ 137 w 392"/>
                  <a:gd name="T23" fmla="*/ 23 h 76"/>
                  <a:gd name="T24" fmla="*/ 150 w 392"/>
                  <a:gd name="T25" fmla="*/ 23 h 76"/>
                  <a:gd name="T26" fmla="*/ 161 w 392"/>
                  <a:gd name="T27" fmla="*/ 23 h 76"/>
                  <a:gd name="T28" fmla="*/ 171 w 392"/>
                  <a:gd name="T29" fmla="*/ 23 h 76"/>
                  <a:gd name="T30" fmla="*/ 182 w 392"/>
                  <a:gd name="T31" fmla="*/ 23 h 76"/>
                  <a:gd name="T32" fmla="*/ 195 w 392"/>
                  <a:gd name="T33" fmla="*/ 23 h 76"/>
                  <a:gd name="T34" fmla="*/ 318 w 392"/>
                  <a:gd name="T35" fmla="*/ 23 h 76"/>
                  <a:gd name="T36" fmla="*/ 363 w 392"/>
                  <a:gd name="T37" fmla="*/ 76 h 76"/>
                  <a:gd name="T38" fmla="*/ 392 w 392"/>
                  <a:gd name="T39" fmla="*/ 76 h 76"/>
                  <a:gd name="T40" fmla="*/ 328 w 392"/>
                  <a:gd name="T4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2" h="76">
                    <a:moveTo>
                      <a:pt x="328" y="0"/>
                    </a:moveTo>
                    <a:lnTo>
                      <a:pt x="195" y="0"/>
                    </a:lnTo>
                    <a:lnTo>
                      <a:pt x="182" y="0"/>
                    </a:lnTo>
                    <a:lnTo>
                      <a:pt x="171" y="0"/>
                    </a:lnTo>
                    <a:lnTo>
                      <a:pt x="161" y="0"/>
                    </a:lnTo>
                    <a:lnTo>
                      <a:pt x="150" y="0"/>
                    </a:lnTo>
                    <a:lnTo>
                      <a:pt x="137" y="0"/>
                    </a:lnTo>
                    <a:lnTo>
                      <a:pt x="58" y="0"/>
                    </a:lnTo>
                    <a:lnTo>
                      <a:pt x="0" y="76"/>
                    </a:lnTo>
                    <a:lnTo>
                      <a:pt x="29" y="76"/>
                    </a:lnTo>
                    <a:lnTo>
                      <a:pt x="68" y="23"/>
                    </a:lnTo>
                    <a:lnTo>
                      <a:pt x="137" y="23"/>
                    </a:lnTo>
                    <a:lnTo>
                      <a:pt x="150" y="23"/>
                    </a:lnTo>
                    <a:lnTo>
                      <a:pt x="161" y="23"/>
                    </a:lnTo>
                    <a:lnTo>
                      <a:pt x="171" y="23"/>
                    </a:lnTo>
                    <a:lnTo>
                      <a:pt x="182" y="23"/>
                    </a:lnTo>
                    <a:lnTo>
                      <a:pt x="195" y="23"/>
                    </a:lnTo>
                    <a:lnTo>
                      <a:pt x="318" y="23"/>
                    </a:lnTo>
                    <a:lnTo>
                      <a:pt x="363" y="76"/>
                    </a:lnTo>
                    <a:lnTo>
                      <a:pt x="392" y="76"/>
                    </a:lnTo>
                    <a:lnTo>
                      <a:pt x="328" y="0"/>
                    </a:lnTo>
                    <a:close/>
                  </a:path>
                </a:pathLst>
              </a:custGeom>
              <a:noFill/>
              <a:ln w="12700" cap="rnd">
                <a:solidFill>
                  <a:srgbClr val="231F2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0B0004020202020204" pitchFamily="34" charset="0"/>
                  <a:ea typeface="Arial" charset="0"/>
                  <a:cs typeface="Arial" charset="0"/>
                </a:endParaRPr>
              </a:p>
            </p:txBody>
          </p:sp>
        </p:grpSp>
      </p:grpSp>
      <p:graphicFrame>
        <p:nvGraphicFramePr>
          <p:cNvPr id="133" name="Table 492">
            <a:extLst>
              <a:ext uri="{FF2B5EF4-FFF2-40B4-BE49-F238E27FC236}">
                <a16:creationId xmlns:a16="http://schemas.microsoft.com/office/drawing/2014/main" id="{3ABED45E-CAB7-D07E-568B-D02BB3D875FC}"/>
              </a:ext>
            </a:extLst>
          </p:cNvPr>
          <p:cNvGraphicFramePr>
            <a:graphicFrameLocks noGrp="1"/>
          </p:cNvGraphicFramePr>
          <p:nvPr/>
        </p:nvGraphicFramePr>
        <p:xfrm>
          <a:off x="5339201" y="4158538"/>
          <a:ext cx="5050906" cy="1351752"/>
        </p:xfrm>
        <a:graphic>
          <a:graphicData uri="http://schemas.openxmlformats.org/drawingml/2006/table">
            <a:tbl>
              <a:tblPr/>
              <a:tblGrid>
                <a:gridCol w="2525453">
                  <a:extLst>
                    <a:ext uri="{9D8B030D-6E8A-4147-A177-3AD203B41FA5}">
                      <a16:colId xmlns:a16="http://schemas.microsoft.com/office/drawing/2014/main" val="1584487396"/>
                    </a:ext>
                  </a:extLst>
                </a:gridCol>
                <a:gridCol w="2525453">
                  <a:extLst>
                    <a:ext uri="{9D8B030D-6E8A-4147-A177-3AD203B41FA5}">
                      <a16:colId xmlns:a16="http://schemas.microsoft.com/office/drawing/2014/main" val="1073477736"/>
                    </a:ext>
                  </a:extLst>
                </a:gridCol>
              </a:tblGrid>
              <a:tr h="207573">
                <a:tc>
                  <a:txBody>
                    <a:bodyPr/>
                    <a:lstStyle/>
                    <a:p>
                      <a:pPr algn="ctr" rtl="0" fontAlgn="ctr">
                        <a:spcBef>
                          <a:spcPts val="0"/>
                        </a:spcBef>
                        <a:spcAft>
                          <a:spcPts val="0"/>
                        </a:spcAft>
                      </a:pPr>
                      <a:r>
                        <a:rPr lang="en-US" sz="1100" b="0" i="0" u="none" strike="noStrike" noProof="0">
                          <a:solidFill>
                            <a:schemeClr val="bg1"/>
                          </a:solidFill>
                          <a:effectLst/>
                          <a:latin typeface="Aptos" panose="020B0004020202020204" pitchFamily="34" charset="0"/>
                          <a:cs typeface="Arial" panose="020B0604020202020204" pitchFamily="34" charset="0"/>
                        </a:rPr>
                        <a:t>Maintenance Event</a:t>
                      </a:r>
                      <a:endParaRPr lang="en-US" sz="1100" b="0" i="0" noProof="0">
                        <a:solidFill>
                          <a:schemeClr val="bg1"/>
                        </a:solidFill>
                        <a:effectLst/>
                        <a:latin typeface="Aptos" panose="020B0004020202020204" pitchFamily="34" charset="0"/>
                        <a:cs typeface="Arial" panose="020B0604020202020204" pitchFamily="34" charset="0"/>
                      </a:endParaRP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12697"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rtl="0" fontAlgn="ctr">
                        <a:spcBef>
                          <a:spcPts val="0"/>
                        </a:spcBef>
                        <a:spcAft>
                          <a:spcPts val="0"/>
                        </a:spcAft>
                      </a:pPr>
                      <a:r>
                        <a:rPr lang="en-US" sz="1100" b="0" i="0" noProof="0">
                          <a:solidFill>
                            <a:schemeClr val="bg1"/>
                          </a:solidFill>
                          <a:effectLst/>
                          <a:latin typeface="Aptos" panose="020B0004020202020204" pitchFamily="34" charset="0"/>
                          <a:cs typeface="Arial" panose="020B0604020202020204" pitchFamily="34" charset="0"/>
                        </a:rPr>
                        <a:t>Target</a:t>
                      </a: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12697"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460064979"/>
                  </a:ext>
                </a:extLst>
              </a:tr>
              <a:tr h="207573">
                <a:tc>
                  <a:txBody>
                    <a:bodyPr/>
                    <a:lstStyle/>
                    <a:p>
                      <a:pPr algn="ctr" rtl="0" fontAlgn="ctr">
                        <a:spcBef>
                          <a:spcPts val="0"/>
                        </a:spcBef>
                        <a:spcAft>
                          <a:spcPts val="0"/>
                        </a:spcAft>
                      </a:pPr>
                      <a:r>
                        <a:rPr lang="en-US" sz="1100" b="0" i="0" u="none" strike="noStrike" noProof="0">
                          <a:solidFill>
                            <a:srgbClr val="000000"/>
                          </a:solidFill>
                          <a:effectLst/>
                          <a:latin typeface="Aptos" panose="020B0004020202020204" pitchFamily="34" charset="0"/>
                          <a:cs typeface="Arial" panose="020B0604020202020204" pitchFamily="34" charset="0"/>
                        </a:rPr>
                        <a:t>Oil and filter</a:t>
                      </a:r>
                      <a:endParaRPr lang="en-US" sz="1100" b="0" i="0" noProof="0">
                        <a:effectLst/>
                        <a:latin typeface="Aptos" panose="020B0004020202020204" pitchFamily="34" charset="0"/>
                        <a:cs typeface="Arial" panose="020B0604020202020204" pitchFamily="34" charset="0"/>
                      </a:endParaRP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spcBef>
                          <a:spcPts val="0"/>
                        </a:spcBef>
                        <a:spcAft>
                          <a:spcPts val="0"/>
                        </a:spcAft>
                      </a:pPr>
                      <a:r>
                        <a:rPr lang="en-US" sz="1100" b="0" i="0" noProof="0">
                          <a:effectLst/>
                          <a:latin typeface="Aptos" panose="020B0004020202020204" pitchFamily="34" charset="0"/>
                          <a:cs typeface="Arial" panose="020B0604020202020204" pitchFamily="34" charset="0"/>
                        </a:rPr>
                        <a:t>Up to 75k mi / 1500 </a:t>
                      </a:r>
                      <a:r>
                        <a:rPr lang="en-US" sz="1100" b="0" i="0" noProof="0" err="1">
                          <a:effectLst/>
                          <a:latin typeface="Aptos" panose="020B0004020202020204" pitchFamily="34" charset="0"/>
                          <a:cs typeface="Arial" panose="020B0604020202020204" pitchFamily="34" charset="0"/>
                        </a:rPr>
                        <a:t>hr</a:t>
                      </a:r>
                      <a:endParaRPr lang="en-US" sz="1100" b="0" i="0" noProof="0">
                        <a:effectLst/>
                        <a:latin typeface="Aptos" panose="020B0004020202020204" pitchFamily="34" charset="0"/>
                        <a:cs typeface="Arial" panose="020B0604020202020204" pitchFamily="34" charset="0"/>
                      </a:endParaRP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82269"/>
                  </a:ext>
                </a:extLst>
              </a:tr>
              <a:tr h="207573">
                <a:tc>
                  <a:txBody>
                    <a:bodyPr/>
                    <a:lstStyle/>
                    <a:p>
                      <a:pPr algn="ctr" rtl="0" fontAlgn="ctr">
                        <a:spcBef>
                          <a:spcPts val="0"/>
                        </a:spcBef>
                        <a:spcAft>
                          <a:spcPts val="0"/>
                        </a:spcAft>
                      </a:pPr>
                      <a:r>
                        <a:rPr lang="en-US" sz="1100" b="0" i="0" u="none" strike="noStrike" noProof="0">
                          <a:solidFill>
                            <a:srgbClr val="000000"/>
                          </a:solidFill>
                          <a:effectLst/>
                          <a:latin typeface="Aptos" panose="020B0004020202020204" pitchFamily="34" charset="0"/>
                          <a:cs typeface="Arial" panose="020B0604020202020204" pitchFamily="34" charset="0"/>
                        </a:rPr>
                        <a:t>Valve lash adjustment</a:t>
                      </a:r>
                      <a:endParaRPr lang="en-US" sz="1100" b="0" i="0" noProof="0">
                        <a:effectLst/>
                        <a:latin typeface="Aptos" panose="020B0004020202020204" pitchFamily="34" charset="0"/>
                        <a:cs typeface="Arial" panose="020B0604020202020204" pitchFamily="34" charset="0"/>
                      </a:endParaRP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spcBef>
                          <a:spcPts val="0"/>
                        </a:spcBef>
                        <a:spcAft>
                          <a:spcPts val="0"/>
                        </a:spcAft>
                      </a:pPr>
                      <a:r>
                        <a:rPr lang="en-US" sz="1100" b="0" i="0" noProof="0">
                          <a:effectLst/>
                          <a:latin typeface="Aptos" panose="020B0004020202020204" pitchFamily="34" charset="0"/>
                          <a:cs typeface="Arial" panose="020B0604020202020204" pitchFamily="34" charset="0"/>
                        </a:rPr>
                        <a:t>150k mi</a:t>
                      </a: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6193975"/>
                  </a:ext>
                </a:extLst>
              </a:tr>
              <a:tr h="207573">
                <a:tc>
                  <a:txBody>
                    <a:bodyPr/>
                    <a:lstStyle/>
                    <a:p>
                      <a:pPr algn="ctr" rtl="0" fontAlgn="ctr">
                        <a:spcBef>
                          <a:spcPts val="0"/>
                        </a:spcBef>
                        <a:spcAft>
                          <a:spcPts val="0"/>
                        </a:spcAft>
                      </a:pPr>
                      <a:r>
                        <a:rPr lang="en-US" sz="1100" b="0" i="0" u="none" strike="noStrike" noProof="0">
                          <a:solidFill>
                            <a:srgbClr val="000000"/>
                          </a:solidFill>
                          <a:effectLst/>
                          <a:latin typeface="Aptos" panose="020B0004020202020204" pitchFamily="34" charset="0"/>
                          <a:cs typeface="Arial" panose="020B0604020202020204" pitchFamily="34" charset="0"/>
                        </a:rPr>
                        <a:t>DPF clean</a:t>
                      </a:r>
                      <a:endParaRPr lang="en-US" sz="1100" b="0" i="0" noProof="0">
                        <a:effectLst/>
                        <a:latin typeface="Aptos" panose="020B0004020202020204" pitchFamily="34" charset="0"/>
                        <a:cs typeface="Arial" panose="020B0604020202020204" pitchFamily="34" charset="0"/>
                      </a:endParaRP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spcBef>
                          <a:spcPts val="0"/>
                        </a:spcBef>
                        <a:spcAft>
                          <a:spcPts val="0"/>
                        </a:spcAft>
                      </a:pPr>
                      <a:r>
                        <a:rPr lang="en-US" sz="1100" b="0" i="0" noProof="0">
                          <a:effectLst/>
                          <a:latin typeface="Aptos" panose="020B0004020202020204" pitchFamily="34" charset="0"/>
                          <a:cs typeface="Arial" panose="020B0604020202020204" pitchFamily="34" charset="0"/>
                        </a:rPr>
                        <a:t>MD 225k mi &amp; HD up to 800k mi</a:t>
                      </a: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473948"/>
                  </a:ext>
                </a:extLst>
              </a:tr>
              <a:tr h="207573">
                <a:tc>
                  <a:txBody>
                    <a:bodyPr/>
                    <a:lstStyle/>
                    <a:p>
                      <a:pPr algn="ctr" rtl="0" fontAlgn="ctr">
                        <a:spcBef>
                          <a:spcPts val="0"/>
                        </a:spcBef>
                        <a:spcAft>
                          <a:spcPts val="0"/>
                        </a:spcAft>
                      </a:pPr>
                      <a:r>
                        <a:rPr lang="en-US" sz="1100" b="0" i="0" u="none" strike="noStrike" noProof="0">
                          <a:solidFill>
                            <a:srgbClr val="000000"/>
                          </a:solidFill>
                          <a:effectLst/>
                          <a:latin typeface="Aptos" panose="020B0004020202020204" pitchFamily="34" charset="0"/>
                          <a:cs typeface="Arial" panose="020B0604020202020204" pitchFamily="34" charset="0"/>
                        </a:rPr>
                        <a:t>DEF change</a:t>
                      </a:r>
                      <a:endParaRPr lang="en-US" sz="1100" b="0" i="0" noProof="0">
                        <a:effectLst/>
                        <a:latin typeface="Aptos" panose="020B0004020202020204" pitchFamily="34" charset="0"/>
                        <a:cs typeface="Arial" panose="020B0604020202020204" pitchFamily="34" charset="0"/>
                      </a:endParaRP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spcBef>
                          <a:spcPts val="0"/>
                        </a:spcBef>
                        <a:spcAft>
                          <a:spcPts val="0"/>
                        </a:spcAft>
                      </a:pPr>
                      <a:r>
                        <a:rPr lang="en-US" sz="1100" b="0" i="0" noProof="0">
                          <a:effectLst/>
                          <a:latin typeface="Aptos" panose="020B0004020202020204" pitchFamily="34" charset="0"/>
                          <a:cs typeface="Arial" panose="020B0604020202020204" pitchFamily="34" charset="0"/>
                        </a:rPr>
                        <a:t>225k mi</a:t>
                      </a: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3982871"/>
                  </a:ext>
                </a:extLst>
              </a:tr>
              <a:tr h="207573">
                <a:tc>
                  <a:txBody>
                    <a:bodyPr/>
                    <a:lstStyle/>
                    <a:p>
                      <a:pPr algn="ctr" rtl="0" fontAlgn="ctr">
                        <a:spcBef>
                          <a:spcPts val="0"/>
                        </a:spcBef>
                        <a:spcAft>
                          <a:spcPts val="0"/>
                        </a:spcAft>
                      </a:pPr>
                      <a:r>
                        <a:rPr lang="en-US" sz="1100" b="0" i="0" noProof="0">
                          <a:effectLst/>
                          <a:latin typeface="Aptos" panose="020B0004020202020204" pitchFamily="34" charset="0"/>
                          <a:cs typeface="Arial" panose="020B0604020202020204" pitchFamily="34" charset="0"/>
                        </a:rPr>
                        <a:t>Base warranty</a:t>
                      </a: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spcBef>
                          <a:spcPts val="0"/>
                        </a:spcBef>
                        <a:spcAft>
                          <a:spcPts val="0"/>
                        </a:spcAft>
                      </a:pPr>
                      <a:r>
                        <a:rPr lang="en-US" sz="1100" b="0" i="0" noProof="0">
                          <a:effectLst/>
                          <a:latin typeface="Aptos" panose="020B0004020202020204" pitchFamily="34" charset="0"/>
                          <a:cs typeface="Arial" panose="020B0604020202020204" pitchFamily="34" charset="0"/>
                        </a:rPr>
                        <a:t>2 yr / 250k mi</a:t>
                      </a:r>
                    </a:p>
                  </a:txBody>
                  <a:tcPr marL="57650" marR="57650" marT="28826" marB="2882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65924489"/>
                  </a:ext>
                </a:extLst>
              </a:tr>
            </a:tbl>
          </a:graphicData>
        </a:graphic>
      </p:graphicFrame>
      <p:sp>
        <p:nvSpPr>
          <p:cNvPr id="134" name="CaixaDeTexto 133">
            <a:extLst>
              <a:ext uri="{FF2B5EF4-FFF2-40B4-BE49-F238E27FC236}">
                <a16:creationId xmlns:a16="http://schemas.microsoft.com/office/drawing/2014/main" id="{33C8A54D-64BF-C3C2-D023-4B9987B07BEE}"/>
              </a:ext>
            </a:extLst>
          </p:cNvPr>
          <p:cNvSpPr txBox="1"/>
          <p:nvPr/>
        </p:nvSpPr>
        <p:spPr>
          <a:xfrm>
            <a:off x="5237663" y="1636611"/>
            <a:ext cx="21084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9281C"/>
                </a:solidFill>
                <a:effectLst/>
                <a:uLnTx/>
                <a:uFillTx/>
                <a:latin typeface="Aptos" panose="020B0004020202020204" pitchFamily="34" charset="0"/>
                <a:ea typeface="+mn-ea"/>
                <a:cs typeface="+mn-cs"/>
              </a:rPr>
              <a:t>Differentiators</a:t>
            </a:r>
          </a:p>
        </p:txBody>
      </p:sp>
      <p:sp>
        <p:nvSpPr>
          <p:cNvPr id="135" name="TextBox 506">
            <a:extLst>
              <a:ext uri="{FF2B5EF4-FFF2-40B4-BE49-F238E27FC236}">
                <a16:creationId xmlns:a16="http://schemas.microsoft.com/office/drawing/2014/main" id="{ABF0845A-957E-1669-CF9A-2A711F4A2393}"/>
              </a:ext>
            </a:extLst>
          </p:cNvPr>
          <p:cNvSpPr txBox="1"/>
          <p:nvPr/>
        </p:nvSpPr>
        <p:spPr>
          <a:xfrm>
            <a:off x="5225438" y="2961553"/>
            <a:ext cx="196857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A291C"/>
                </a:solidFill>
                <a:effectLst/>
                <a:uLnTx/>
                <a:uFillTx/>
                <a:latin typeface="Aptos" panose="020B0004020202020204" pitchFamily="34" charset="0"/>
                <a:ea typeface="+mn-ea"/>
                <a:cs typeface="Arial" panose="020B0604020202020204" pitchFamily="34" charset="0"/>
              </a:rPr>
              <a:t>Primary Applications</a:t>
            </a:r>
          </a:p>
        </p:txBody>
      </p:sp>
      <p:sp>
        <p:nvSpPr>
          <p:cNvPr id="150" name="Espaço Reservado para Conteúdo 149">
            <a:extLst>
              <a:ext uri="{FF2B5EF4-FFF2-40B4-BE49-F238E27FC236}">
                <a16:creationId xmlns:a16="http://schemas.microsoft.com/office/drawing/2014/main" id="{8630488F-7A48-8CBC-428C-FBC1EE27549F}"/>
              </a:ext>
            </a:extLst>
          </p:cNvPr>
          <p:cNvSpPr>
            <a:spLocks noGrp="1"/>
          </p:cNvSpPr>
          <p:nvPr>
            <p:ph idx="1"/>
          </p:nvPr>
        </p:nvSpPr>
        <p:spPr/>
        <p:txBody>
          <a:bodyPr/>
          <a:lstStyle/>
          <a:p>
            <a:r>
              <a:rPr lang="en-US" noProof="0"/>
              <a:t>Overview</a:t>
            </a:r>
          </a:p>
        </p:txBody>
      </p:sp>
      <p:sp>
        <p:nvSpPr>
          <p:cNvPr id="5" name="TextBox 4">
            <a:extLst>
              <a:ext uri="{FF2B5EF4-FFF2-40B4-BE49-F238E27FC236}">
                <a16:creationId xmlns:a16="http://schemas.microsoft.com/office/drawing/2014/main" id="{598DE37F-7767-2A31-5610-8AA75F373980}"/>
              </a:ext>
            </a:extLst>
          </p:cNvPr>
          <p:cNvSpPr txBox="1"/>
          <p:nvPr/>
        </p:nvSpPr>
        <p:spPr>
          <a:xfrm>
            <a:off x="9434699" y="5989509"/>
            <a:ext cx="25365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Latest Update: December 9, 2024</a:t>
            </a:r>
          </a:p>
        </p:txBody>
      </p:sp>
      <p:sp>
        <p:nvSpPr>
          <p:cNvPr id="2" name="Rounded Rectangle 56">
            <a:extLst>
              <a:ext uri="{FF2B5EF4-FFF2-40B4-BE49-F238E27FC236}">
                <a16:creationId xmlns:a16="http://schemas.microsoft.com/office/drawing/2014/main" id="{225157DE-D9AF-B2AE-D60C-28D0221B7B48}"/>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3" name="Conector Reto 31">
            <a:extLst>
              <a:ext uri="{FF2B5EF4-FFF2-40B4-BE49-F238E27FC236}">
                <a16:creationId xmlns:a16="http://schemas.microsoft.com/office/drawing/2014/main" id="{FCAFB68E-AD96-C6E4-AB58-239986A7CBBB}"/>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 name="Conector Reto 75">
            <a:extLst>
              <a:ext uri="{FF2B5EF4-FFF2-40B4-BE49-F238E27FC236}">
                <a16:creationId xmlns:a16="http://schemas.microsoft.com/office/drawing/2014/main" id="{31BDFC80-AA73-B7CE-B572-23B15F0BBB03}"/>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6" name="Conector Reto 31">
            <a:extLst>
              <a:ext uri="{FF2B5EF4-FFF2-40B4-BE49-F238E27FC236}">
                <a16:creationId xmlns:a16="http://schemas.microsoft.com/office/drawing/2014/main" id="{586B404E-12CF-3E21-F064-06BF7A710CEE}"/>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 name="Conector Reto 31">
            <a:extLst>
              <a:ext uri="{FF2B5EF4-FFF2-40B4-BE49-F238E27FC236}">
                <a16:creationId xmlns:a16="http://schemas.microsoft.com/office/drawing/2014/main" id="{5FFE93E5-BE1B-38C8-969F-8F493F1704F5}"/>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Conector Reto 78">
            <a:extLst>
              <a:ext uri="{FF2B5EF4-FFF2-40B4-BE49-F238E27FC236}">
                <a16:creationId xmlns:a16="http://schemas.microsoft.com/office/drawing/2014/main" id="{F4BFB769-60D2-51D6-FB36-10C68EB54BF7}"/>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Conector Reto 31">
            <a:extLst>
              <a:ext uri="{FF2B5EF4-FFF2-40B4-BE49-F238E27FC236}">
                <a16:creationId xmlns:a16="http://schemas.microsoft.com/office/drawing/2014/main" id="{43C64B6C-D399-0A32-A82F-3B28693CD92E}"/>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0" name="CaixaDeTexto 80">
            <a:extLst>
              <a:ext uri="{FF2B5EF4-FFF2-40B4-BE49-F238E27FC236}">
                <a16:creationId xmlns:a16="http://schemas.microsoft.com/office/drawing/2014/main" id="{4214DE70-CFA7-525F-E903-4B73F62E5F1A}"/>
              </a:ext>
            </a:extLst>
          </p:cNvPr>
          <p:cNvSpPr txBox="1"/>
          <p:nvPr/>
        </p:nvSpPr>
        <p:spPr>
          <a:xfrm>
            <a:off x="783241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11" name="CaixaDeTexto 81">
            <a:extLst>
              <a:ext uri="{FF2B5EF4-FFF2-40B4-BE49-F238E27FC236}">
                <a16:creationId xmlns:a16="http://schemas.microsoft.com/office/drawing/2014/main" id="{090FF509-DA37-B783-E281-2076126313D4}"/>
              </a:ext>
            </a:extLst>
          </p:cNvPr>
          <p:cNvSpPr txBox="1"/>
          <p:nvPr/>
        </p:nvSpPr>
        <p:spPr>
          <a:xfrm>
            <a:off x="4232844" y="6294672"/>
            <a:ext cx="7466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Overview</a:t>
            </a:r>
          </a:p>
        </p:txBody>
      </p:sp>
      <p:sp>
        <p:nvSpPr>
          <p:cNvPr id="13" name="CaixaDeTexto 82">
            <a:extLst>
              <a:ext uri="{FF2B5EF4-FFF2-40B4-BE49-F238E27FC236}">
                <a16:creationId xmlns:a16="http://schemas.microsoft.com/office/drawing/2014/main" id="{86F42760-A8BF-F39C-33C2-CB13772D887E}"/>
              </a:ext>
            </a:extLst>
          </p:cNvPr>
          <p:cNvSpPr txBox="1"/>
          <p:nvPr/>
        </p:nvSpPr>
        <p:spPr>
          <a:xfrm>
            <a:off x="6457787" y="6294672"/>
            <a:ext cx="139885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14" name="CaixaDeTexto 83">
            <a:extLst>
              <a:ext uri="{FF2B5EF4-FFF2-40B4-BE49-F238E27FC236}">
                <a16:creationId xmlns:a16="http://schemas.microsoft.com/office/drawing/2014/main" id="{5B2C3EFF-B008-31E2-7071-C3F8B3CB49FF}"/>
              </a:ext>
            </a:extLst>
          </p:cNvPr>
          <p:cNvSpPr txBox="1"/>
          <p:nvPr/>
        </p:nvSpPr>
        <p:spPr>
          <a:xfrm>
            <a:off x="4950538" y="6294672"/>
            <a:ext cx="9498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15" name="CaixaDeTexto 84">
            <a:extLst>
              <a:ext uri="{FF2B5EF4-FFF2-40B4-BE49-F238E27FC236}">
                <a16:creationId xmlns:a16="http://schemas.microsoft.com/office/drawing/2014/main" id="{D5789DB2-DABC-0B92-9153-1EAC8858D1AE}"/>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16" name="CaixaDeTexto 85">
            <a:extLst>
              <a:ext uri="{FF2B5EF4-FFF2-40B4-BE49-F238E27FC236}">
                <a16:creationId xmlns:a16="http://schemas.microsoft.com/office/drawing/2014/main" id="{2CE1A1EB-5E2F-1CD5-5E92-9A463D2BBD4F}"/>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17" name="CaixaDeTexto 86">
            <a:extLst>
              <a:ext uri="{FF2B5EF4-FFF2-40B4-BE49-F238E27FC236}">
                <a16:creationId xmlns:a16="http://schemas.microsoft.com/office/drawing/2014/main" id="{ECEE9877-ED77-4411-6408-E58C2A1DB03F}"/>
              </a:ext>
            </a:extLst>
          </p:cNvPr>
          <p:cNvSpPr txBox="1"/>
          <p:nvPr/>
        </p:nvSpPr>
        <p:spPr>
          <a:xfrm>
            <a:off x="5868247" y="6294672"/>
            <a:ext cx="60165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21" name="CaixaDeTexto 87">
            <a:extLst>
              <a:ext uri="{FF2B5EF4-FFF2-40B4-BE49-F238E27FC236}">
                <a16:creationId xmlns:a16="http://schemas.microsoft.com/office/drawing/2014/main" id="{61666B2A-763B-7584-049A-498F561B3972}"/>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22" name="Conector Reto 31">
            <a:extLst>
              <a:ext uri="{FF2B5EF4-FFF2-40B4-BE49-F238E27FC236}">
                <a16:creationId xmlns:a16="http://schemas.microsoft.com/office/drawing/2014/main" id="{2A608949-AE12-821E-ADAC-9E76F5FFF689}"/>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31">
            <a:extLst>
              <a:ext uri="{FF2B5EF4-FFF2-40B4-BE49-F238E27FC236}">
                <a16:creationId xmlns:a16="http://schemas.microsoft.com/office/drawing/2014/main" id="{226F71EC-633F-6D50-99AA-B0A0FFAF9184}"/>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Conector Reto 17">
            <a:extLst>
              <a:ext uri="{FF2B5EF4-FFF2-40B4-BE49-F238E27FC236}">
                <a16:creationId xmlns:a16="http://schemas.microsoft.com/office/drawing/2014/main" id="{F404C4F1-F966-5611-EB97-F8A2DF8B5159}"/>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6" name="Rounded Rectangle 141">
            <a:extLst>
              <a:ext uri="{FF2B5EF4-FFF2-40B4-BE49-F238E27FC236}">
                <a16:creationId xmlns:a16="http://schemas.microsoft.com/office/drawing/2014/main" id="{37404F9D-225A-60E5-1D97-1B825C1FCD49}"/>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37" name="CaixaDeTexto 89">
            <a:extLst>
              <a:ext uri="{FF2B5EF4-FFF2-40B4-BE49-F238E27FC236}">
                <a16:creationId xmlns:a16="http://schemas.microsoft.com/office/drawing/2014/main" id="{2A5B1098-87D3-F4C3-58EC-095B8A83F88B}"/>
              </a:ext>
            </a:extLst>
          </p:cNvPr>
          <p:cNvSpPr txBox="1"/>
          <p:nvPr/>
        </p:nvSpPr>
        <p:spPr>
          <a:xfrm>
            <a:off x="3380575" y="6294672"/>
            <a:ext cx="821349" cy="400110"/>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Tree>
    <p:extLst>
      <p:ext uri="{BB962C8B-B14F-4D97-AF65-F5344CB8AC3E}">
        <p14:creationId xmlns:p14="http://schemas.microsoft.com/office/powerpoint/2010/main" val="33800717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4055AE-282C-4A83-B1FF-8365292E5EED}"/>
              </a:ext>
            </a:extLst>
          </p:cNvPr>
          <p:cNvSpPr>
            <a:spLocks noGrp="1"/>
          </p:cNvSpPr>
          <p:nvPr>
            <p:ph type="body" sz="quarter" idx="10"/>
          </p:nvPr>
        </p:nvSpPr>
        <p:spPr/>
        <p:txBody>
          <a:bodyPr/>
          <a:lstStyle/>
          <a:p>
            <a:r>
              <a:rPr lang="en-US" dirty="0">
                <a:solidFill>
                  <a:srgbClr val="333333"/>
                </a:solidFill>
                <a:latin typeface="Roboto" panose="02000000000000000000" pitchFamily="2" charset="0"/>
              </a:rPr>
              <a:t>DEF Pump Filter Maintenance</a:t>
            </a:r>
            <a:endParaRPr lang="en-US" i="0" dirty="0">
              <a:solidFill>
                <a:srgbClr val="333333"/>
              </a:solidFill>
              <a:effectLst/>
              <a:latin typeface="Roboto" panose="02000000000000000000" pitchFamily="2" charset="0"/>
            </a:endParaRPr>
          </a:p>
          <a:p>
            <a:endParaRPr lang="en-US" dirty="0"/>
          </a:p>
        </p:txBody>
      </p:sp>
      <p:sp>
        <p:nvSpPr>
          <p:cNvPr id="7" name="Rectangle 6">
            <a:extLst>
              <a:ext uri="{FF2B5EF4-FFF2-40B4-BE49-F238E27FC236}">
                <a16:creationId xmlns:a16="http://schemas.microsoft.com/office/drawing/2014/main" id="{AE1E6A41-9EC9-D98B-238F-8AA28C2660C0}"/>
              </a:ext>
            </a:extLst>
          </p:cNvPr>
          <p:cNvSpPr/>
          <p:nvPr/>
        </p:nvSpPr>
        <p:spPr>
          <a:xfrm>
            <a:off x="415316" y="968452"/>
            <a:ext cx="11375367" cy="2279727"/>
          </a:xfrm>
          <a:prstGeom prst="rect">
            <a:avLst/>
          </a:prstGeom>
        </p:spPr>
        <p:txBody>
          <a:bodyPr wrap="square">
            <a:spAutoFit/>
          </a:bodyPr>
          <a:lstStyle/>
          <a:p>
            <a:pPr marL="380990" indent="-380990" defTabSz="1219170" fontAlgn="base">
              <a:spcBef>
                <a:spcPct val="35000"/>
              </a:spcBef>
              <a:spcAft>
                <a:spcPct val="0"/>
              </a:spcAft>
              <a:buClr>
                <a:srgbClr val="FF140A"/>
              </a:buClr>
              <a:buFont typeface="Arial" panose="020B0604020202020204" pitchFamily="34" charset="0"/>
              <a:buChar char="•"/>
              <a:defRPr/>
            </a:pPr>
            <a:r>
              <a:rPr lang="en-US" sz="2667" dirty="0">
                <a:solidFill>
                  <a:srgbClr val="000000"/>
                </a:solidFill>
                <a:latin typeface="Arial" charset="0"/>
                <a:cs typeface="Arial" charset="0"/>
              </a:rPr>
              <a:t>DEF dosing unit filter replacement is the second maintenance item for aftertreatment system.</a:t>
            </a:r>
          </a:p>
          <a:p>
            <a:pPr marL="990575" lvl="1" indent="-380990" defTabSz="1219170" fontAlgn="base">
              <a:spcBef>
                <a:spcPct val="35000"/>
              </a:spcBef>
              <a:spcAft>
                <a:spcPct val="0"/>
              </a:spcAft>
              <a:buClr>
                <a:srgbClr val="FF140A"/>
              </a:buClr>
              <a:buFont typeface="Arial" panose="020B0604020202020204" pitchFamily="34" charset="0"/>
              <a:buChar char="•"/>
              <a:defRPr/>
            </a:pPr>
            <a:r>
              <a:rPr lang="en-US" sz="2400" dirty="0">
                <a:solidFill>
                  <a:srgbClr val="000000"/>
                </a:solidFill>
                <a:latin typeface="Arial" charset="0"/>
                <a:cs typeface="Arial" charset="0"/>
              </a:rPr>
              <a:t>DEF dosing unit filter replacement occurs at </a:t>
            </a:r>
            <a:r>
              <a:rPr lang="en-US" sz="2400" b="1" dirty="0">
                <a:solidFill>
                  <a:srgbClr val="FF0000"/>
                </a:solidFill>
                <a:latin typeface="Arial" charset="0"/>
                <a:cs typeface="Arial" charset="0"/>
              </a:rPr>
              <a:t>6750 hours</a:t>
            </a:r>
            <a:r>
              <a:rPr lang="en-US" sz="2400" dirty="0">
                <a:solidFill>
                  <a:srgbClr val="000000"/>
                </a:solidFill>
                <a:latin typeface="Arial" charset="0"/>
                <a:cs typeface="Arial" charset="0"/>
              </a:rPr>
              <a:t> or 300,000 miles whichever comes first</a:t>
            </a:r>
          </a:p>
          <a:p>
            <a:pPr marL="990575" lvl="1" indent="-380990" defTabSz="1219170" fontAlgn="base">
              <a:spcBef>
                <a:spcPct val="35000"/>
              </a:spcBef>
              <a:spcAft>
                <a:spcPct val="0"/>
              </a:spcAft>
              <a:buClr>
                <a:srgbClr val="FF140A"/>
              </a:buClr>
              <a:buFont typeface="Arial" panose="020B0604020202020204" pitchFamily="34" charset="0"/>
              <a:buChar char="•"/>
              <a:defRPr/>
            </a:pPr>
            <a:r>
              <a:rPr lang="en-US" sz="2400" dirty="0">
                <a:solidFill>
                  <a:srgbClr val="000000"/>
                </a:solidFill>
                <a:latin typeface="Arial" charset="0"/>
                <a:cs typeface="Arial" charset="0"/>
              </a:rPr>
              <a:t>DEF system both Cummins and OEM require proper clean care</a:t>
            </a:r>
            <a:endParaRPr lang="en-US" sz="2667" dirty="0">
              <a:solidFill>
                <a:srgbClr val="000000"/>
              </a:solidFill>
              <a:latin typeface="Arial" charset="0"/>
              <a:cs typeface="Arial" charset="0"/>
            </a:endParaRPr>
          </a:p>
        </p:txBody>
      </p:sp>
      <p:pic>
        <p:nvPicPr>
          <p:cNvPr id="8" name="Picture 4" descr="13451627">
            <a:extLst>
              <a:ext uri="{FF2B5EF4-FFF2-40B4-BE49-F238E27FC236}">
                <a16:creationId xmlns:a16="http://schemas.microsoft.com/office/drawing/2014/main" id="{62609C35-31B3-193A-5554-A7A97A0ED640}"/>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813573" y="3160468"/>
            <a:ext cx="2978269" cy="3405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9">
            <a:extLst>
              <a:ext uri="{FF2B5EF4-FFF2-40B4-BE49-F238E27FC236}">
                <a16:creationId xmlns:a16="http://schemas.microsoft.com/office/drawing/2014/main" id="{76ABED34-2AE3-C7B7-4068-755B825401B8}"/>
              </a:ext>
            </a:extLst>
          </p:cNvPr>
          <p:cNvSpPr>
            <a:spLocks noGrp="1"/>
          </p:cNvSpPr>
          <p:nvPr>
            <p:ph type="body" sz="quarter" idx="12"/>
          </p:nvPr>
        </p:nvSpPr>
        <p:spPr/>
        <p:txBody>
          <a:bodyPr/>
          <a:lstStyle/>
          <a:p>
            <a:endParaRPr lang="en-US"/>
          </a:p>
        </p:txBody>
      </p:sp>
      <p:pic>
        <p:nvPicPr>
          <p:cNvPr id="11" name="Content Placeholder 8">
            <a:extLst>
              <a:ext uri="{FF2B5EF4-FFF2-40B4-BE49-F238E27FC236}">
                <a16:creationId xmlns:a16="http://schemas.microsoft.com/office/drawing/2014/main" id="{073943E0-A663-C3DE-4515-5DE9488C32EC}"/>
              </a:ext>
            </a:extLst>
          </p:cNvPr>
          <p:cNvPicPr>
            <a:picLocks noChangeAspect="1"/>
          </p:cNvPicPr>
          <p:nvPr/>
        </p:nvPicPr>
        <p:blipFill>
          <a:blip r:embed="rId3"/>
          <a:stretch>
            <a:fillRect/>
          </a:stretch>
        </p:blipFill>
        <p:spPr>
          <a:xfrm>
            <a:off x="3713465" y="3771119"/>
            <a:ext cx="3220529" cy="236868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991427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9882F-DE1D-D53F-D3A0-A66DD59FD9D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87A1766-24AC-CC30-A07C-FCDBFE52436C}"/>
              </a:ext>
            </a:extLst>
          </p:cNvPr>
          <p:cNvSpPr>
            <a:spLocks noGrp="1"/>
          </p:cNvSpPr>
          <p:nvPr>
            <p:ph type="body" sz="quarter" idx="10"/>
          </p:nvPr>
        </p:nvSpPr>
        <p:spPr/>
        <p:txBody>
          <a:bodyPr/>
          <a:lstStyle/>
          <a:p>
            <a:r>
              <a:rPr lang="en-US" i="0" dirty="0">
                <a:solidFill>
                  <a:srgbClr val="333333"/>
                </a:solidFill>
                <a:effectLst/>
                <a:latin typeface="Roboto" panose="02000000000000000000" pitchFamily="2" charset="0"/>
              </a:rPr>
              <a:t>Intake Air Connection Cleaning &amp; Port Cleaning</a:t>
            </a:r>
          </a:p>
          <a:p>
            <a:endParaRPr lang="en-US" dirty="0"/>
          </a:p>
        </p:txBody>
      </p:sp>
      <p:sp>
        <p:nvSpPr>
          <p:cNvPr id="10" name="Text Placeholder 9">
            <a:extLst>
              <a:ext uri="{FF2B5EF4-FFF2-40B4-BE49-F238E27FC236}">
                <a16:creationId xmlns:a16="http://schemas.microsoft.com/office/drawing/2014/main" id="{4EFF296D-7B37-A5C3-0D85-C88F3E4F9FDD}"/>
              </a:ext>
            </a:extLst>
          </p:cNvPr>
          <p:cNvSpPr>
            <a:spLocks noGrp="1"/>
          </p:cNvSpPr>
          <p:nvPr>
            <p:ph type="body" sz="quarter" idx="12"/>
          </p:nvPr>
        </p:nvSpPr>
        <p:spPr/>
        <p:txBody>
          <a:bodyPr/>
          <a:lstStyle/>
          <a:p>
            <a:endParaRPr lang="en-US"/>
          </a:p>
        </p:txBody>
      </p:sp>
      <p:graphicFrame>
        <p:nvGraphicFramePr>
          <p:cNvPr id="3" name="Diagram 2">
            <a:extLst>
              <a:ext uri="{FF2B5EF4-FFF2-40B4-BE49-F238E27FC236}">
                <a16:creationId xmlns:a16="http://schemas.microsoft.com/office/drawing/2014/main" id="{AEE7D9D7-8267-2CE1-C100-1E40A5D11CA4}"/>
              </a:ext>
            </a:extLst>
          </p:cNvPr>
          <p:cNvGraphicFramePr/>
          <p:nvPr>
            <p:extLst>
              <p:ext uri="{D42A27DB-BD31-4B8C-83A1-F6EECF244321}">
                <p14:modId xmlns:p14="http://schemas.microsoft.com/office/powerpoint/2010/main" val="46795305"/>
              </p:ext>
            </p:extLst>
          </p:nvPr>
        </p:nvGraphicFramePr>
        <p:xfrm>
          <a:off x="275906" y="203868"/>
          <a:ext cx="5249788" cy="61642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a:extLst>
              <a:ext uri="{FF2B5EF4-FFF2-40B4-BE49-F238E27FC236}">
                <a16:creationId xmlns:a16="http://schemas.microsoft.com/office/drawing/2014/main" id="{3606D60F-2AF1-3D3A-5D14-7A7B2700625A}"/>
              </a:ext>
            </a:extLst>
          </p:cNvPr>
          <p:cNvPicPr>
            <a:picLocks noChangeAspect="1"/>
          </p:cNvPicPr>
          <p:nvPr/>
        </p:nvPicPr>
        <p:blipFill>
          <a:blip r:embed="rId7"/>
          <a:stretch>
            <a:fillRect/>
          </a:stretch>
        </p:blipFill>
        <p:spPr>
          <a:xfrm>
            <a:off x="5999101" y="1589522"/>
            <a:ext cx="2954614" cy="1926452"/>
          </a:xfrm>
          <a:prstGeom prst="rect">
            <a:avLst/>
          </a:prstGeom>
        </p:spPr>
      </p:pic>
      <p:pic>
        <p:nvPicPr>
          <p:cNvPr id="5" name="Picture 4">
            <a:extLst>
              <a:ext uri="{FF2B5EF4-FFF2-40B4-BE49-F238E27FC236}">
                <a16:creationId xmlns:a16="http://schemas.microsoft.com/office/drawing/2014/main" id="{92A0F40C-EBAF-FB13-A321-FBAB3CB69939}"/>
              </a:ext>
            </a:extLst>
          </p:cNvPr>
          <p:cNvPicPr>
            <a:picLocks noChangeAspect="1"/>
          </p:cNvPicPr>
          <p:nvPr/>
        </p:nvPicPr>
        <p:blipFill>
          <a:blip r:embed="rId8"/>
          <a:stretch>
            <a:fillRect/>
          </a:stretch>
        </p:blipFill>
        <p:spPr>
          <a:xfrm>
            <a:off x="8994151" y="1623968"/>
            <a:ext cx="3046144" cy="1958236"/>
          </a:xfrm>
          <a:prstGeom prst="rect">
            <a:avLst/>
          </a:prstGeom>
        </p:spPr>
      </p:pic>
      <p:sp>
        <p:nvSpPr>
          <p:cNvPr id="6" name="TextBox 5">
            <a:extLst>
              <a:ext uri="{FF2B5EF4-FFF2-40B4-BE49-F238E27FC236}">
                <a16:creationId xmlns:a16="http://schemas.microsoft.com/office/drawing/2014/main" id="{5FA80A5B-EB69-F506-5CFC-77F1889F7510}"/>
              </a:ext>
            </a:extLst>
          </p:cNvPr>
          <p:cNvSpPr txBox="1"/>
          <p:nvPr/>
        </p:nvSpPr>
        <p:spPr>
          <a:xfrm>
            <a:off x="10707490" y="1331273"/>
            <a:ext cx="1287532" cy="369332"/>
          </a:xfrm>
          <a:prstGeom prst="rect">
            <a:avLst/>
          </a:prstGeom>
          <a:noFill/>
        </p:spPr>
        <p:txBody>
          <a:bodyPr wrap="none" rtlCol="0">
            <a:spAutoFit/>
          </a:bodyPr>
          <a:lstStyle/>
          <a:p>
            <a:r>
              <a:rPr lang="en-US" b="1" i="1" dirty="0" err="1">
                <a:solidFill>
                  <a:srgbClr val="000000"/>
                </a:solidFill>
                <a:latin typeface="Arial" panose="020B0604020202020204"/>
              </a:rPr>
              <a:t>MidRange</a:t>
            </a:r>
            <a:endParaRPr lang="en-US" b="1" i="1" dirty="0">
              <a:solidFill>
                <a:srgbClr val="000000"/>
              </a:solidFill>
              <a:latin typeface="Arial" panose="020B0604020202020204"/>
            </a:endParaRPr>
          </a:p>
        </p:txBody>
      </p:sp>
      <p:sp>
        <p:nvSpPr>
          <p:cNvPr id="9" name="Rectangle: Rounded Corners 8">
            <a:extLst>
              <a:ext uri="{FF2B5EF4-FFF2-40B4-BE49-F238E27FC236}">
                <a16:creationId xmlns:a16="http://schemas.microsoft.com/office/drawing/2014/main" id="{70A794EF-00CE-8314-7530-BDDE6912C52A}"/>
              </a:ext>
            </a:extLst>
          </p:cNvPr>
          <p:cNvSpPr/>
          <p:nvPr/>
        </p:nvSpPr>
        <p:spPr>
          <a:xfrm>
            <a:off x="5674593" y="1222427"/>
            <a:ext cx="6419314" cy="2518097"/>
          </a:xfrm>
          <a:prstGeom prst="roundRect">
            <a:avLst/>
          </a:prstGeom>
          <a:no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 name="Title 4">
            <a:extLst>
              <a:ext uri="{FF2B5EF4-FFF2-40B4-BE49-F238E27FC236}">
                <a16:creationId xmlns:a16="http://schemas.microsoft.com/office/drawing/2014/main" id="{E6B7B123-FEE4-9133-A04F-ABEC237BF806}"/>
              </a:ext>
            </a:extLst>
          </p:cNvPr>
          <p:cNvSpPr txBox="1">
            <a:spLocks/>
          </p:cNvSpPr>
          <p:nvPr/>
        </p:nvSpPr>
        <p:spPr>
          <a:xfrm>
            <a:off x="561972" y="182856"/>
            <a:ext cx="10744200" cy="1002069"/>
          </a:xfrm>
          <a:prstGeom prst="rect">
            <a:avLst/>
          </a:prstGeom>
        </p:spPr>
        <p:txBody>
          <a:bodyPr vert="horz" lIns="91440" tIns="45720" rIns="91440" bIns="45720" rtlCol="0" anchor="t">
            <a:normAutofit lnSpcReduction="10000"/>
          </a:bodyPr>
          <a:lstStyle>
            <a:lvl1pPr algn="l" defTabSz="914400" rtl="0" eaLnBrk="1" latinLnBrk="0" hangingPunct="1">
              <a:lnSpc>
                <a:spcPct val="100000"/>
              </a:lnSpc>
              <a:spcBef>
                <a:spcPct val="0"/>
              </a:spcBef>
              <a:buNone/>
              <a:defRPr sz="3600" b="1" i="0" kern="1200">
                <a:solidFill>
                  <a:schemeClr val="tx1"/>
                </a:solidFill>
                <a:latin typeface="Arial" charset="0"/>
                <a:ea typeface="Arial" charset="0"/>
                <a:cs typeface="Arial"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br>
              <a:rPr kumimoji="0" lang="en-US" altLang="en-US" sz="3600" b="1" i="0" u="none" strike="noStrike" kern="1200" cap="none" spc="0" normalizeH="0" baseline="0" noProof="0" dirty="0">
                <a:ln>
                  <a:noFill/>
                </a:ln>
                <a:solidFill>
                  <a:srgbClr val="000000"/>
                </a:solidFill>
                <a:effectLst/>
                <a:uLnTx/>
                <a:uFillTx/>
                <a:latin typeface="Arial" charset="0"/>
                <a:cs typeface="Arial" charset="0"/>
              </a:rPr>
            </a:br>
            <a:r>
              <a:rPr kumimoji="0" lang="en-US" altLang="en-US" sz="2400" b="1" i="1" u="sng" strike="noStrike" kern="1200" cap="none" spc="0" normalizeH="0" baseline="0" noProof="0" dirty="0">
                <a:ln>
                  <a:noFill/>
                </a:ln>
                <a:solidFill>
                  <a:srgbClr val="0066FF"/>
                </a:solidFill>
                <a:effectLst/>
                <a:uLnTx/>
                <a:uFillTx/>
                <a:latin typeface="Arial" charset="0"/>
                <a:cs typeface="Arial" charset="0"/>
              </a:rPr>
              <a:t>Best Practice</a:t>
            </a:r>
            <a:r>
              <a:rPr kumimoji="0" lang="en-US" altLang="en-US" sz="2400" b="1" i="0" u="none" strike="noStrike" kern="1200" cap="none" spc="0" normalizeH="0" baseline="0" noProof="0" dirty="0">
                <a:ln>
                  <a:noFill/>
                </a:ln>
                <a:solidFill>
                  <a:srgbClr val="000000"/>
                </a:solidFill>
                <a:effectLst/>
                <a:uLnTx/>
                <a:uFillTx/>
                <a:latin typeface="Arial" charset="0"/>
                <a:cs typeface="Arial" charset="0"/>
              </a:rPr>
              <a:t> </a:t>
            </a:r>
            <a:endParaRPr kumimoji="0" lang="en-US" sz="2400" b="1" i="1" u="sng" strike="noStrike" kern="1200" cap="none" spc="0" normalizeH="0" baseline="0" noProof="0" dirty="0">
              <a:ln>
                <a:noFill/>
              </a:ln>
              <a:solidFill>
                <a:srgbClr val="0000FF"/>
              </a:solidFill>
              <a:effectLst/>
              <a:uLnTx/>
              <a:uFillTx/>
              <a:latin typeface="Arial" charset="0"/>
              <a:cs typeface="Arial" charset="0"/>
            </a:endParaRPr>
          </a:p>
        </p:txBody>
      </p:sp>
    </p:spTree>
    <p:extLst>
      <p:ext uri="{BB962C8B-B14F-4D97-AF65-F5344CB8AC3E}">
        <p14:creationId xmlns:p14="http://schemas.microsoft.com/office/powerpoint/2010/main" val="20063400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D4A48-0B55-F473-F07F-9ACCE9C0C3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00A0FB-FA73-5AB4-1D0B-EFD5FD4D6F3A}"/>
              </a:ext>
            </a:extLst>
          </p:cNvPr>
          <p:cNvSpPr txBox="1">
            <a:spLocks/>
          </p:cNvSpPr>
          <p:nvPr/>
        </p:nvSpPr>
        <p:spPr>
          <a:xfrm>
            <a:off x="815248" y="657922"/>
            <a:ext cx="4740599" cy="5386039"/>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0000"/>
                </a:solidFill>
                <a:effectLst/>
                <a:uLnTx/>
                <a:uFillTx/>
                <a:latin typeface="Aptos" panose="020B0004020202020204" pitchFamily="34" charset="0"/>
                <a:cs typeface="Arial" panose="020B0604020202020204" pitchFamily="34" charset="0"/>
              </a:rPr>
              <a:t>Agenda</a:t>
            </a:r>
          </a:p>
        </p:txBody>
      </p:sp>
      <p:sp>
        <p:nvSpPr>
          <p:cNvPr id="3" name="TextBox 2">
            <a:extLst>
              <a:ext uri="{FF2B5EF4-FFF2-40B4-BE49-F238E27FC236}">
                <a16:creationId xmlns:a16="http://schemas.microsoft.com/office/drawing/2014/main" id="{3A490787-19A8-44B8-F773-A3BA42960372}"/>
              </a:ext>
            </a:extLst>
          </p:cNvPr>
          <p:cNvSpPr txBox="1"/>
          <p:nvPr/>
        </p:nvSpPr>
        <p:spPr>
          <a:xfrm>
            <a:off x="4321844" y="1528480"/>
            <a:ext cx="7751526" cy="3801041"/>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110004020202020204"/>
              <a:ea typeface="+mn-lt"/>
              <a:cs typeface="+mn-lt"/>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X10 Update </a:t>
            </a:r>
            <a:r>
              <a:rPr kumimoji="0" lang="en-US" sz="12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Greg Bohn)</a:t>
            </a:r>
            <a:endParaRPr kumimoji="0" lang="en-US" sz="28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L9 Routine Maintenance </a:t>
            </a:r>
            <a:r>
              <a:rPr kumimoji="0" lang="en-US" sz="12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Rob Craig)</a:t>
            </a:r>
            <a:endParaRPr kumimoji="0" lang="en-US" sz="2000" b="0" i="0" u="none" strike="noStrike" kern="1200" cap="none" spc="0" normalizeH="0" baseline="0" noProof="0" dirty="0">
              <a:ln>
                <a:noFill/>
              </a:ln>
              <a:solidFill>
                <a:schemeClr val="bg1">
                  <a:lumMod val="95000"/>
                </a:schemeClr>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D9281C"/>
              </a:solidFill>
              <a:effectLst/>
              <a:uLnTx/>
              <a:uFillTx/>
              <a:latin typeface="Aptos"/>
              <a:ea typeface="+mn-ea"/>
              <a:cs typeface="+mn-cs"/>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err="1">
                <a:ln>
                  <a:noFill/>
                </a:ln>
                <a:solidFill>
                  <a:srgbClr val="000000"/>
                </a:solidFill>
                <a:effectLst/>
                <a:uLnTx/>
                <a:uFillTx/>
                <a:latin typeface="Aptos"/>
                <a:ea typeface="+mn-ea"/>
                <a:cs typeface="+mn-cs"/>
              </a:rPr>
              <a:t>Quickserve</a:t>
            </a:r>
            <a:r>
              <a:rPr kumimoji="0" lang="en-US" sz="2800" b="1" i="0" u="none" strike="noStrike" kern="1200" cap="none" spc="0" normalizeH="0" baseline="0" noProof="0" dirty="0">
                <a:ln>
                  <a:noFill/>
                </a:ln>
                <a:solidFill>
                  <a:srgbClr val="000000"/>
                </a:solidFill>
                <a:effectLst/>
                <a:uLnTx/>
                <a:uFillTx/>
                <a:latin typeface="Aptos"/>
                <a:ea typeface="+mn-ea"/>
                <a:cs typeface="+mn-cs"/>
              </a:rPr>
              <a:t> Online </a:t>
            </a:r>
            <a:r>
              <a:rPr kumimoji="0" lang="en-US" sz="1200" b="1" i="0" u="none" strike="noStrike" kern="1200" cap="none" spc="0" normalizeH="0" baseline="0" noProof="0" dirty="0">
                <a:ln>
                  <a:noFill/>
                </a:ln>
                <a:solidFill>
                  <a:srgbClr val="FF0000"/>
                </a:solidFill>
                <a:effectLst/>
                <a:uLnTx/>
                <a:uFillTx/>
                <a:latin typeface="Aptos"/>
                <a:ea typeface="+mn-ea"/>
                <a:cs typeface="+mn-cs"/>
              </a:rPr>
              <a:t>(Rob Craig)</a:t>
            </a:r>
            <a:endParaRPr kumimoji="0" lang="en-US" sz="2800" b="1" i="0" u="none" strike="noStrike" kern="1200" cap="none" spc="0" normalizeH="0" baseline="0" noProof="0" dirty="0">
              <a:ln>
                <a:noFill/>
              </a:ln>
              <a:solidFill>
                <a:srgbClr val="000000"/>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a:ea typeface="+mn-ea"/>
                <a:cs typeface="+mn-cs"/>
              </a:rPr>
              <a:t>	</a:t>
            </a:r>
            <a:r>
              <a:rPr kumimoji="0" lang="en-US" sz="1600" b="1" i="0" u="none" strike="noStrike" kern="1200" cap="none" spc="0" normalizeH="0" baseline="0" noProof="0" dirty="0">
                <a:ln>
                  <a:noFill/>
                </a:ln>
                <a:solidFill>
                  <a:srgbClr val="FF0000"/>
                </a:solidFill>
                <a:effectLst/>
                <a:uLnTx/>
                <a:uFillTx/>
                <a:latin typeface="Aptos"/>
                <a:ea typeface="+mn-ea"/>
                <a:cs typeface="+mn-cs"/>
              </a:rPr>
              <a:t>Live Demo</a:t>
            </a:r>
            <a:endParaRPr kumimoji="0" lang="en-US" sz="2800" b="1" i="0" u="none" strike="noStrike" kern="1200" cap="none" spc="0" normalizeH="0" baseline="0" noProof="0" dirty="0">
              <a:ln>
                <a:noFill/>
              </a:ln>
              <a:solidFill>
                <a:srgbClr val="000000"/>
              </a:solidFill>
              <a:effectLst/>
              <a:uLnTx/>
              <a:uFillTx/>
              <a:latin typeface="Aptos"/>
              <a:ea typeface="+mn-ea"/>
              <a:cs typeface="+mn-cs"/>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rPr>
              <a:t>Diagnostic Service Tool (INSITE / </a:t>
            </a:r>
            <a:r>
              <a:rPr kumimoji="0" lang="en-US" sz="2800" b="1" i="0" u="none" strike="noStrike" kern="1200" cap="none" spc="0" normalizeH="0" baseline="0" noProof="0" dirty="0" err="1">
                <a:ln>
                  <a:noFill/>
                </a:ln>
                <a:solidFill>
                  <a:schemeClr val="bg1">
                    <a:lumMod val="95000"/>
                  </a:schemeClr>
                </a:solidFill>
                <a:effectLst/>
                <a:uLnTx/>
                <a:uFillTx/>
                <a:latin typeface="Aptos"/>
                <a:ea typeface="+mn-ea"/>
                <a:cs typeface="+mn-cs"/>
              </a:rPr>
              <a:t>Guidanz</a:t>
            </a:r>
            <a:r>
              <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rPr>
              <a:t> Diagnostic Toolkit) </a:t>
            </a:r>
            <a:r>
              <a:rPr kumimoji="0" lang="en-US" sz="1200" b="1" i="0" u="none" strike="noStrike" kern="1200" cap="none" spc="0" normalizeH="0" baseline="0" noProof="0" dirty="0">
                <a:ln>
                  <a:noFill/>
                </a:ln>
                <a:solidFill>
                  <a:schemeClr val="bg1">
                    <a:lumMod val="95000"/>
                  </a:schemeClr>
                </a:solidFill>
                <a:effectLst/>
                <a:uLnTx/>
                <a:uFillTx/>
                <a:latin typeface="Aptos"/>
                <a:ea typeface="+mn-ea"/>
                <a:cs typeface="+mn-cs"/>
              </a:rPr>
              <a:t>(Rob Craig)</a:t>
            </a:r>
            <a:endParaRPr kumimoji="0" lang="en-US" sz="2800" b="0" i="0" u="none" strike="noStrike" kern="1200" cap="none" spc="0" normalizeH="0" baseline="0" noProof="0" dirty="0">
              <a:ln>
                <a:noFill/>
              </a:ln>
              <a:solidFill>
                <a:schemeClr val="bg1">
                  <a:lumMod val="95000"/>
                </a:schemeClr>
              </a:solidFill>
              <a:effectLst/>
              <a:uLnTx/>
              <a:uFillTx/>
              <a:latin typeface="Aptos"/>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6" name="Text Placeholder 5">
            <a:extLst>
              <a:ext uri="{FF2B5EF4-FFF2-40B4-BE49-F238E27FC236}">
                <a16:creationId xmlns:a16="http://schemas.microsoft.com/office/drawing/2014/main" id="{21E2D19F-6428-0FFF-C1BC-5F09F045B80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719428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68B625A-1EC4-4117-BC45-E91808C07FC4}"/>
              </a:ext>
            </a:extLst>
          </p:cNvPr>
          <p:cNvSpPr>
            <a:spLocks noGrp="1"/>
          </p:cNvSpPr>
          <p:nvPr>
            <p:ph idx="1"/>
          </p:nvPr>
        </p:nvSpPr>
        <p:spPr>
          <a:xfrm>
            <a:off x="1101148" y="1576574"/>
            <a:ext cx="7105006" cy="5035601"/>
          </a:xfrm>
        </p:spPr>
        <p:txBody>
          <a:bodyPr/>
          <a:lstStyle/>
          <a:p>
            <a:pPr marL="0" indent="0">
              <a:buNone/>
            </a:pPr>
            <a:r>
              <a:rPr lang="en-US" sz="2000" dirty="0">
                <a:latin typeface="Calibri" panose="020F0502020204030204" pitchFamily="34" charset="0"/>
                <a:cs typeface="Calibri" panose="020F0502020204030204" pitchFamily="34" charset="0"/>
              </a:rPr>
              <a:t>Web-based diagnostic program that allows you to troubleshoot Cummins electronic engines.</a:t>
            </a:r>
          </a:p>
          <a:p>
            <a:pPr>
              <a:buFont typeface="Wingdings" panose="05000000000000000000" pitchFamily="2" charset="2"/>
              <a:buChar char="Ø"/>
            </a:pPr>
            <a:r>
              <a:rPr lang="en-US" sz="2000" b="1" dirty="0">
                <a:latin typeface="Calibri" panose="020F0502020204030204" pitchFamily="34" charset="0"/>
                <a:cs typeface="Calibri" panose="020F0502020204030204" pitchFamily="34" charset="0"/>
              </a:rPr>
              <a:t>Access to all Engine Manuals</a:t>
            </a:r>
          </a:p>
          <a:p>
            <a:pPr>
              <a:buFont typeface="Wingdings" panose="05000000000000000000" pitchFamily="2" charset="2"/>
              <a:buChar char="Ø"/>
            </a:pPr>
            <a:r>
              <a:rPr lang="en-US" sz="2000" b="1" dirty="0">
                <a:latin typeface="Calibri" panose="020F0502020204030204" pitchFamily="34" charset="0"/>
                <a:cs typeface="Calibri" panose="020F0502020204030204" pitchFamily="34" charset="0"/>
              </a:rPr>
              <a:t>Access to Service Bulletins and Technical Service Bulletins (TSBs)</a:t>
            </a:r>
          </a:p>
          <a:p>
            <a:pPr>
              <a:buFont typeface="Wingdings" panose="05000000000000000000" pitchFamily="2" charset="2"/>
              <a:buChar char="Ø"/>
            </a:pPr>
            <a:r>
              <a:rPr lang="en-US" sz="2000" b="1" dirty="0">
                <a:latin typeface="Calibri" panose="020F0502020204030204" pitchFamily="34" charset="0"/>
                <a:cs typeface="Calibri" panose="020F0502020204030204" pitchFamily="34" charset="0"/>
              </a:rPr>
              <a:t>Access to Fault Code Search and Symptom Search</a:t>
            </a:r>
          </a:p>
          <a:p>
            <a:pPr>
              <a:buFont typeface="Wingdings" panose="05000000000000000000" pitchFamily="2" charset="2"/>
              <a:buChar char="Ø"/>
            </a:pPr>
            <a:r>
              <a:rPr lang="en-US" sz="2000" b="1" dirty="0">
                <a:latin typeface="Calibri" panose="020F0502020204030204" pitchFamily="34" charset="0"/>
                <a:cs typeface="Calibri" panose="020F0502020204030204" pitchFamily="34" charset="0"/>
              </a:rPr>
              <a:t>Access to Warranty Manual</a:t>
            </a:r>
          </a:p>
          <a:p>
            <a:pPr marL="0" indent="0">
              <a:buNone/>
            </a:pPr>
            <a:endParaRPr lang="en-US" sz="900" b="1" dirty="0">
              <a:latin typeface="Calibri" panose="020F0502020204030204" pitchFamily="34" charset="0"/>
              <a:cs typeface="Calibri" panose="020F0502020204030204" pitchFamily="34" charset="0"/>
            </a:endParaRPr>
          </a:p>
          <a:p>
            <a:pPr lvl="1">
              <a:buFont typeface="Wingdings" panose="05000000000000000000" pitchFamily="2" charset="2"/>
              <a:buChar char="v"/>
            </a:pPr>
            <a:r>
              <a:rPr lang="en-US" sz="1600" b="1" i="1" dirty="0">
                <a:solidFill>
                  <a:srgbClr val="0000FF"/>
                </a:solidFill>
                <a:latin typeface="Calibri" panose="020F0502020204030204" pitchFamily="34" charset="0"/>
                <a:cs typeface="Calibri" panose="020F0502020204030204" pitchFamily="34" charset="0"/>
              </a:rPr>
              <a:t>QSOL Free Version </a:t>
            </a:r>
            <a:r>
              <a:rPr lang="en-US" sz="1600" b="1" i="1" dirty="0">
                <a:latin typeface="Calibri" panose="020F0502020204030204" pitchFamily="34" charset="0"/>
                <a:cs typeface="Calibri" panose="020F0502020204030204" pitchFamily="34" charset="0"/>
              </a:rPr>
              <a:t>– </a:t>
            </a:r>
            <a:r>
              <a:rPr lang="en-US" sz="1600" i="1" dirty="0">
                <a:latin typeface="Calibri" panose="020F0502020204030204" pitchFamily="34" charset="0"/>
                <a:cs typeface="Calibri" panose="020F0502020204030204" pitchFamily="34" charset="0"/>
              </a:rPr>
              <a:t>Up to 5 Engine Serial Numbers when using the free version, gives the user access to all the features listed above.</a:t>
            </a:r>
          </a:p>
          <a:p>
            <a:pPr lvl="1">
              <a:buFont typeface="Wingdings" panose="05000000000000000000" pitchFamily="2" charset="2"/>
              <a:buChar char="v"/>
            </a:pPr>
            <a:r>
              <a:rPr lang="en-US" sz="1600" b="1" i="1" dirty="0">
                <a:solidFill>
                  <a:srgbClr val="0000FF"/>
                </a:solidFill>
                <a:latin typeface="Calibri" panose="020F0502020204030204" pitchFamily="34" charset="0"/>
                <a:cs typeface="Calibri" panose="020F0502020204030204" pitchFamily="34" charset="0"/>
              </a:rPr>
              <a:t>QSOL Paid Version (Currently $810 yearly subscription) </a:t>
            </a:r>
            <a:r>
              <a:rPr lang="en-US" sz="1600" b="1" i="1" dirty="0">
                <a:latin typeface="Calibri" panose="020F0502020204030204" pitchFamily="34" charset="0"/>
                <a:cs typeface="Calibri" panose="020F0502020204030204" pitchFamily="34" charset="0"/>
              </a:rPr>
              <a:t>– </a:t>
            </a:r>
            <a:r>
              <a:rPr lang="en-US" sz="1600" i="1" dirty="0">
                <a:latin typeface="Calibri" panose="020F0502020204030204" pitchFamily="34" charset="0"/>
                <a:cs typeface="Calibri" panose="020F0502020204030204" pitchFamily="34" charset="0"/>
              </a:rPr>
              <a:t>Access to all the features listed above and the following additional features.</a:t>
            </a:r>
          </a:p>
          <a:p>
            <a:pPr>
              <a:buFont typeface="Wingdings" panose="05000000000000000000" pitchFamily="2" charset="2"/>
              <a:buChar char="Ø"/>
            </a:pPr>
            <a:r>
              <a:rPr lang="en-US" sz="2000" b="1" dirty="0">
                <a:latin typeface="Calibri" panose="020F0502020204030204" pitchFamily="34" charset="0"/>
                <a:cs typeface="Calibri" panose="020F0502020204030204" pitchFamily="34" charset="0"/>
              </a:rPr>
              <a:t>Unlimited number of Engine Serial Numbers</a:t>
            </a:r>
          </a:p>
          <a:p>
            <a:pPr>
              <a:buFont typeface="Wingdings" panose="05000000000000000000" pitchFamily="2" charset="2"/>
              <a:buChar char="Ø"/>
            </a:pPr>
            <a:r>
              <a:rPr lang="en-US" sz="2000" b="1" dirty="0">
                <a:latin typeface="Calibri" panose="020F0502020204030204" pitchFamily="34" charset="0"/>
                <a:cs typeface="Calibri" panose="020F0502020204030204" pitchFamily="34" charset="0"/>
              </a:rPr>
              <a:t>Access to Field Action information (Campaigns, TRPs, ATCs)</a:t>
            </a:r>
          </a:p>
          <a:p>
            <a:pPr>
              <a:buFont typeface="Wingdings" panose="05000000000000000000" pitchFamily="2" charset="2"/>
              <a:buChar char="Ø"/>
            </a:pPr>
            <a:r>
              <a:rPr lang="en-US" sz="2000" b="1" dirty="0">
                <a:latin typeface="Calibri" panose="020F0502020204030204" pitchFamily="34" charset="0"/>
                <a:cs typeface="Calibri" panose="020F0502020204030204" pitchFamily="34" charset="0"/>
              </a:rPr>
              <a:t>Access to Cummins Service Training</a:t>
            </a:r>
          </a:p>
          <a:p>
            <a:pPr lvl="1">
              <a:buFont typeface="Wingdings" panose="05000000000000000000" pitchFamily="2" charset="2"/>
              <a:buChar char="v"/>
            </a:pPr>
            <a:endParaRPr lang="en-US" sz="1600" i="1" dirty="0">
              <a:latin typeface="Calibri" panose="020F0502020204030204" pitchFamily="34" charset="0"/>
              <a:cs typeface="Calibri" panose="020F0502020204030204" pitchFamily="34" charset="0"/>
            </a:endParaRPr>
          </a:p>
          <a:p>
            <a:pPr lvl="1">
              <a:buFont typeface="Wingdings" panose="05000000000000000000" pitchFamily="2" charset="2"/>
              <a:buChar char="v"/>
            </a:pPr>
            <a:endParaRPr lang="en-US" sz="1600" b="1" i="1" dirty="0">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76BE87F2-99BD-E359-6F96-08995292F25D}"/>
              </a:ext>
            </a:extLst>
          </p:cNvPr>
          <p:cNvPicPr>
            <a:picLocks noChangeAspect="1"/>
          </p:cNvPicPr>
          <p:nvPr/>
        </p:nvPicPr>
        <p:blipFill>
          <a:blip r:embed="rId3"/>
          <a:stretch>
            <a:fillRect/>
          </a:stretch>
        </p:blipFill>
        <p:spPr>
          <a:xfrm>
            <a:off x="3753551" y="245825"/>
            <a:ext cx="4684897" cy="1041089"/>
          </a:xfrm>
          <a:prstGeom prst="rect">
            <a:avLst/>
          </a:prstGeom>
        </p:spPr>
      </p:pic>
    </p:spTree>
    <p:extLst>
      <p:ext uri="{BB962C8B-B14F-4D97-AF65-F5344CB8AC3E}">
        <p14:creationId xmlns:p14="http://schemas.microsoft.com/office/powerpoint/2010/main" val="32257730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28EAB2-E6DF-5BC0-B40E-B93CF63943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2ECB94-B727-D490-187C-B87677686706}"/>
              </a:ext>
            </a:extLst>
          </p:cNvPr>
          <p:cNvSpPr txBox="1">
            <a:spLocks/>
          </p:cNvSpPr>
          <p:nvPr/>
        </p:nvSpPr>
        <p:spPr>
          <a:xfrm>
            <a:off x="815248" y="657922"/>
            <a:ext cx="4740599" cy="5386039"/>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0000"/>
                </a:solidFill>
                <a:effectLst/>
                <a:uLnTx/>
                <a:uFillTx/>
                <a:latin typeface="Aptos" panose="020B0004020202020204" pitchFamily="34" charset="0"/>
                <a:cs typeface="Arial" panose="020B0604020202020204" pitchFamily="34" charset="0"/>
              </a:rPr>
              <a:t>Agenda</a:t>
            </a:r>
          </a:p>
        </p:txBody>
      </p:sp>
      <p:sp>
        <p:nvSpPr>
          <p:cNvPr id="3" name="TextBox 2">
            <a:extLst>
              <a:ext uri="{FF2B5EF4-FFF2-40B4-BE49-F238E27FC236}">
                <a16:creationId xmlns:a16="http://schemas.microsoft.com/office/drawing/2014/main" id="{5BCC7C18-7DA1-922B-67C3-2D1AD9E2A6B4}"/>
              </a:ext>
            </a:extLst>
          </p:cNvPr>
          <p:cNvSpPr txBox="1"/>
          <p:nvPr/>
        </p:nvSpPr>
        <p:spPr>
          <a:xfrm>
            <a:off x="4321844" y="1528480"/>
            <a:ext cx="7751526" cy="3801041"/>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ptos" panose="02110004020202020204"/>
              <a:ea typeface="+mn-lt"/>
              <a:cs typeface="+mn-lt"/>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X10 Update </a:t>
            </a:r>
            <a:r>
              <a:rPr kumimoji="0" lang="en-US" sz="12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Greg Bohn)</a:t>
            </a:r>
            <a:endParaRPr kumimoji="0" lang="en-US" sz="28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L9 Routine Maintenance </a:t>
            </a:r>
            <a:r>
              <a:rPr kumimoji="0" lang="en-US" sz="1200" b="1" i="0" u="none" strike="noStrike" kern="1200" cap="none" spc="0" normalizeH="0" baseline="0" noProof="0" dirty="0">
                <a:ln>
                  <a:noFill/>
                </a:ln>
                <a:solidFill>
                  <a:schemeClr val="bg1">
                    <a:lumMod val="95000"/>
                  </a:schemeClr>
                </a:solidFill>
                <a:effectLst/>
                <a:uLnTx/>
                <a:uFillTx/>
                <a:latin typeface="Aptos" panose="02110004020202020204"/>
                <a:ea typeface="+mn-lt"/>
                <a:cs typeface="+mn-lt"/>
              </a:rPr>
              <a:t>(Rob Craig)</a:t>
            </a:r>
            <a:endParaRPr kumimoji="0" lang="en-US" sz="2000" b="0" i="0" u="none" strike="noStrike" kern="1200" cap="none" spc="0" normalizeH="0" baseline="0" noProof="0" dirty="0">
              <a:ln>
                <a:noFill/>
              </a:ln>
              <a:solidFill>
                <a:schemeClr val="bg1">
                  <a:lumMod val="95000"/>
                </a:schemeClr>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bg1">
                  <a:lumMod val="95000"/>
                </a:schemeClr>
              </a:solidFill>
              <a:effectLst/>
              <a:uLnTx/>
              <a:uFillTx/>
              <a:latin typeface="Aptos"/>
              <a:ea typeface="+mn-ea"/>
              <a:cs typeface="+mn-cs"/>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err="1">
                <a:ln>
                  <a:noFill/>
                </a:ln>
                <a:solidFill>
                  <a:schemeClr val="bg1">
                    <a:lumMod val="95000"/>
                  </a:schemeClr>
                </a:solidFill>
                <a:effectLst/>
                <a:uLnTx/>
                <a:uFillTx/>
                <a:latin typeface="Aptos"/>
                <a:ea typeface="+mn-ea"/>
                <a:cs typeface="+mn-cs"/>
              </a:rPr>
              <a:t>Quickserve</a:t>
            </a:r>
            <a:r>
              <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rPr>
              <a:t> Online </a:t>
            </a:r>
            <a:r>
              <a:rPr kumimoji="0" lang="en-US" sz="1200" b="1" i="0" u="none" strike="noStrike" kern="1200" cap="none" spc="0" normalizeH="0" baseline="0" noProof="0" dirty="0">
                <a:ln>
                  <a:noFill/>
                </a:ln>
                <a:solidFill>
                  <a:schemeClr val="bg1">
                    <a:lumMod val="95000"/>
                  </a:schemeClr>
                </a:solidFill>
                <a:effectLst/>
                <a:uLnTx/>
                <a:uFillTx/>
                <a:latin typeface="Aptos"/>
                <a:ea typeface="+mn-ea"/>
                <a:cs typeface="+mn-cs"/>
              </a:rPr>
              <a:t>(Rob Craig)</a:t>
            </a:r>
            <a:endPar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rPr>
              <a:t>	</a:t>
            </a:r>
            <a:r>
              <a:rPr kumimoji="0" lang="en-US" sz="1600" b="1" i="0" u="none" strike="noStrike" kern="1200" cap="none" spc="0" normalizeH="0" baseline="0" noProof="0" dirty="0">
                <a:ln>
                  <a:noFill/>
                </a:ln>
                <a:solidFill>
                  <a:schemeClr val="bg1">
                    <a:lumMod val="95000"/>
                  </a:schemeClr>
                </a:solidFill>
                <a:effectLst/>
                <a:uLnTx/>
                <a:uFillTx/>
                <a:latin typeface="Aptos"/>
                <a:ea typeface="+mn-ea"/>
                <a:cs typeface="+mn-cs"/>
              </a:rPr>
              <a:t>Live Demo</a:t>
            </a:r>
            <a:endParaRPr kumimoji="0" lang="en-US" sz="2800" b="1" i="0" u="none" strike="noStrike" kern="1200" cap="none" spc="0" normalizeH="0" baseline="0" noProof="0" dirty="0">
              <a:ln>
                <a:noFill/>
              </a:ln>
              <a:solidFill>
                <a:schemeClr val="bg1">
                  <a:lumMod val="95000"/>
                </a:schemeClr>
              </a:solidFill>
              <a:effectLst/>
              <a:uLnTx/>
              <a:uFillTx/>
              <a:latin typeface="Aptos"/>
              <a:ea typeface="+mn-ea"/>
              <a:cs typeface="+mn-cs"/>
            </a:endParaRPr>
          </a:p>
          <a:p>
            <a:pPr marL="457200" marR="0" lvl="0" indent="-4572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800" b="1" i="0" u="none" strike="noStrike" kern="1200" cap="none" spc="0" normalizeH="0" baseline="0" noProof="0" dirty="0">
                <a:ln>
                  <a:noFill/>
                </a:ln>
                <a:solidFill>
                  <a:srgbClr val="000000"/>
                </a:solidFill>
                <a:effectLst/>
                <a:uLnTx/>
                <a:uFillTx/>
                <a:latin typeface="Aptos"/>
                <a:ea typeface="+mn-ea"/>
                <a:cs typeface="+mn-cs"/>
              </a:rPr>
              <a:t>Diagnostic Service Tool (INSITE / </a:t>
            </a:r>
            <a:r>
              <a:rPr kumimoji="0" lang="en-US" sz="2800" b="1" i="0" u="none" strike="noStrike" kern="1200" cap="none" spc="0" normalizeH="0" baseline="0" noProof="0" dirty="0" err="1">
                <a:ln>
                  <a:noFill/>
                </a:ln>
                <a:solidFill>
                  <a:srgbClr val="000000"/>
                </a:solidFill>
                <a:effectLst/>
                <a:uLnTx/>
                <a:uFillTx/>
                <a:latin typeface="Aptos"/>
                <a:ea typeface="+mn-ea"/>
                <a:cs typeface="+mn-cs"/>
              </a:rPr>
              <a:t>Guidanz</a:t>
            </a:r>
            <a:r>
              <a:rPr kumimoji="0" lang="en-US" sz="2800" b="1" i="0" u="none" strike="noStrike" kern="1200" cap="none" spc="0" normalizeH="0" baseline="0" noProof="0" dirty="0">
                <a:ln>
                  <a:noFill/>
                </a:ln>
                <a:solidFill>
                  <a:srgbClr val="000000"/>
                </a:solidFill>
                <a:effectLst/>
                <a:uLnTx/>
                <a:uFillTx/>
                <a:latin typeface="Aptos"/>
                <a:ea typeface="+mn-ea"/>
                <a:cs typeface="+mn-cs"/>
              </a:rPr>
              <a:t> Diagnostic Toolkit) </a:t>
            </a:r>
            <a:r>
              <a:rPr kumimoji="0" lang="en-US" sz="1200" b="1" i="0" u="none" strike="noStrike" kern="1200" cap="none" spc="0" normalizeH="0" baseline="0" noProof="0" dirty="0">
                <a:ln>
                  <a:noFill/>
                </a:ln>
                <a:solidFill>
                  <a:srgbClr val="FF0000"/>
                </a:solidFill>
                <a:effectLst/>
                <a:uLnTx/>
                <a:uFillTx/>
                <a:latin typeface="Aptos"/>
                <a:ea typeface="+mn-ea"/>
                <a:cs typeface="+mn-cs"/>
              </a:rPr>
              <a:t>(Rob Craig)</a:t>
            </a:r>
            <a:endParaRPr kumimoji="0" lang="en-US" sz="2800" b="0" i="0" u="none" strike="noStrike" kern="1200" cap="none" spc="0" normalizeH="0" baseline="0" noProof="0" dirty="0">
              <a:ln>
                <a:noFill/>
              </a:ln>
              <a:solidFill>
                <a:srgbClr val="000000"/>
              </a:solidFill>
              <a:effectLst/>
              <a:uLnTx/>
              <a:uFillTx/>
              <a:latin typeface="Aptos"/>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6" name="Text Placeholder 5">
            <a:extLst>
              <a:ext uri="{FF2B5EF4-FFF2-40B4-BE49-F238E27FC236}">
                <a16:creationId xmlns:a16="http://schemas.microsoft.com/office/drawing/2014/main" id="{600BF308-592C-AC29-792D-B2627F37C72C}"/>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6637347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20B42-FF5A-45F3-9635-CD4884DF5B0A}"/>
              </a:ext>
            </a:extLst>
          </p:cNvPr>
          <p:cNvSpPr>
            <a:spLocks noGrp="1"/>
          </p:cNvSpPr>
          <p:nvPr>
            <p:ph type="title"/>
          </p:nvPr>
        </p:nvSpPr>
        <p:spPr>
          <a:xfrm>
            <a:off x="1085517" y="132860"/>
            <a:ext cx="7487960" cy="1154545"/>
          </a:xfrm>
        </p:spPr>
        <p:txBody>
          <a:bodyPr>
            <a:normAutofit fontScale="90000"/>
          </a:bodyPr>
          <a:lstStyle/>
          <a:p>
            <a:r>
              <a:rPr lang="en-US" sz="2800" b="1" i="0" cap="all" dirty="0">
                <a:solidFill>
                  <a:srgbClr val="393939"/>
                </a:solidFill>
                <a:effectLst/>
                <a:latin typeface="Neue Helvetica W05"/>
              </a:rPr>
              <a:t>INSITE™ ENGINE DIAGNOSTICS –</a:t>
            </a:r>
            <a:br>
              <a:rPr lang="en-US" sz="2800" b="1" i="0" cap="all" dirty="0">
                <a:solidFill>
                  <a:srgbClr val="393939"/>
                </a:solidFill>
                <a:effectLst/>
                <a:latin typeface="Neue Helvetica W05"/>
              </a:rPr>
            </a:br>
            <a:r>
              <a:rPr lang="en-US" sz="2800" b="1" i="0" cap="all" dirty="0">
                <a:solidFill>
                  <a:srgbClr val="393939"/>
                </a:solidFill>
                <a:effectLst/>
                <a:latin typeface="Neue Helvetica W05"/>
              </a:rPr>
              <a:t>Yearly subscription</a:t>
            </a:r>
            <a:r>
              <a:rPr lang="en-US" sz="2800" dirty="0">
                <a:solidFill>
                  <a:srgbClr val="0000FF"/>
                </a:solidFill>
              </a:rPr>
              <a:t> </a:t>
            </a:r>
            <a:br>
              <a:rPr lang="en-US" sz="2800" dirty="0">
                <a:solidFill>
                  <a:srgbClr val="0000FF"/>
                </a:solidFill>
              </a:rPr>
            </a:br>
            <a:endParaRPr lang="en-US" sz="2800" dirty="0"/>
          </a:p>
        </p:txBody>
      </p:sp>
      <p:sp>
        <p:nvSpPr>
          <p:cNvPr id="3" name="Content Placeholder 2">
            <a:extLst>
              <a:ext uri="{FF2B5EF4-FFF2-40B4-BE49-F238E27FC236}">
                <a16:creationId xmlns:a16="http://schemas.microsoft.com/office/drawing/2014/main" id="{268B625A-1EC4-4117-BC45-E91808C07FC4}"/>
              </a:ext>
            </a:extLst>
          </p:cNvPr>
          <p:cNvSpPr>
            <a:spLocks noGrp="1"/>
          </p:cNvSpPr>
          <p:nvPr>
            <p:ph idx="1"/>
          </p:nvPr>
        </p:nvSpPr>
        <p:spPr>
          <a:xfrm>
            <a:off x="1085517" y="1154544"/>
            <a:ext cx="5860229" cy="4611927"/>
          </a:xfrm>
        </p:spPr>
        <p:txBody>
          <a:bodyPr/>
          <a:lstStyle/>
          <a:p>
            <a:pPr marL="0" indent="0">
              <a:buNone/>
            </a:pPr>
            <a:r>
              <a:rPr lang="en-US" sz="2000" dirty="0">
                <a:latin typeface="Calibri" panose="020F0502020204030204" pitchFamily="34" charset="0"/>
                <a:cs typeface="Calibri" panose="020F0502020204030204" pitchFamily="34" charset="0"/>
              </a:rPr>
              <a:t>INSITE™ is a Microsoft Windows based electronic service diagnostic program that allows you to troubleshoot Cummins electronic engines.</a:t>
            </a:r>
          </a:p>
          <a:p>
            <a:pPr>
              <a:buFont typeface="Wingdings" panose="05000000000000000000" pitchFamily="2" charset="2"/>
              <a:buChar char="Ø"/>
            </a:pPr>
            <a:r>
              <a:rPr lang="en-US" sz="2000" b="1" dirty="0">
                <a:solidFill>
                  <a:srgbClr val="FF0000"/>
                </a:solidFill>
                <a:latin typeface="Calibri" panose="020F0502020204030204" pitchFamily="34" charset="0"/>
                <a:cs typeface="Calibri" panose="020F0502020204030204" pitchFamily="34" charset="0"/>
              </a:rPr>
              <a:t>Insite Pro  (Current Price $840) </a:t>
            </a:r>
            <a:r>
              <a:rPr lang="en-US" sz="2000" b="1" dirty="0">
                <a:latin typeface="Calibri" panose="020F0502020204030204" pitchFamily="34" charset="0"/>
                <a:cs typeface="Calibri" panose="020F0502020204030204" pitchFamily="34" charset="0"/>
              </a:rPr>
              <a:t>– Activation key required – All of the same capabilities of Lite, but allows ECM calibration download and Programable Data Device (PDD) calibrations </a:t>
            </a:r>
          </a:p>
          <a:p>
            <a:pPr>
              <a:buFont typeface="Wingdings" panose="05000000000000000000" pitchFamily="2" charset="2"/>
              <a:buChar char="Ø"/>
            </a:pPr>
            <a:endParaRPr lang="en-US" sz="2000" b="1" dirty="0">
              <a:latin typeface="Calibri" panose="020F0502020204030204" pitchFamily="34" charset="0"/>
              <a:cs typeface="Calibri" panose="020F0502020204030204" pitchFamily="34" charset="0"/>
            </a:endParaRPr>
          </a:p>
          <a:p>
            <a:pPr lvl="1">
              <a:buFont typeface="Wingdings" panose="05000000000000000000" pitchFamily="2" charset="2"/>
              <a:buChar char="v"/>
            </a:pPr>
            <a:r>
              <a:rPr lang="en-US" sz="1600" b="1" i="1" dirty="0">
                <a:solidFill>
                  <a:srgbClr val="0000FF"/>
                </a:solidFill>
                <a:latin typeface="Calibri" panose="020F0502020204030204" pitchFamily="34" charset="0"/>
                <a:cs typeface="Calibri" panose="020F0502020204030204" pitchFamily="34" charset="0"/>
              </a:rPr>
              <a:t>Insite Basic </a:t>
            </a:r>
            <a:r>
              <a:rPr lang="en-US" sz="1600" b="1" i="1" dirty="0">
                <a:latin typeface="Calibri" panose="020F0502020204030204" pitchFamily="34" charset="0"/>
                <a:cs typeface="Calibri" panose="020F0502020204030204" pitchFamily="34" charset="0"/>
              </a:rPr>
              <a:t>– </a:t>
            </a:r>
            <a:r>
              <a:rPr lang="en-US" sz="1600" i="1" dirty="0">
                <a:latin typeface="Calibri" panose="020F0502020204030204" pitchFamily="34" charset="0"/>
                <a:cs typeface="Calibri" panose="020F0502020204030204" pitchFamily="34" charset="0"/>
              </a:rPr>
              <a:t>Read only software – This the basic software when loading Insite – Insite will revert to this when your license expires – will not allow any ECM changes or diagnostics – Read Only </a:t>
            </a:r>
          </a:p>
          <a:p>
            <a:pPr lvl="1">
              <a:buFont typeface="Wingdings" panose="05000000000000000000" pitchFamily="2" charset="2"/>
              <a:buChar char="v"/>
            </a:pPr>
            <a:r>
              <a:rPr lang="en-US" sz="1600" b="1" i="1" dirty="0">
                <a:solidFill>
                  <a:srgbClr val="0000FF"/>
                </a:solidFill>
                <a:latin typeface="Calibri" panose="020F0502020204030204" pitchFamily="34" charset="0"/>
                <a:cs typeface="Calibri" panose="020F0502020204030204" pitchFamily="34" charset="0"/>
              </a:rPr>
              <a:t>Insite Lite (Current Price $785) </a:t>
            </a:r>
            <a:r>
              <a:rPr lang="en-US" sz="1600" b="1" i="1" dirty="0">
                <a:latin typeface="Calibri" panose="020F0502020204030204" pitchFamily="34" charset="0"/>
                <a:cs typeface="Calibri" panose="020F0502020204030204" pitchFamily="34" charset="0"/>
              </a:rPr>
              <a:t>– </a:t>
            </a:r>
            <a:r>
              <a:rPr lang="en-US" sz="1600" i="1" dirty="0">
                <a:latin typeface="Calibri" panose="020F0502020204030204" pitchFamily="34" charset="0"/>
                <a:cs typeface="Calibri" panose="020F0502020204030204" pitchFamily="34" charset="0"/>
              </a:rPr>
              <a:t>Activation key required– Performs all functions except ECM calibrations </a:t>
            </a:r>
          </a:p>
          <a:p>
            <a:pPr lvl="1">
              <a:buFont typeface="Wingdings" panose="05000000000000000000" pitchFamily="2" charset="2"/>
              <a:buChar char="v"/>
            </a:pPr>
            <a:endParaRPr lang="en-US" sz="1600" b="1" i="1" dirty="0">
              <a:latin typeface="Calibri" panose="020F0502020204030204" pitchFamily="34" charset="0"/>
              <a:cs typeface="Calibri" panose="020F0502020204030204" pitchFamily="34" charset="0"/>
            </a:endParaRPr>
          </a:p>
          <a:p>
            <a:pPr marL="0" indent="0">
              <a:buNone/>
            </a:pPr>
            <a:r>
              <a:rPr lang="en-US" sz="2000" dirty="0">
                <a:latin typeface="Calibri" panose="020F0502020204030204" pitchFamily="34" charset="0"/>
                <a:cs typeface="Calibri" panose="020F0502020204030204" pitchFamily="34" charset="0"/>
              </a:rPr>
              <a:t>INSITE requires  - Cummins USB Inline 7 RP1210 or equivalent datalink connector </a:t>
            </a:r>
          </a:p>
        </p:txBody>
      </p:sp>
      <p:pic>
        <p:nvPicPr>
          <p:cNvPr id="5" name="Picture 4">
            <a:extLst>
              <a:ext uri="{FF2B5EF4-FFF2-40B4-BE49-F238E27FC236}">
                <a16:creationId xmlns:a16="http://schemas.microsoft.com/office/drawing/2014/main" id="{726CFEBB-7442-2864-B26B-8175ECDD5D59}"/>
              </a:ext>
            </a:extLst>
          </p:cNvPr>
          <p:cNvPicPr>
            <a:picLocks noChangeAspect="1"/>
          </p:cNvPicPr>
          <p:nvPr/>
        </p:nvPicPr>
        <p:blipFill>
          <a:blip r:embed="rId3"/>
          <a:stretch>
            <a:fillRect/>
          </a:stretch>
        </p:blipFill>
        <p:spPr>
          <a:xfrm>
            <a:off x="7333285" y="1826669"/>
            <a:ext cx="4410075" cy="3019425"/>
          </a:xfrm>
          <a:prstGeom prst="rect">
            <a:avLst/>
          </a:prstGeom>
        </p:spPr>
      </p:pic>
    </p:spTree>
    <p:extLst>
      <p:ext uri="{BB962C8B-B14F-4D97-AF65-F5344CB8AC3E}">
        <p14:creationId xmlns:p14="http://schemas.microsoft.com/office/powerpoint/2010/main" val="42745385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3432B0-53CB-4007-36C5-0566F15C6979}"/>
              </a:ext>
            </a:extLst>
          </p:cNvPr>
          <p:cNvSpPr>
            <a:spLocks noGrp="1"/>
          </p:cNvSpPr>
          <p:nvPr>
            <p:ph type="body" sz="quarter" idx="10"/>
          </p:nvPr>
        </p:nvSpPr>
        <p:spPr/>
        <p:txBody>
          <a:bodyPr/>
          <a:lstStyle/>
          <a:p>
            <a:r>
              <a:rPr lang="en-US" dirty="0"/>
              <a:t>Guidanz Diagnostic Toolkit Subscription Options</a:t>
            </a:r>
          </a:p>
        </p:txBody>
      </p:sp>
      <p:sp>
        <p:nvSpPr>
          <p:cNvPr id="3" name="Text Placeholder 2">
            <a:extLst>
              <a:ext uri="{FF2B5EF4-FFF2-40B4-BE49-F238E27FC236}">
                <a16:creationId xmlns:a16="http://schemas.microsoft.com/office/drawing/2014/main" id="{3F6AD574-15D4-74D3-8286-BF10F06D5213}"/>
              </a:ext>
            </a:extLst>
          </p:cNvPr>
          <p:cNvSpPr>
            <a:spLocks noGrp="1"/>
          </p:cNvSpPr>
          <p:nvPr>
            <p:ph type="body" sz="quarter" idx="11"/>
          </p:nvPr>
        </p:nvSpPr>
        <p:spPr/>
        <p:txBody>
          <a:bodyPr/>
          <a:lstStyle/>
          <a:p>
            <a:endParaRPr lang="en-US"/>
          </a:p>
        </p:txBody>
      </p:sp>
      <p:pic>
        <p:nvPicPr>
          <p:cNvPr id="4" name="Picture 3">
            <a:extLst>
              <a:ext uri="{FF2B5EF4-FFF2-40B4-BE49-F238E27FC236}">
                <a16:creationId xmlns:a16="http://schemas.microsoft.com/office/drawing/2014/main" id="{BAAF3FC0-D741-1DBD-282F-B6A0C05D294E}"/>
              </a:ext>
            </a:extLst>
          </p:cNvPr>
          <p:cNvPicPr>
            <a:picLocks noChangeAspect="1"/>
          </p:cNvPicPr>
          <p:nvPr/>
        </p:nvPicPr>
        <p:blipFill>
          <a:blip r:embed="rId2"/>
          <a:stretch>
            <a:fillRect/>
          </a:stretch>
        </p:blipFill>
        <p:spPr>
          <a:xfrm>
            <a:off x="498957" y="1169274"/>
            <a:ext cx="4863749" cy="4913891"/>
          </a:xfrm>
          <a:prstGeom prst="rect">
            <a:avLst/>
          </a:prstGeom>
        </p:spPr>
      </p:pic>
      <p:pic>
        <p:nvPicPr>
          <p:cNvPr id="5" name="Picture 4">
            <a:extLst>
              <a:ext uri="{FF2B5EF4-FFF2-40B4-BE49-F238E27FC236}">
                <a16:creationId xmlns:a16="http://schemas.microsoft.com/office/drawing/2014/main" id="{C0B72EEA-CC75-16AA-640D-D329C8A96218}"/>
              </a:ext>
            </a:extLst>
          </p:cNvPr>
          <p:cNvPicPr>
            <a:picLocks noChangeAspect="1"/>
          </p:cNvPicPr>
          <p:nvPr/>
        </p:nvPicPr>
        <p:blipFill>
          <a:blip r:embed="rId3"/>
          <a:stretch>
            <a:fillRect/>
          </a:stretch>
        </p:blipFill>
        <p:spPr>
          <a:xfrm>
            <a:off x="6628250" y="974856"/>
            <a:ext cx="4282811" cy="1844200"/>
          </a:xfrm>
          <a:prstGeom prst="rect">
            <a:avLst/>
          </a:prstGeom>
        </p:spPr>
      </p:pic>
      <p:sp>
        <p:nvSpPr>
          <p:cNvPr id="6" name="Rectangle 5">
            <a:extLst>
              <a:ext uri="{FF2B5EF4-FFF2-40B4-BE49-F238E27FC236}">
                <a16:creationId xmlns:a16="http://schemas.microsoft.com/office/drawing/2014/main" id="{29A10D5D-FD08-3EE4-098B-30D4E5A0FE86}"/>
              </a:ext>
            </a:extLst>
          </p:cNvPr>
          <p:cNvSpPr/>
          <p:nvPr/>
        </p:nvSpPr>
        <p:spPr>
          <a:xfrm>
            <a:off x="8513064" y="1178419"/>
            <a:ext cx="896112" cy="3657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3349EAE2-4D77-B256-DF28-F9253D82D8B5}"/>
              </a:ext>
            </a:extLst>
          </p:cNvPr>
          <p:cNvSpPr/>
          <p:nvPr/>
        </p:nvSpPr>
        <p:spPr>
          <a:xfrm>
            <a:off x="10083700" y="2413600"/>
            <a:ext cx="651525" cy="2651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F9F457D1-0E9A-8029-1723-F9EF643D9BD4}"/>
              </a:ext>
            </a:extLst>
          </p:cNvPr>
          <p:cNvSpPr/>
          <p:nvPr/>
        </p:nvSpPr>
        <p:spPr>
          <a:xfrm>
            <a:off x="8671560" y="1920895"/>
            <a:ext cx="579120" cy="26072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pic>
        <p:nvPicPr>
          <p:cNvPr id="9" name="Picture 8">
            <a:extLst>
              <a:ext uri="{FF2B5EF4-FFF2-40B4-BE49-F238E27FC236}">
                <a16:creationId xmlns:a16="http://schemas.microsoft.com/office/drawing/2014/main" id="{F937A578-EC04-B956-161E-55CACE1BEA77}"/>
              </a:ext>
            </a:extLst>
          </p:cNvPr>
          <p:cNvPicPr>
            <a:picLocks noChangeAspect="1"/>
          </p:cNvPicPr>
          <p:nvPr/>
        </p:nvPicPr>
        <p:blipFill>
          <a:blip r:embed="rId4"/>
          <a:stretch>
            <a:fillRect/>
          </a:stretch>
        </p:blipFill>
        <p:spPr>
          <a:xfrm>
            <a:off x="6628046" y="2975589"/>
            <a:ext cx="4244708" cy="1806097"/>
          </a:xfrm>
          <a:prstGeom prst="rect">
            <a:avLst/>
          </a:prstGeom>
        </p:spPr>
      </p:pic>
      <p:sp>
        <p:nvSpPr>
          <p:cNvPr id="10" name="Rectangle 9">
            <a:extLst>
              <a:ext uri="{FF2B5EF4-FFF2-40B4-BE49-F238E27FC236}">
                <a16:creationId xmlns:a16="http://schemas.microsoft.com/office/drawing/2014/main" id="{FAD3BCB2-DAA9-E89A-4A23-DAC9E8A60F3F}"/>
              </a:ext>
            </a:extLst>
          </p:cNvPr>
          <p:cNvSpPr/>
          <p:nvPr/>
        </p:nvSpPr>
        <p:spPr>
          <a:xfrm>
            <a:off x="9612614" y="3200425"/>
            <a:ext cx="832104" cy="3657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ED2053FB-D6D9-68B6-CB87-D2229AF9D862}"/>
              </a:ext>
            </a:extLst>
          </p:cNvPr>
          <p:cNvSpPr/>
          <p:nvPr/>
        </p:nvSpPr>
        <p:spPr>
          <a:xfrm>
            <a:off x="9714146" y="3690409"/>
            <a:ext cx="629039" cy="48352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DDC1233C-FB7A-0345-D82F-ED61E729B43B}"/>
              </a:ext>
            </a:extLst>
          </p:cNvPr>
          <p:cNvSpPr/>
          <p:nvPr/>
        </p:nvSpPr>
        <p:spPr>
          <a:xfrm>
            <a:off x="10118955" y="4443275"/>
            <a:ext cx="651525" cy="2651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pic>
        <p:nvPicPr>
          <p:cNvPr id="13" name="Picture 12">
            <a:extLst>
              <a:ext uri="{FF2B5EF4-FFF2-40B4-BE49-F238E27FC236}">
                <a16:creationId xmlns:a16="http://schemas.microsoft.com/office/drawing/2014/main" id="{556400CF-A49D-DD7F-773A-1CE6B3B443EB}"/>
              </a:ext>
            </a:extLst>
          </p:cNvPr>
          <p:cNvPicPr>
            <a:picLocks noChangeAspect="1"/>
          </p:cNvPicPr>
          <p:nvPr/>
        </p:nvPicPr>
        <p:blipFill>
          <a:blip r:embed="rId5"/>
          <a:stretch>
            <a:fillRect/>
          </a:stretch>
        </p:blipFill>
        <p:spPr>
          <a:xfrm>
            <a:off x="6616615" y="4938219"/>
            <a:ext cx="4267570" cy="1409822"/>
          </a:xfrm>
          <a:prstGeom prst="rect">
            <a:avLst/>
          </a:prstGeom>
        </p:spPr>
      </p:pic>
      <p:sp>
        <p:nvSpPr>
          <p:cNvPr id="14" name="Rectangle 13">
            <a:extLst>
              <a:ext uri="{FF2B5EF4-FFF2-40B4-BE49-F238E27FC236}">
                <a16:creationId xmlns:a16="http://schemas.microsoft.com/office/drawing/2014/main" id="{46FFF0B6-073A-59A3-98BA-EA71FFA8E2E6}"/>
              </a:ext>
            </a:extLst>
          </p:cNvPr>
          <p:cNvSpPr/>
          <p:nvPr/>
        </p:nvSpPr>
        <p:spPr>
          <a:xfrm>
            <a:off x="10213848" y="5124260"/>
            <a:ext cx="420624" cy="35299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DF16D547-F0CE-DEA9-EF19-50099E159722}"/>
              </a:ext>
            </a:extLst>
          </p:cNvPr>
          <p:cNvSpPr/>
          <p:nvPr/>
        </p:nvSpPr>
        <p:spPr>
          <a:xfrm>
            <a:off x="10213848" y="5685348"/>
            <a:ext cx="420624" cy="35299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sp>
        <p:nvSpPr>
          <p:cNvPr id="16" name="Rectangle 15">
            <a:extLst>
              <a:ext uri="{FF2B5EF4-FFF2-40B4-BE49-F238E27FC236}">
                <a16:creationId xmlns:a16="http://schemas.microsoft.com/office/drawing/2014/main" id="{CF58DC21-074F-5D49-4CE7-517390A473C3}"/>
              </a:ext>
            </a:extLst>
          </p:cNvPr>
          <p:cNvSpPr/>
          <p:nvPr/>
        </p:nvSpPr>
        <p:spPr>
          <a:xfrm>
            <a:off x="9543511" y="5237608"/>
            <a:ext cx="286289" cy="2396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sp>
        <p:nvSpPr>
          <p:cNvPr id="17" name="Rectangle 16">
            <a:extLst>
              <a:ext uri="{FF2B5EF4-FFF2-40B4-BE49-F238E27FC236}">
                <a16:creationId xmlns:a16="http://schemas.microsoft.com/office/drawing/2014/main" id="{A4E40450-0E83-144E-07F1-77A72F632557}"/>
              </a:ext>
            </a:extLst>
          </p:cNvPr>
          <p:cNvSpPr/>
          <p:nvPr/>
        </p:nvSpPr>
        <p:spPr>
          <a:xfrm>
            <a:off x="9571001" y="5798696"/>
            <a:ext cx="286289" cy="2396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0000"/>
                </a:solidFill>
              </a:ln>
              <a:solidFill>
                <a:srgbClr val="FFFFFF"/>
              </a:solidFill>
              <a:effectLst/>
              <a:uLnTx/>
              <a:uFillTx/>
              <a:latin typeface="Aptos" panose="02110004020202020204"/>
              <a:ea typeface="+mn-ea"/>
              <a:cs typeface="+mn-cs"/>
            </a:endParaRPr>
          </a:p>
        </p:txBody>
      </p:sp>
      <p:pic>
        <p:nvPicPr>
          <p:cNvPr id="21" name="Picture 20">
            <a:extLst>
              <a:ext uri="{FF2B5EF4-FFF2-40B4-BE49-F238E27FC236}">
                <a16:creationId xmlns:a16="http://schemas.microsoft.com/office/drawing/2014/main" id="{64B4A69C-8249-4686-4F3C-997777627499}"/>
              </a:ext>
            </a:extLst>
          </p:cNvPr>
          <p:cNvPicPr>
            <a:picLocks noChangeAspect="1"/>
          </p:cNvPicPr>
          <p:nvPr/>
        </p:nvPicPr>
        <p:blipFill>
          <a:blip r:embed="rId6"/>
          <a:stretch>
            <a:fillRect/>
          </a:stretch>
        </p:blipFill>
        <p:spPr>
          <a:xfrm>
            <a:off x="11170741" y="0"/>
            <a:ext cx="871518" cy="1012371"/>
          </a:xfrm>
          <a:prstGeom prst="rect">
            <a:avLst/>
          </a:prstGeom>
        </p:spPr>
      </p:pic>
    </p:spTree>
    <p:extLst>
      <p:ext uri="{BB962C8B-B14F-4D97-AF65-F5344CB8AC3E}">
        <p14:creationId xmlns:p14="http://schemas.microsoft.com/office/powerpoint/2010/main" val="26773938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5917C43-721F-5380-1407-2C093C79EB4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5972322-1EEF-754E-2F09-DAC6E09A3467}"/>
              </a:ext>
            </a:extLst>
          </p:cNvPr>
          <p:cNvSpPr>
            <a:spLocks noGrp="1"/>
          </p:cNvSpPr>
          <p:nvPr>
            <p:ph type="body" sz="quarter" idx="10"/>
          </p:nvPr>
        </p:nvSpPr>
        <p:spPr/>
        <p:txBody>
          <a:bodyPr/>
          <a:lstStyle/>
          <a:p>
            <a:r>
              <a:rPr lang="en-US" dirty="0"/>
              <a:t>Guidanz Diagnostic Toolkit Subscription Options</a:t>
            </a:r>
          </a:p>
        </p:txBody>
      </p:sp>
      <p:sp>
        <p:nvSpPr>
          <p:cNvPr id="3" name="Text Placeholder 2">
            <a:extLst>
              <a:ext uri="{FF2B5EF4-FFF2-40B4-BE49-F238E27FC236}">
                <a16:creationId xmlns:a16="http://schemas.microsoft.com/office/drawing/2014/main" id="{07815A34-5D7F-6955-BCEF-7436CCB7DEAB}"/>
              </a:ext>
            </a:extLst>
          </p:cNvPr>
          <p:cNvSpPr>
            <a:spLocks noGrp="1"/>
          </p:cNvSpPr>
          <p:nvPr>
            <p:ph type="body" sz="quarter" idx="11"/>
          </p:nvPr>
        </p:nvSpPr>
        <p:spPr/>
        <p:txBody>
          <a:bodyPr/>
          <a:lstStyle/>
          <a:p>
            <a:endParaRPr lang="en-US"/>
          </a:p>
        </p:txBody>
      </p:sp>
      <p:pic>
        <p:nvPicPr>
          <p:cNvPr id="21" name="Picture 20">
            <a:extLst>
              <a:ext uri="{FF2B5EF4-FFF2-40B4-BE49-F238E27FC236}">
                <a16:creationId xmlns:a16="http://schemas.microsoft.com/office/drawing/2014/main" id="{28CFF933-91AF-21FD-D772-82C528700F77}"/>
              </a:ext>
            </a:extLst>
          </p:cNvPr>
          <p:cNvPicPr>
            <a:picLocks noChangeAspect="1"/>
          </p:cNvPicPr>
          <p:nvPr/>
        </p:nvPicPr>
        <p:blipFill>
          <a:blip r:embed="rId2"/>
          <a:stretch>
            <a:fillRect/>
          </a:stretch>
        </p:blipFill>
        <p:spPr>
          <a:xfrm>
            <a:off x="11170741" y="0"/>
            <a:ext cx="871518" cy="1012371"/>
          </a:xfrm>
          <a:prstGeom prst="rect">
            <a:avLst/>
          </a:prstGeom>
        </p:spPr>
      </p:pic>
      <p:pic>
        <p:nvPicPr>
          <p:cNvPr id="1026" name="Picture 2">
            <a:extLst>
              <a:ext uri="{FF2B5EF4-FFF2-40B4-BE49-F238E27FC236}">
                <a16:creationId xmlns:a16="http://schemas.microsoft.com/office/drawing/2014/main" id="{ED36C4E9-177F-D2FB-9E64-600271ED28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299" y="842527"/>
            <a:ext cx="8615136" cy="591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43153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D6DDC3-C85D-595D-3461-D355A605DEDA}"/>
              </a:ext>
            </a:extLst>
          </p:cNvPr>
          <p:cNvSpPr>
            <a:spLocks noGrp="1"/>
          </p:cNvSpPr>
          <p:nvPr>
            <p:ph type="body" sz="quarter" idx="10"/>
          </p:nvPr>
        </p:nvSpPr>
        <p:spPr/>
        <p:txBody>
          <a:bodyPr/>
          <a:lstStyle/>
          <a:p>
            <a:r>
              <a:rPr lang="en-US" dirty="0"/>
              <a:t>Inline 8 Datalink</a:t>
            </a:r>
          </a:p>
          <a:p>
            <a:r>
              <a:rPr lang="en-US" dirty="0"/>
              <a:t>Adapter</a:t>
            </a:r>
          </a:p>
        </p:txBody>
      </p:sp>
      <p:sp>
        <p:nvSpPr>
          <p:cNvPr id="3" name="Text Placeholder 2">
            <a:extLst>
              <a:ext uri="{FF2B5EF4-FFF2-40B4-BE49-F238E27FC236}">
                <a16:creationId xmlns:a16="http://schemas.microsoft.com/office/drawing/2014/main" id="{62AF68CA-3C7F-8096-BA7C-30E7E996B40A}"/>
              </a:ext>
            </a:extLst>
          </p:cNvPr>
          <p:cNvSpPr>
            <a:spLocks noGrp="1"/>
          </p:cNvSpPr>
          <p:nvPr>
            <p:ph type="body" sz="quarter" idx="11"/>
          </p:nvPr>
        </p:nvSpPr>
        <p:spPr/>
        <p:txBody>
          <a:bodyPr/>
          <a:lstStyle/>
          <a:p>
            <a:endParaRPr lang="en-US"/>
          </a:p>
        </p:txBody>
      </p:sp>
      <p:pic>
        <p:nvPicPr>
          <p:cNvPr id="4" name="Content Placeholder 6">
            <a:extLst>
              <a:ext uri="{FF2B5EF4-FFF2-40B4-BE49-F238E27FC236}">
                <a16:creationId xmlns:a16="http://schemas.microsoft.com/office/drawing/2014/main" id="{145B24AB-B25C-2B3E-9822-C5AC4B92D24E}"/>
              </a:ext>
            </a:extLst>
          </p:cNvPr>
          <p:cNvPicPr>
            <a:picLocks noChangeAspect="1"/>
          </p:cNvPicPr>
          <p:nvPr/>
        </p:nvPicPr>
        <p:blipFill>
          <a:blip r:embed="rId2"/>
          <a:stretch>
            <a:fillRect/>
          </a:stretch>
        </p:blipFill>
        <p:spPr>
          <a:xfrm>
            <a:off x="7459715" y="351891"/>
            <a:ext cx="3130097" cy="5913396"/>
          </a:xfrm>
          <a:prstGeom prst="rect">
            <a:avLst/>
          </a:prstGeom>
          <a:noFill/>
        </p:spPr>
      </p:pic>
      <p:pic>
        <p:nvPicPr>
          <p:cNvPr id="5" name="Picture 4">
            <a:extLst>
              <a:ext uri="{FF2B5EF4-FFF2-40B4-BE49-F238E27FC236}">
                <a16:creationId xmlns:a16="http://schemas.microsoft.com/office/drawing/2014/main" id="{B19247BF-398C-50FD-8CB7-5A7ACB42EDD5}"/>
              </a:ext>
            </a:extLst>
          </p:cNvPr>
          <p:cNvPicPr>
            <a:picLocks noChangeAspect="1"/>
          </p:cNvPicPr>
          <p:nvPr/>
        </p:nvPicPr>
        <p:blipFill>
          <a:blip r:embed="rId3"/>
          <a:stretch>
            <a:fillRect/>
          </a:stretch>
        </p:blipFill>
        <p:spPr>
          <a:xfrm>
            <a:off x="4264269" y="472516"/>
            <a:ext cx="2835887" cy="5792771"/>
          </a:xfrm>
          <a:prstGeom prst="rect">
            <a:avLst/>
          </a:prstGeom>
        </p:spPr>
      </p:pic>
      <p:sp>
        <p:nvSpPr>
          <p:cNvPr id="6" name="TextBox 5">
            <a:extLst>
              <a:ext uri="{FF2B5EF4-FFF2-40B4-BE49-F238E27FC236}">
                <a16:creationId xmlns:a16="http://schemas.microsoft.com/office/drawing/2014/main" id="{0F80E208-C9D1-C799-E379-8B8F68D1018A}"/>
              </a:ext>
            </a:extLst>
          </p:cNvPr>
          <p:cNvSpPr txBox="1"/>
          <p:nvPr/>
        </p:nvSpPr>
        <p:spPr>
          <a:xfrm>
            <a:off x="0" y="2722570"/>
            <a:ext cx="426426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ptos" panose="02110004020202020204"/>
                <a:ea typeface="+mn-ea"/>
                <a:cs typeface="+mn-cs"/>
              </a:rPr>
              <a:t>P/N 65765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ptos" panose="02110004020202020204"/>
                <a:ea typeface="+mn-ea"/>
                <a:cs typeface="+mn-cs"/>
              </a:rPr>
              <a:t>Works with Mobile/Windows Version</a:t>
            </a:r>
          </a:p>
        </p:txBody>
      </p:sp>
    </p:spTree>
    <p:extLst>
      <p:ext uri="{BB962C8B-B14F-4D97-AF65-F5344CB8AC3E}">
        <p14:creationId xmlns:p14="http://schemas.microsoft.com/office/powerpoint/2010/main" val="5160450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590" y="0"/>
            <a:ext cx="12188825" cy="68720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noFill/>
              <a:effectLst/>
              <a:uLnTx/>
              <a:uFillTx/>
              <a:latin typeface="Arial" panose="020B0604020202020204"/>
              <a:ea typeface="+mn-ea"/>
              <a:cs typeface="+mn-cs"/>
            </a:endParaRPr>
          </a:p>
        </p:txBody>
      </p:sp>
      <p:sp>
        <p:nvSpPr>
          <p:cNvPr id="6" name="TextBox 5"/>
          <p:cNvSpPr txBox="1"/>
          <p:nvPr/>
        </p:nvSpPr>
        <p:spPr>
          <a:xfrm>
            <a:off x="5106180" y="2921168"/>
            <a:ext cx="1941557" cy="1015663"/>
          </a:xfrm>
          <a:prstGeom prst="rect">
            <a:avLst/>
          </a:prstGeom>
          <a:noFill/>
        </p:spPr>
        <p:txBody>
          <a:bodyPr wrap="non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400" normalizeH="0" baseline="0" noProof="0">
                <a:ln>
                  <a:noFill/>
                </a:ln>
                <a:solidFill>
                  <a:srgbClr val="FFFFFF"/>
                </a:solidFill>
                <a:effectLst/>
                <a:uLnTx/>
                <a:uFillTx/>
                <a:latin typeface="Arial" panose="020B0604020202020204"/>
                <a:ea typeface="Arial" charset="0"/>
                <a:cs typeface="Arial" charset="0"/>
              </a:rPr>
              <a:t>Q</a:t>
            </a:r>
            <a:r>
              <a:rPr kumimoji="0" lang="en-US" sz="6000" b="1" i="0" u="none" strike="noStrike" kern="1200" cap="none" spc="400" normalizeH="0" baseline="0" noProof="0">
                <a:ln>
                  <a:noFill/>
                </a:ln>
                <a:solidFill>
                  <a:srgbClr val="DA281C"/>
                </a:solidFill>
                <a:effectLst/>
                <a:uLnTx/>
                <a:uFillTx/>
                <a:latin typeface="Arial" panose="020B0604020202020204"/>
                <a:ea typeface="Arial" charset="0"/>
                <a:cs typeface="Arial" charset="0"/>
              </a:rPr>
              <a:t>+</a:t>
            </a:r>
            <a:r>
              <a:rPr kumimoji="0" lang="en-US" sz="6000" b="1" i="0" u="none" strike="noStrike" kern="1200" cap="none" spc="400" normalizeH="0" baseline="0" noProof="0">
                <a:ln>
                  <a:noFill/>
                </a:ln>
                <a:solidFill>
                  <a:srgbClr val="FFFFFF"/>
                </a:solidFill>
                <a:effectLst/>
                <a:uLnTx/>
                <a:uFillTx/>
                <a:latin typeface="Arial" panose="020B0604020202020204"/>
                <a:ea typeface="Arial" charset="0"/>
                <a:cs typeface="Arial" charset="0"/>
              </a:rPr>
              <a:t>A</a:t>
            </a:r>
          </a:p>
        </p:txBody>
      </p:sp>
    </p:spTree>
    <p:extLst>
      <p:ext uri="{BB962C8B-B14F-4D97-AF65-F5344CB8AC3E}">
        <p14:creationId xmlns:p14="http://schemas.microsoft.com/office/powerpoint/2010/main" val="2093965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5B3711-79E7-C3E0-4ADB-5282FB9FB62E}"/>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939C22E7-2C28-FB3A-7ECD-FFCA41C4C377}"/>
              </a:ext>
            </a:extLst>
          </p:cNvPr>
          <p:cNvSpPr/>
          <p:nvPr/>
        </p:nvSpPr>
        <p:spPr>
          <a:xfrm>
            <a:off x="1382233" y="1247695"/>
            <a:ext cx="9870983"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18" name="Picture 2" descr="A red and black machine&#10;&#10;Description automatically generated">
            <a:extLst>
              <a:ext uri="{FF2B5EF4-FFF2-40B4-BE49-F238E27FC236}">
                <a16:creationId xmlns:a16="http://schemas.microsoft.com/office/drawing/2014/main" id="{5C5C1BF0-867A-E9D2-B8B7-28C128A2F6E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73079" y="1780032"/>
            <a:ext cx="3742941" cy="3742943"/>
          </a:xfrm>
          <a:prstGeom prst="rect">
            <a:avLst/>
          </a:prstGeom>
        </p:spPr>
      </p:pic>
      <p:grpSp>
        <p:nvGrpSpPr>
          <p:cNvPr id="19" name="Agrupar 18">
            <a:extLst>
              <a:ext uri="{FF2B5EF4-FFF2-40B4-BE49-F238E27FC236}">
                <a16:creationId xmlns:a16="http://schemas.microsoft.com/office/drawing/2014/main" id="{A363EFCA-9BF4-7285-02D0-53F4E7A1FC1A}"/>
              </a:ext>
            </a:extLst>
          </p:cNvPr>
          <p:cNvGrpSpPr/>
          <p:nvPr/>
        </p:nvGrpSpPr>
        <p:grpSpPr>
          <a:xfrm>
            <a:off x="1802352" y="1460212"/>
            <a:ext cx="2659331" cy="741768"/>
            <a:chOff x="3619312" y="1311335"/>
            <a:chExt cx="2659331" cy="741768"/>
          </a:xfrm>
        </p:grpSpPr>
        <p:sp>
          <p:nvSpPr>
            <p:cNvPr id="25" name="TextBox 9">
              <a:extLst>
                <a:ext uri="{FF2B5EF4-FFF2-40B4-BE49-F238E27FC236}">
                  <a16:creationId xmlns:a16="http://schemas.microsoft.com/office/drawing/2014/main" id="{454A086B-1ECF-DAA4-7B28-82A13EC98FCD}"/>
                </a:ext>
              </a:extLst>
            </p:cNvPr>
            <p:cNvSpPr txBox="1"/>
            <p:nvPr/>
          </p:nvSpPr>
          <p:spPr>
            <a:xfrm>
              <a:off x="3832336" y="1311335"/>
              <a:ext cx="14964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Power Cylinder:</a:t>
              </a:r>
            </a:p>
          </p:txBody>
        </p:sp>
        <p:sp>
          <p:nvSpPr>
            <p:cNvPr id="26" name="TextBox 18">
              <a:extLst>
                <a:ext uri="{FF2B5EF4-FFF2-40B4-BE49-F238E27FC236}">
                  <a16:creationId xmlns:a16="http://schemas.microsoft.com/office/drawing/2014/main" id="{AF567BE2-42F5-538E-CCFB-8FA7EFAEBE21}"/>
                </a:ext>
              </a:extLst>
            </p:cNvPr>
            <p:cNvSpPr txBox="1"/>
            <p:nvPr/>
          </p:nvSpPr>
          <p:spPr>
            <a:xfrm>
              <a:off x="3824888" y="1468328"/>
              <a:ext cx="245375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New piston bowl and higher compression </a:t>
              </a:r>
              <a:r>
                <a:rPr kumimoji="0" lang="en-US" sz="9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ratio for optimized efficiency and power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9.9L, 450HP / 1650 ft-lb torque</a:t>
              </a:r>
            </a:p>
          </p:txBody>
        </p:sp>
        <p:pic>
          <p:nvPicPr>
            <p:cNvPr id="27" name="Picture 45" descr="A close up of a sign&#10;&#10;Description automatically generated">
              <a:extLst>
                <a:ext uri="{FF2B5EF4-FFF2-40B4-BE49-F238E27FC236}">
                  <a16:creationId xmlns:a16="http://schemas.microsoft.com/office/drawing/2014/main" id="{2A1BAF97-9D8C-4B5B-B7C7-2E37F8A3E79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19312" y="1553973"/>
              <a:ext cx="220059" cy="209989"/>
            </a:xfrm>
            <a:prstGeom prst="rect">
              <a:avLst/>
            </a:prstGeom>
          </p:spPr>
        </p:pic>
        <p:pic>
          <p:nvPicPr>
            <p:cNvPr id="28" name="Picture 77" descr="A picture containing light&#10;&#10;Description automatically generated">
              <a:extLst>
                <a:ext uri="{FF2B5EF4-FFF2-40B4-BE49-F238E27FC236}">
                  <a16:creationId xmlns:a16="http://schemas.microsoft.com/office/drawing/2014/main" id="{AD895467-307A-6FE5-2C32-FC091FD47EB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19312" y="1848012"/>
              <a:ext cx="213914" cy="200274"/>
            </a:xfrm>
            <a:prstGeom prst="rect">
              <a:avLst/>
            </a:prstGeom>
          </p:spPr>
        </p:pic>
      </p:grpSp>
      <p:grpSp>
        <p:nvGrpSpPr>
          <p:cNvPr id="29" name="Agrupar 28">
            <a:extLst>
              <a:ext uri="{FF2B5EF4-FFF2-40B4-BE49-F238E27FC236}">
                <a16:creationId xmlns:a16="http://schemas.microsoft.com/office/drawing/2014/main" id="{E3202187-6F21-9D01-3A9E-43155B1329DC}"/>
              </a:ext>
            </a:extLst>
          </p:cNvPr>
          <p:cNvGrpSpPr/>
          <p:nvPr/>
        </p:nvGrpSpPr>
        <p:grpSpPr>
          <a:xfrm>
            <a:off x="1773681" y="2517902"/>
            <a:ext cx="2693228" cy="1262845"/>
            <a:chOff x="3520108" y="2182011"/>
            <a:chExt cx="2693228" cy="1262845"/>
          </a:xfrm>
        </p:grpSpPr>
        <p:sp>
          <p:nvSpPr>
            <p:cNvPr id="30" name="TextBox 11">
              <a:extLst>
                <a:ext uri="{FF2B5EF4-FFF2-40B4-BE49-F238E27FC236}">
                  <a16:creationId xmlns:a16="http://schemas.microsoft.com/office/drawing/2014/main" id="{4AADC089-641A-B51D-436F-9F59603FBF63}"/>
                </a:ext>
              </a:extLst>
            </p:cNvPr>
            <p:cNvSpPr txBox="1"/>
            <p:nvPr/>
          </p:nvSpPr>
          <p:spPr>
            <a:xfrm>
              <a:off x="3756055" y="2182011"/>
              <a:ext cx="152533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Lube &amp; Cooling:</a:t>
              </a:r>
            </a:p>
          </p:txBody>
        </p:sp>
        <p:sp>
          <p:nvSpPr>
            <p:cNvPr id="31" name="TextBox 20">
              <a:extLst>
                <a:ext uri="{FF2B5EF4-FFF2-40B4-BE49-F238E27FC236}">
                  <a16:creationId xmlns:a16="http://schemas.microsoft.com/office/drawing/2014/main" id="{E92E7BCC-D435-A6E1-3178-22359A47B728}"/>
                </a:ext>
              </a:extLst>
            </p:cNvPr>
            <p:cNvSpPr txBox="1"/>
            <p:nvPr/>
          </p:nvSpPr>
          <p:spPr>
            <a:xfrm>
              <a:off x="3765322" y="2367638"/>
              <a:ext cx="2448014"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Dual Thermostat and improved coolant system design to reduce </a:t>
              </a:r>
              <a:r>
                <a:rPr kumimoji="0" lang="en-US" sz="900" b="0" i="0" u="none" strike="noStrike" kern="1200" cap="none" spc="0" normalizeH="0" baseline="0" noProof="0" dirty="0" err="1">
                  <a:ln>
                    <a:noFill/>
                  </a:ln>
                  <a:solidFill>
                    <a:srgbClr val="000000"/>
                  </a:solidFill>
                  <a:effectLst/>
                  <a:uLnTx/>
                  <a:uFillTx/>
                  <a:latin typeface="Aptos" panose="020B0004020202020204" pitchFamily="34" charset="0"/>
                  <a:ea typeface="+mn-ea"/>
                  <a:cs typeface="Arial" panose="020B0604020202020204" pitchFamily="34" charset="0"/>
                </a:rPr>
                <a:t>parasitics</a:t>
              </a:r>
              <a:r>
                <a:rPr kumimoji="0" lang="en-US" sz="9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Addition of CCV (closed crankcase ventilation) to meet regulatory requirement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Cartridge style lube and fuel filters to improve cost of maintenance &amp; environmental impact</a:t>
              </a:r>
            </a:p>
          </p:txBody>
        </p:sp>
        <p:pic>
          <p:nvPicPr>
            <p:cNvPr id="32" name="Picture 49" descr="A close up of a sign&#10;&#10;Description automatically generated">
              <a:extLst>
                <a:ext uri="{FF2B5EF4-FFF2-40B4-BE49-F238E27FC236}">
                  <a16:creationId xmlns:a16="http://schemas.microsoft.com/office/drawing/2014/main" id="{9C107750-A114-F6B3-898F-E0A0EB12474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43696" y="2455822"/>
              <a:ext cx="202066" cy="209991"/>
            </a:xfrm>
            <a:prstGeom prst="rect">
              <a:avLst/>
            </a:prstGeom>
          </p:spPr>
        </p:pic>
        <p:pic>
          <p:nvPicPr>
            <p:cNvPr id="33" name="Picture 50" descr="A close up of a sign&#10;&#10;Description automatically generated">
              <a:extLst>
                <a:ext uri="{FF2B5EF4-FFF2-40B4-BE49-F238E27FC236}">
                  <a16:creationId xmlns:a16="http://schemas.microsoft.com/office/drawing/2014/main" id="{9865017A-5D2B-734C-B94F-B808E64EA9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20108" y="2772509"/>
              <a:ext cx="248375" cy="252380"/>
            </a:xfrm>
            <a:prstGeom prst="rect">
              <a:avLst/>
            </a:prstGeom>
          </p:spPr>
        </p:pic>
        <p:pic>
          <p:nvPicPr>
            <p:cNvPr id="34" name="Picture 51" descr="A picture containing light&#10;&#10;Description automatically generated">
              <a:extLst>
                <a:ext uri="{FF2B5EF4-FFF2-40B4-BE49-F238E27FC236}">
                  <a16:creationId xmlns:a16="http://schemas.microsoft.com/office/drawing/2014/main" id="{FF5C15B5-DD94-3574-C4DB-2FB656299B7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40607" y="3154342"/>
              <a:ext cx="202066" cy="209989"/>
            </a:xfrm>
            <a:prstGeom prst="rect">
              <a:avLst/>
            </a:prstGeom>
          </p:spPr>
        </p:pic>
      </p:grpSp>
      <p:grpSp>
        <p:nvGrpSpPr>
          <p:cNvPr id="35" name="Agrupar 34">
            <a:extLst>
              <a:ext uri="{FF2B5EF4-FFF2-40B4-BE49-F238E27FC236}">
                <a16:creationId xmlns:a16="http://schemas.microsoft.com/office/drawing/2014/main" id="{0323EEA9-8882-0871-9905-6ACD6061DF50}"/>
              </a:ext>
            </a:extLst>
          </p:cNvPr>
          <p:cNvGrpSpPr/>
          <p:nvPr/>
        </p:nvGrpSpPr>
        <p:grpSpPr>
          <a:xfrm>
            <a:off x="1802352" y="4040793"/>
            <a:ext cx="2892385" cy="1401573"/>
            <a:chOff x="3172096" y="4319698"/>
            <a:chExt cx="2892385" cy="1401573"/>
          </a:xfrm>
        </p:grpSpPr>
        <p:sp>
          <p:nvSpPr>
            <p:cNvPr id="43" name="TextBox 6">
              <a:extLst>
                <a:ext uri="{FF2B5EF4-FFF2-40B4-BE49-F238E27FC236}">
                  <a16:creationId xmlns:a16="http://schemas.microsoft.com/office/drawing/2014/main" id="{B100DB6D-EF68-620C-C2F8-9763DE914C38}"/>
                </a:ext>
              </a:extLst>
            </p:cNvPr>
            <p:cNvSpPr txBox="1"/>
            <p:nvPr/>
          </p:nvSpPr>
          <p:spPr>
            <a:xfrm>
              <a:off x="3400754" y="4319698"/>
              <a:ext cx="158497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Base Engine:</a:t>
              </a:r>
            </a:p>
          </p:txBody>
        </p:sp>
        <p:pic>
          <p:nvPicPr>
            <p:cNvPr id="44" name="Picture 44" descr="A picture containing light&#10;&#10;Description automatically generated">
              <a:extLst>
                <a:ext uri="{FF2B5EF4-FFF2-40B4-BE49-F238E27FC236}">
                  <a16:creationId xmlns:a16="http://schemas.microsoft.com/office/drawing/2014/main" id="{F0C56594-22A9-DCCB-C30A-A6941258676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72096" y="5418686"/>
              <a:ext cx="202066" cy="209989"/>
            </a:xfrm>
            <a:prstGeom prst="rect">
              <a:avLst/>
            </a:prstGeom>
          </p:spPr>
        </p:pic>
        <p:pic>
          <p:nvPicPr>
            <p:cNvPr id="45" name="Picture 70" descr="A close up of a sign&#10;&#10;Description automatically generated">
              <a:extLst>
                <a:ext uri="{FF2B5EF4-FFF2-40B4-BE49-F238E27FC236}">
                  <a16:creationId xmlns:a16="http://schemas.microsoft.com/office/drawing/2014/main" id="{FDA775B0-FD7A-AC87-BCB1-E077624A6F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79431" y="4582284"/>
              <a:ext cx="202066" cy="209989"/>
            </a:xfrm>
            <a:prstGeom prst="rect">
              <a:avLst/>
            </a:prstGeom>
          </p:spPr>
        </p:pic>
        <p:pic>
          <p:nvPicPr>
            <p:cNvPr id="46" name="Picture 75" descr="A picture containing light&#10;&#10;Description automatically generated">
              <a:extLst>
                <a:ext uri="{FF2B5EF4-FFF2-40B4-BE49-F238E27FC236}">
                  <a16:creationId xmlns:a16="http://schemas.microsoft.com/office/drawing/2014/main" id="{7ADC70D7-06F7-EC05-EEC8-285F309C5C0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77025" y="4922822"/>
              <a:ext cx="202066" cy="209989"/>
            </a:xfrm>
            <a:prstGeom prst="rect">
              <a:avLst/>
            </a:prstGeom>
          </p:spPr>
        </p:pic>
        <p:sp>
          <p:nvSpPr>
            <p:cNvPr id="47" name="TextBox 16">
              <a:extLst>
                <a:ext uri="{FF2B5EF4-FFF2-40B4-BE49-F238E27FC236}">
                  <a16:creationId xmlns:a16="http://schemas.microsoft.com/office/drawing/2014/main" id="{063968CE-DFE6-68D2-69F0-4117F32588F2}"/>
                </a:ext>
              </a:extLst>
            </p:cNvPr>
            <p:cNvSpPr txBox="1"/>
            <p:nvPr/>
          </p:nvSpPr>
          <p:spPr>
            <a:xfrm>
              <a:off x="3426768" y="4505554"/>
              <a:ext cx="2637713" cy="12157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Sculpted block and head delivering engine weight reduc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DOHC cylinder head design and new cam carrier enables advanced valvetrain technology </a:t>
              </a:r>
              <a:r>
                <a:rPr kumimoji="0" lang="en-US" sz="9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and High-Power Density brak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ptos" panose="020B0004020202020204" pitchFamily="34" charset="0"/>
                  <a:ea typeface="+mn-ea"/>
                  <a:cs typeface="Arial" panose="020B0604020202020204" pitchFamily="34" charset="0"/>
                </a:rPr>
                <a:t>Multiple capacity oil pan options providing longer oil drain interval options </a:t>
              </a:r>
            </a:p>
          </p:txBody>
        </p:sp>
      </p:grpSp>
      <p:grpSp>
        <p:nvGrpSpPr>
          <p:cNvPr id="48" name="Agrupar 47">
            <a:extLst>
              <a:ext uri="{FF2B5EF4-FFF2-40B4-BE49-F238E27FC236}">
                <a16:creationId xmlns:a16="http://schemas.microsoft.com/office/drawing/2014/main" id="{9ABCA95F-23E8-CBAA-205A-A8F3123743F9}"/>
              </a:ext>
            </a:extLst>
          </p:cNvPr>
          <p:cNvGrpSpPr/>
          <p:nvPr/>
        </p:nvGrpSpPr>
        <p:grpSpPr>
          <a:xfrm>
            <a:off x="7739014" y="1501439"/>
            <a:ext cx="3356818" cy="832147"/>
            <a:chOff x="7371052" y="1165335"/>
            <a:chExt cx="3356818" cy="832147"/>
          </a:xfrm>
        </p:grpSpPr>
        <p:sp>
          <p:nvSpPr>
            <p:cNvPr id="49" name="TextBox 14">
              <a:extLst>
                <a:ext uri="{FF2B5EF4-FFF2-40B4-BE49-F238E27FC236}">
                  <a16:creationId xmlns:a16="http://schemas.microsoft.com/office/drawing/2014/main" id="{6927F0A4-F514-D82E-2AB9-5F80BE22EC55}"/>
                </a:ext>
              </a:extLst>
            </p:cNvPr>
            <p:cNvSpPr txBox="1"/>
            <p:nvPr/>
          </p:nvSpPr>
          <p:spPr>
            <a:xfrm>
              <a:off x="7867272" y="1165335"/>
              <a:ext cx="153817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Fuel System:</a:t>
              </a:r>
            </a:p>
          </p:txBody>
        </p:sp>
        <p:sp>
          <p:nvSpPr>
            <p:cNvPr id="50" name="TextBox 21">
              <a:extLst>
                <a:ext uri="{FF2B5EF4-FFF2-40B4-BE49-F238E27FC236}">
                  <a16:creationId xmlns:a16="http://schemas.microsoft.com/office/drawing/2014/main" id="{41DA2CE6-4F92-ABB6-3BDF-0646DB72664D}"/>
                </a:ext>
              </a:extLst>
            </p:cNvPr>
            <p:cNvSpPr txBox="1"/>
            <p:nvPr/>
          </p:nvSpPr>
          <p:spPr>
            <a:xfrm>
              <a:off x="7859266" y="1355862"/>
              <a:ext cx="270271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2200 Bar fuel-lubed pump for better PM control and fuel efficiency improvement</a:t>
              </a:r>
            </a:p>
          </p:txBody>
        </p:sp>
        <p:sp>
          <p:nvSpPr>
            <p:cNvPr id="51" name="TextBox 22">
              <a:extLst>
                <a:ext uri="{FF2B5EF4-FFF2-40B4-BE49-F238E27FC236}">
                  <a16:creationId xmlns:a16="http://schemas.microsoft.com/office/drawing/2014/main" id="{D7289760-58E5-B27A-CC60-D669E7BD127A}"/>
                </a:ext>
              </a:extLst>
            </p:cNvPr>
            <p:cNvSpPr txBox="1"/>
            <p:nvPr/>
          </p:nvSpPr>
          <p:spPr>
            <a:xfrm>
              <a:off x="7859265" y="1628150"/>
              <a:ext cx="28686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Incorporates thermal recirculation valve to aid in cold starts and priming pump for efficient startability</a:t>
              </a:r>
            </a:p>
          </p:txBody>
        </p:sp>
        <p:pic>
          <p:nvPicPr>
            <p:cNvPr id="52" name="Picture 47" descr="A close up of a sign&#10;&#10;Description automatically generated">
              <a:extLst>
                <a:ext uri="{FF2B5EF4-FFF2-40B4-BE49-F238E27FC236}">
                  <a16:creationId xmlns:a16="http://schemas.microsoft.com/office/drawing/2014/main" id="{45EFE489-53AB-BF7F-91C8-E7F471D5C88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597992" y="1344749"/>
              <a:ext cx="258322" cy="262488"/>
            </a:xfrm>
            <a:prstGeom prst="rect">
              <a:avLst/>
            </a:prstGeom>
          </p:spPr>
        </p:pic>
        <p:pic>
          <p:nvPicPr>
            <p:cNvPr id="53" name="Picture 48" descr="A close up of a sign&#10;&#10;Description automatically generated">
              <a:extLst>
                <a:ext uri="{FF2B5EF4-FFF2-40B4-BE49-F238E27FC236}">
                  <a16:creationId xmlns:a16="http://schemas.microsoft.com/office/drawing/2014/main" id="{BF8B05E9-81B0-D699-DB3B-05602F1F1DA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71052" y="1360388"/>
              <a:ext cx="215981" cy="224450"/>
            </a:xfrm>
            <a:prstGeom prst="rect">
              <a:avLst/>
            </a:prstGeom>
          </p:spPr>
        </p:pic>
        <p:pic>
          <p:nvPicPr>
            <p:cNvPr id="54" name="Picture 78" descr="A picture containing light&#10;&#10;Description automatically generated">
              <a:extLst>
                <a:ext uri="{FF2B5EF4-FFF2-40B4-BE49-F238E27FC236}">
                  <a16:creationId xmlns:a16="http://schemas.microsoft.com/office/drawing/2014/main" id="{55B421FC-8764-35D0-4762-547EE0B42A4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61487" y="1713766"/>
              <a:ext cx="205952" cy="209989"/>
            </a:xfrm>
            <a:prstGeom prst="rect">
              <a:avLst/>
            </a:prstGeom>
          </p:spPr>
        </p:pic>
      </p:grpSp>
      <p:grpSp>
        <p:nvGrpSpPr>
          <p:cNvPr id="55" name="Agrupar 54">
            <a:extLst>
              <a:ext uri="{FF2B5EF4-FFF2-40B4-BE49-F238E27FC236}">
                <a16:creationId xmlns:a16="http://schemas.microsoft.com/office/drawing/2014/main" id="{4D734009-7BE1-931A-60FE-B247404C79FE}"/>
              </a:ext>
            </a:extLst>
          </p:cNvPr>
          <p:cNvGrpSpPr/>
          <p:nvPr/>
        </p:nvGrpSpPr>
        <p:grpSpPr>
          <a:xfrm>
            <a:off x="7993747" y="2540722"/>
            <a:ext cx="2264611" cy="1024405"/>
            <a:chOff x="8297370" y="2274725"/>
            <a:chExt cx="2264611" cy="1024405"/>
          </a:xfrm>
        </p:grpSpPr>
        <p:sp>
          <p:nvSpPr>
            <p:cNvPr id="56" name="TextBox 13">
              <a:extLst>
                <a:ext uri="{FF2B5EF4-FFF2-40B4-BE49-F238E27FC236}">
                  <a16:creationId xmlns:a16="http://schemas.microsoft.com/office/drawing/2014/main" id="{8A01AD85-2D97-7D26-B3CC-FDB87140E190}"/>
                </a:ext>
              </a:extLst>
            </p:cNvPr>
            <p:cNvSpPr txBox="1"/>
            <p:nvPr/>
          </p:nvSpPr>
          <p:spPr>
            <a:xfrm>
              <a:off x="8520619" y="2274725"/>
              <a:ext cx="13108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ir Handling:</a:t>
              </a:r>
            </a:p>
          </p:txBody>
        </p:sp>
        <p:sp>
          <p:nvSpPr>
            <p:cNvPr id="57" name="TextBox 24">
              <a:extLst>
                <a:ext uri="{FF2B5EF4-FFF2-40B4-BE49-F238E27FC236}">
                  <a16:creationId xmlns:a16="http://schemas.microsoft.com/office/drawing/2014/main" id="{204898A1-F414-2EC4-EBCA-52A4F192E0C4}"/>
                </a:ext>
              </a:extLst>
            </p:cNvPr>
            <p:cNvSpPr txBox="1"/>
            <p:nvPr/>
          </p:nvSpPr>
          <p:spPr>
            <a:xfrm>
              <a:off x="8520620" y="2437356"/>
              <a:ext cx="2041361"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Improved efficiency through use of new, larger VG turbo</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Heavy-duty EGR cooler delivers emission redu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endParaRPr>
            </a:p>
          </p:txBody>
        </p:sp>
        <p:pic>
          <p:nvPicPr>
            <p:cNvPr id="58" name="Picture 46" descr="A close up of a sign&#10;&#10;Description automatically generated">
              <a:extLst>
                <a:ext uri="{FF2B5EF4-FFF2-40B4-BE49-F238E27FC236}">
                  <a16:creationId xmlns:a16="http://schemas.microsoft.com/office/drawing/2014/main" id="{A15ABF19-3D07-9103-B556-5DE56740C8E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97370" y="2424562"/>
              <a:ext cx="258322" cy="262488"/>
            </a:xfrm>
            <a:prstGeom prst="rect">
              <a:avLst/>
            </a:prstGeom>
          </p:spPr>
        </p:pic>
        <p:pic>
          <p:nvPicPr>
            <p:cNvPr id="59" name="Picture 76" descr="A picture containing light&#10;&#10;Description automatically generated">
              <a:extLst>
                <a:ext uri="{FF2B5EF4-FFF2-40B4-BE49-F238E27FC236}">
                  <a16:creationId xmlns:a16="http://schemas.microsoft.com/office/drawing/2014/main" id="{B8286540-8BF3-1156-5BFF-FC659C06FF5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25901" y="2718003"/>
              <a:ext cx="205952" cy="209989"/>
            </a:xfrm>
            <a:prstGeom prst="rect">
              <a:avLst/>
            </a:prstGeom>
          </p:spPr>
        </p:pic>
      </p:grpSp>
      <p:grpSp>
        <p:nvGrpSpPr>
          <p:cNvPr id="60" name="Agrupar 59">
            <a:extLst>
              <a:ext uri="{FF2B5EF4-FFF2-40B4-BE49-F238E27FC236}">
                <a16:creationId xmlns:a16="http://schemas.microsoft.com/office/drawing/2014/main" id="{796BCFBE-52F1-B65F-B884-069099E736B3}"/>
              </a:ext>
            </a:extLst>
          </p:cNvPr>
          <p:cNvGrpSpPr/>
          <p:nvPr/>
        </p:nvGrpSpPr>
        <p:grpSpPr>
          <a:xfrm>
            <a:off x="7766898" y="3604996"/>
            <a:ext cx="3125371" cy="1703393"/>
            <a:chOff x="7643322" y="3327320"/>
            <a:chExt cx="3125371" cy="1703393"/>
          </a:xfrm>
        </p:grpSpPr>
        <p:sp>
          <p:nvSpPr>
            <p:cNvPr id="61" name="TextBox 12">
              <a:extLst>
                <a:ext uri="{FF2B5EF4-FFF2-40B4-BE49-F238E27FC236}">
                  <a16:creationId xmlns:a16="http://schemas.microsoft.com/office/drawing/2014/main" id="{4DA5AD1B-E2C8-FFE2-FC91-BF251FFAF2EB}"/>
                </a:ext>
              </a:extLst>
            </p:cNvPr>
            <p:cNvSpPr txBox="1"/>
            <p:nvPr/>
          </p:nvSpPr>
          <p:spPr>
            <a:xfrm>
              <a:off x="8081977" y="3327320"/>
              <a:ext cx="10599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Electronics:</a:t>
              </a:r>
            </a:p>
          </p:txBody>
        </p:sp>
        <p:sp>
          <p:nvSpPr>
            <p:cNvPr id="62" name="TextBox 25">
              <a:extLst>
                <a:ext uri="{FF2B5EF4-FFF2-40B4-BE49-F238E27FC236}">
                  <a16:creationId xmlns:a16="http://schemas.microsoft.com/office/drawing/2014/main" id="{FB1AA523-3F7A-F447-E0B5-F618F1F5C8D0}"/>
                </a:ext>
              </a:extLst>
            </p:cNvPr>
            <p:cNvSpPr txBox="1"/>
            <p:nvPr/>
          </p:nvSpPr>
          <p:spPr>
            <a:xfrm>
              <a:off x="8106577" y="3499699"/>
              <a:ext cx="2662116"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48V Smart Alternator and Integrated Power Distribution to power aftertreatment heater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New CM3550 supports safety, cyber security and software improvements</a:t>
              </a:r>
            </a:p>
          </p:txBody>
        </p:sp>
        <p:sp>
          <p:nvSpPr>
            <p:cNvPr id="63" name="TextBox 27">
              <a:extLst>
                <a:ext uri="{FF2B5EF4-FFF2-40B4-BE49-F238E27FC236}">
                  <a16:creationId xmlns:a16="http://schemas.microsoft.com/office/drawing/2014/main" id="{A8E4E879-B791-0EE5-AA17-2ADAD10BA4D9}"/>
                </a:ext>
              </a:extLst>
            </p:cNvPr>
            <p:cNvSpPr txBox="1"/>
            <p:nvPr/>
          </p:nvSpPr>
          <p:spPr>
            <a:xfrm>
              <a:off x="8106574" y="4231840"/>
              <a:ext cx="266211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Engine and injector harness support new components, packaging and ease of maintenance</a:t>
              </a:r>
            </a:p>
          </p:txBody>
        </p:sp>
        <p:sp>
          <p:nvSpPr>
            <p:cNvPr id="64" name="TextBox 28">
              <a:extLst>
                <a:ext uri="{FF2B5EF4-FFF2-40B4-BE49-F238E27FC236}">
                  <a16:creationId xmlns:a16="http://schemas.microsoft.com/office/drawing/2014/main" id="{C5A1C68D-CD7C-5B5A-273A-54C77A27AB6F}"/>
                </a:ext>
              </a:extLst>
            </p:cNvPr>
            <p:cNvSpPr txBox="1"/>
            <p:nvPr/>
          </p:nvSpPr>
          <p:spPr>
            <a:xfrm>
              <a:off x="8106577" y="4661381"/>
              <a:ext cx="26621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highlight>
                    <a:srgbClr val="FFFF00"/>
                  </a:highlight>
                  <a:uLnTx/>
                  <a:uFillTx/>
                  <a:latin typeface="Aptos" panose="020B0004020202020204" pitchFamily="34" charset="0"/>
                  <a:ea typeface="+mn-ea"/>
                  <a:cs typeface="Arial" panose="020B0604020202020204" pitchFamily="34" charset="0"/>
                </a:rPr>
                <a:t>Maintenance Monitor with virtual sensors to optimize service intervals</a:t>
              </a:r>
            </a:p>
          </p:txBody>
        </p:sp>
        <p:pic>
          <p:nvPicPr>
            <p:cNvPr id="65" name="Picture 71" descr="A close up of a sign&#10;&#10;Description automatically generated">
              <a:extLst>
                <a:ext uri="{FF2B5EF4-FFF2-40B4-BE49-F238E27FC236}">
                  <a16:creationId xmlns:a16="http://schemas.microsoft.com/office/drawing/2014/main" id="{D63E3FE6-8874-D66F-6C31-12FA79C6E4A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62906" y="3645055"/>
              <a:ext cx="258322" cy="262488"/>
            </a:xfrm>
            <a:prstGeom prst="rect">
              <a:avLst/>
            </a:prstGeom>
          </p:spPr>
        </p:pic>
        <p:pic>
          <p:nvPicPr>
            <p:cNvPr id="66" name="Picture 72" descr="A close up of a sign&#10;&#10;Description automatically generated">
              <a:extLst>
                <a:ext uri="{FF2B5EF4-FFF2-40B4-BE49-F238E27FC236}">
                  <a16:creationId xmlns:a16="http://schemas.microsoft.com/office/drawing/2014/main" id="{1E5F2A22-121A-E682-212B-D1479484F03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70561" y="3966337"/>
              <a:ext cx="258322" cy="262488"/>
            </a:xfrm>
            <a:prstGeom prst="rect">
              <a:avLst/>
            </a:prstGeom>
          </p:spPr>
        </p:pic>
        <p:pic>
          <p:nvPicPr>
            <p:cNvPr id="67" name="Picture 73" descr="A picture containing light&#10;&#10;Description automatically generated">
              <a:extLst>
                <a:ext uri="{FF2B5EF4-FFF2-40B4-BE49-F238E27FC236}">
                  <a16:creationId xmlns:a16="http://schemas.microsoft.com/office/drawing/2014/main" id="{64A5D4A0-889E-1164-266B-0475E6E22D7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91034" y="4308900"/>
              <a:ext cx="202066" cy="209989"/>
            </a:xfrm>
            <a:prstGeom prst="rect">
              <a:avLst/>
            </a:prstGeom>
          </p:spPr>
        </p:pic>
        <p:pic>
          <p:nvPicPr>
            <p:cNvPr id="68" name="Picture 74" descr="A picture containing light&#10;&#10;Description automatically generated">
              <a:extLst>
                <a:ext uri="{FF2B5EF4-FFF2-40B4-BE49-F238E27FC236}">
                  <a16:creationId xmlns:a16="http://schemas.microsoft.com/office/drawing/2014/main" id="{0D7E9409-A212-0755-3276-E0CA905EE83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98688" y="4692639"/>
              <a:ext cx="202066" cy="209989"/>
            </a:xfrm>
            <a:prstGeom prst="rect">
              <a:avLst/>
            </a:prstGeom>
          </p:spPr>
        </p:pic>
        <p:pic>
          <p:nvPicPr>
            <p:cNvPr id="69" name="Picture 79" descr="A picture containing light&#10;&#10;Description automatically generated">
              <a:extLst>
                <a:ext uri="{FF2B5EF4-FFF2-40B4-BE49-F238E27FC236}">
                  <a16:creationId xmlns:a16="http://schemas.microsoft.com/office/drawing/2014/main" id="{6E3C183E-CBF5-728C-DF1F-48C71530A8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43322" y="3987284"/>
              <a:ext cx="205952" cy="209989"/>
            </a:xfrm>
            <a:prstGeom prst="rect">
              <a:avLst/>
            </a:prstGeom>
          </p:spPr>
        </p:pic>
      </p:grpSp>
      <p:sp>
        <p:nvSpPr>
          <p:cNvPr id="70" name="TextBox 32">
            <a:extLst>
              <a:ext uri="{FF2B5EF4-FFF2-40B4-BE49-F238E27FC236}">
                <a16:creationId xmlns:a16="http://schemas.microsoft.com/office/drawing/2014/main" id="{0747FABD-75F8-B1BF-0A2B-6344860B6DC3}"/>
              </a:ext>
            </a:extLst>
          </p:cNvPr>
          <p:cNvSpPr txBox="1"/>
          <p:nvPr/>
        </p:nvSpPr>
        <p:spPr>
          <a:xfrm>
            <a:off x="1675440" y="5438720"/>
            <a:ext cx="319082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ptos" panose="020B0004020202020204" pitchFamily="34" charset="0"/>
                <a:ea typeface="+mn-ea"/>
                <a:cs typeface="Arial" panose="020B0604020202020204" pitchFamily="34" charset="0"/>
              </a:rPr>
              <a:t>* Information is preliminary and  may be subject to change.</a:t>
            </a:r>
          </a:p>
        </p:txBody>
      </p:sp>
      <p:sp>
        <p:nvSpPr>
          <p:cNvPr id="3" name="Espaço Reservado para Conteúdo 2">
            <a:extLst>
              <a:ext uri="{FF2B5EF4-FFF2-40B4-BE49-F238E27FC236}">
                <a16:creationId xmlns:a16="http://schemas.microsoft.com/office/drawing/2014/main" id="{6993229F-1BA0-148D-FE05-1DE7712894F9}"/>
              </a:ext>
            </a:extLst>
          </p:cNvPr>
          <p:cNvSpPr>
            <a:spLocks noGrp="1"/>
          </p:cNvSpPr>
          <p:nvPr>
            <p:ph idx="1"/>
          </p:nvPr>
        </p:nvSpPr>
        <p:spPr>
          <a:xfrm>
            <a:off x="1307888" y="669494"/>
            <a:ext cx="4497489" cy="631768"/>
          </a:xfrm>
        </p:spPr>
        <p:txBody>
          <a:bodyPr/>
          <a:lstStyle/>
          <a:p>
            <a:r>
              <a:rPr lang="en-US" sz="2400" b="1" noProof="0" dirty="0">
                <a:solidFill>
                  <a:srgbClr val="D9281C"/>
                </a:solidFill>
                <a:latin typeface="Aptos" panose="020B0004020202020204" pitchFamily="34" charset="0"/>
              </a:rPr>
              <a:t>Engine </a:t>
            </a:r>
            <a:r>
              <a:rPr lang="en-US" sz="2400" b="1" noProof="0" dirty="0">
                <a:solidFill>
                  <a:schemeClr val="accent1"/>
                </a:solidFill>
                <a:latin typeface="Aptos" panose="020B0004020202020204" pitchFamily="34" charset="0"/>
              </a:rPr>
              <a:t>Walk-Around</a:t>
            </a:r>
          </a:p>
        </p:txBody>
      </p:sp>
      <p:grpSp>
        <p:nvGrpSpPr>
          <p:cNvPr id="10" name="Group 9">
            <a:extLst>
              <a:ext uri="{FF2B5EF4-FFF2-40B4-BE49-F238E27FC236}">
                <a16:creationId xmlns:a16="http://schemas.microsoft.com/office/drawing/2014/main" id="{9C57E381-7886-42E3-6715-0D9E2C2BCA2C}"/>
              </a:ext>
            </a:extLst>
          </p:cNvPr>
          <p:cNvGrpSpPr/>
          <p:nvPr/>
        </p:nvGrpSpPr>
        <p:grpSpPr>
          <a:xfrm>
            <a:off x="6689229" y="5508526"/>
            <a:ext cx="4026571" cy="215444"/>
            <a:chOff x="6689229" y="5508526"/>
            <a:chExt cx="4026571" cy="215444"/>
          </a:xfrm>
        </p:grpSpPr>
        <p:grpSp>
          <p:nvGrpSpPr>
            <p:cNvPr id="7" name="Group 6">
              <a:extLst>
                <a:ext uri="{FF2B5EF4-FFF2-40B4-BE49-F238E27FC236}">
                  <a16:creationId xmlns:a16="http://schemas.microsoft.com/office/drawing/2014/main" id="{D4988DE3-7454-83BF-ECC9-006D98CB6DD3}"/>
                </a:ext>
              </a:extLst>
            </p:cNvPr>
            <p:cNvGrpSpPr/>
            <p:nvPr/>
          </p:nvGrpSpPr>
          <p:grpSpPr>
            <a:xfrm>
              <a:off x="6806733" y="5508526"/>
              <a:ext cx="3909067" cy="215444"/>
              <a:chOff x="6806733" y="5508526"/>
              <a:chExt cx="3909067" cy="215444"/>
            </a:xfrm>
          </p:grpSpPr>
          <p:pic>
            <p:nvPicPr>
              <p:cNvPr id="8" name="Picture 34" descr="A picture containing light&#10;&#10;Description automatically generated">
                <a:extLst>
                  <a:ext uri="{FF2B5EF4-FFF2-40B4-BE49-F238E27FC236}">
                    <a16:creationId xmlns:a16="http://schemas.microsoft.com/office/drawing/2014/main" id="{757FCDB5-F6DE-4C55-1A82-7D60A5D4FF2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939856" y="5538906"/>
                <a:ext cx="141507" cy="147056"/>
              </a:xfrm>
              <a:prstGeom prst="rect">
                <a:avLst/>
              </a:prstGeom>
            </p:spPr>
          </p:pic>
          <p:pic>
            <p:nvPicPr>
              <p:cNvPr id="11" name="Picture 35" descr="A close up of a sign&#10;&#10;Description automatically generated">
                <a:extLst>
                  <a:ext uri="{FF2B5EF4-FFF2-40B4-BE49-F238E27FC236}">
                    <a16:creationId xmlns:a16="http://schemas.microsoft.com/office/drawing/2014/main" id="{E7984CD3-64E1-C48E-B302-6124048D3D9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11563" y="5520524"/>
                <a:ext cx="180902" cy="183820"/>
              </a:xfrm>
              <a:prstGeom prst="rect">
                <a:avLst/>
              </a:prstGeom>
            </p:spPr>
          </p:pic>
          <p:pic>
            <p:nvPicPr>
              <p:cNvPr id="12" name="Picture 36" descr="A picture containing light&#10;&#10;Description automatically generated">
                <a:extLst>
                  <a:ext uri="{FF2B5EF4-FFF2-40B4-BE49-F238E27FC236}">
                    <a16:creationId xmlns:a16="http://schemas.microsoft.com/office/drawing/2014/main" id="{A50E2263-326C-AEF5-8F79-D6CA62BA796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122667" y="5538906"/>
                <a:ext cx="144228" cy="147056"/>
              </a:xfrm>
              <a:prstGeom prst="rect">
                <a:avLst/>
              </a:prstGeom>
            </p:spPr>
          </p:pic>
          <p:sp>
            <p:nvSpPr>
              <p:cNvPr id="13" name="TextBox 37">
                <a:extLst>
                  <a:ext uri="{FF2B5EF4-FFF2-40B4-BE49-F238E27FC236}">
                    <a16:creationId xmlns:a16="http://schemas.microsoft.com/office/drawing/2014/main" id="{B5372E2C-A164-B8B1-2B6D-F4ED80F4E4E7}"/>
                  </a:ext>
                </a:extLst>
              </p:cNvPr>
              <p:cNvSpPr txBox="1"/>
              <p:nvPr/>
            </p:nvSpPr>
            <p:spPr>
              <a:xfrm>
                <a:off x="6806733" y="5508526"/>
                <a:ext cx="98777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0B0004020202020204" pitchFamily="34" charset="0"/>
                    <a:ea typeface="+mn-ea"/>
                    <a:cs typeface="+mn-cs"/>
                  </a:rPr>
                  <a:t>FUEL EFFICIENCY</a:t>
                </a:r>
              </a:p>
            </p:txBody>
          </p:sp>
          <p:sp>
            <p:nvSpPr>
              <p:cNvPr id="15" name="TextBox 39">
                <a:extLst>
                  <a:ext uri="{FF2B5EF4-FFF2-40B4-BE49-F238E27FC236}">
                    <a16:creationId xmlns:a16="http://schemas.microsoft.com/office/drawing/2014/main" id="{2A20EDB4-AACA-BD36-105D-C9D2781015E5}"/>
                  </a:ext>
                </a:extLst>
              </p:cNvPr>
              <p:cNvSpPr txBox="1"/>
              <p:nvPr/>
            </p:nvSpPr>
            <p:spPr>
              <a:xfrm>
                <a:off x="8025704" y="5508526"/>
                <a:ext cx="879517" cy="1510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0B0004020202020204" pitchFamily="34" charset="0"/>
                    <a:ea typeface="+mn-ea"/>
                    <a:cs typeface="+mn-cs"/>
                  </a:rPr>
                  <a:t>MAINTENANCE</a:t>
                </a:r>
              </a:p>
            </p:txBody>
          </p:sp>
          <p:sp>
            <p:nvSpPr>
              <p:cNvPr id="16" name="TextBox 41">
                <a:extLst>
                  <a:ext uri="{FF2B5EF4-FFF2-40B4-BE49-F238E27FC236}">
                    <a16:creationId xmlns:a16="http://schemas.microsoft.com/office/drawing/2014/main" id="{F692DB18-5E68-4745-8EE3-2B2D88735C96}"/>
                  </a:ext>
                </a:extLst>
              </p:cNvPr>
              <p:cNvSpPr txBox="1"/>
              <p:nvPr/>
            </p:nvSpPr>
            <p:spPr>
              <a:xfrm>
                <a:off x="9112074" y="5508526"/>
                <a:ext cx="563340" cy="1510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GULATORY</a:t>
                </a:r>
              </a:p>
            </p:txBody>
          </p:sp>
          <p:sp>
            <p:nvSpPr>
              <p:cNvPr id="17" name="TextBox 43">
                <a:extLst>
                  <a:ext uri="{FF2B5EF4-FFF2-40B4-BE49-F238E27FC236}">
                    <a16:creationId xmlns:a16="http://schemas.microsoft.com/office/drawing/2014/main" id="{9D5A5BE1-D156-DD4B-5EE4-711049A5C768}"/>
                  </a:ext>
                </a:extLst>
              </p:cNvPr>
              <p:cNvSpPr txBox="1"/>
              <p:nvPr/>
            </p:nvSpPr>
            <p:spPr>
              <a:xfrm>
                <a:off x="10212031" y="5508526"/>
                <a:ext cx="503769" cy="1510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LIABILITY</a:t>
                </a:r>
              </a:p>
            </p:txBody>
          </p:sp>
        </p:grpSp>
        <p:pic>
          <p:nvPicPr>
            <p:cNvPr id="9" name="Picture 45" descr="A close up of a sign&#10;&#10;Description automatically generated">
              <a:extLst>
                <a:ext uri="{FF2B5EF4-FFF2-40B4-BE49-F238E27FC236}">
                  <a16:creationId xmlns:a16="http://schemas.microsoft.com/office/drawing/2014/main" id="{938708DD-73AD-369A-944E-8D1558BD90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89229" y="5542238"/>
              <a:ext cx="149246" cy="142416"/>
            </a:xfrm>
            <a:prstGeom prst="rect">
              <a:avLst/>
            </a:prstGeom>
          </p:spPr>
        </p:pic>
      </p:grpSp>
      <p:sp>
        <p:nvSpPr>
          <p:cNvPr id="2" name="Rounded Rectangle 56">
            <a:extLst>
              <a:ext uri="{FF2B5EF4-FFF2-40B4-BE49-F238E27FC236}">
                <a16:creationId xmlns:a16="http://schemas.microsoft.com/office/drawing/2014/main" id="{D7C3AD83-1A58-8E16-F531-A8048AD60C5E}"/>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4" name="Conector Reto 31">
            <a:extLst>
              <a:ext uri="{FF2B5EF4-FFF2-40B4-BE49-F238E27FC236}">
                <a16:creationId xmlns:a16="http://schemas.microsoft.com/office/drawing/2014/main" id="{BB054B46-0C07-AB46-071E-6F7F573289F2}"/>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5" name="Conector Reto 75">
            <a:extLst>
              <a:ext uri="{FF2B5EF4-FFF2-40B4-BE49-F238E27FC236}">
                <a16:creationId xmlns:a16="http://schemas.microsoft.com/office/drawing/2014/main" id="{DF5E2385-45D9-9ED0-8C9E-D6EF0EDD8EB8}"/>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6" name="Conector Reto 31">
            <a:extLst>
              <a:ext uri="{FF2B5EF4-FFF2-40B4-BE49-F238E27FC236}">
                <a16:creationId xmlns:a16="http://schemas.microsoft.com/office/drawing/2014/main" id="{A7C42950-BAC0-B38B-111A-D74F7D39A67E}"/>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Conector Reto 31">
            <a:extLst>
              <a:ext uri="{FF2B5EF4-FFF2-40B4-BE49-F238E27FC236}">
                <a16:creationId xmlns:a16="http://schemas.microsoft.com/office/drawing/2014/main" id="{59EAB39B-5FB5-3A3B-788E-074707A92A88}"/>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Conector Reto 78">
            <a:extLst>
              <a:ext uri="{FF2B5EF4-FFF2-40B4-BE49-F238E27FC236}">
                <a16:creationId xmlns:a16="http://schemas.microsoft.com/office/drawing/2014/main" id="{90E599DA-1B7D-B7A5-82C0-3B8D76F21742}"/>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31">
            <a:extLst>
              <a:ext uri="{FF2B5EF4-FFF2-40B4-BE49-F238E27FC236}">
                <a16:creationId xmlns:a16="http://schemas.microsoft.com/office/drawing/2014/main" id="{5AC38A2F-F640-7FD1-4991-D62D770BE3FC}"/>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3" name="CaixaDeTexto 80">
            <a:extLst>
              <a:ext uri="{FF2B5EF4-FFF2-40B4-BE49-F238E27FC236}">
                <a16:creationId xmlns:a16="http://schemas.microsoft.com/office/drawing/2014/main" id="{C4893F47-6602-A214-1862-1C16B7E2BA65}"/>
              </a:ext>
            </a:extLst>
          </p:cNvPr>
          <p:cNvSpPr txBox="1"/>
          <p:nvPr/>
        </p:nvSpPr>
        <p:spPr>
          <a:xfrm>
            <a:off x="783241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24" name="CaixaDeTexto 81">
            <a:extLst>
              <a:ext uri="{FF2B5EF4-FFF2-40B4-BE49-F238E27FC236}">
                <a16:creationId xmlns:a16="http://schemas.microsoft.com/office/drawing/2014/main" id="{B38A4CFE-7F83-0806-B74C-9B7C2EE36328}"/>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36" name="CaixaDeTexto 82">
            <a:extLst>
              <a:ext uri="{FF2B5EF4-FFF2-40B4-BE49-F238E27FC236}">
                <a16:creationId xmlns:a16="http://schemas.microsoft.com/office/drawing/2014/main" id="{1CCEBBD2-5CFD-D643-1099-D61CD5FF3A44}"/>
              </a:ext>
            </a:extLst>
          </p:cNvPr>
          <p:cNvSpPr txBox="1"/>
          <p:nvPr/>
        </p:nvSpPr>
        <p:spPr>
          <a:xfrm>
            <a:off x="6457787" y="6294672"/>
            <a:ext cx="139885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37" name="CaixaDeTexto 83">
            <a:extLst>
              <a:ext uri="{FF2B5EF4-FFF2-40B4-BE49-F238E27FC236}">
                <a16:creationId xmlns:a16="http://schemas.microsoft.com/office/drawing/2014/main" id="{F837560D-FA13-C46E-7E35-7BA88A3C6829}"/>
              </a:ext>
            </a:extLst>
          </p:cNvPr>
          <p:cNvSpPr txBox="1"/>
          <p:nvPr/>
        </p:nvSpPr>
        <p:spPr>
          <a:xfrm>
            <a:off x="4950538" y="6294672"/>
            <a:ext cx="9498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Walk-Around</a:t>
            </a:r>
          </a:p>
        </p:txBody>
      </p:sp>
      <p:sp>
        <p:nvSpPr>
          <p:cNvPr id="38" name="CaixaDeTexto 84">
            <a:extLst>
              <a:ext uri="{FF2B5EF4-FFF2-40B4-BE49-F238E27FC236}">
                <a16:creationId xmlns:a16="http://schemas.microsoft.com/office/drawing/2014/main" id="{55B5B6D1-A4F2-02F5-2A9C-56D49DF59AEB}"/>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39" name="CaixaDeTexto 85">
            <a:extLst>
              <a:ext uri="{FF2B5EF4-FFF2-40B4-BE49-F238E27FC236}">
                <a16:creationId xmlns:a16="http://schemas.microsoft.com/office/drawing/2014/main" id="{DB047940-0368-7D40-AD10-C34F084ABDF2}"/>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40" name="CaixaDeTexto 86">
            <a:extLst>
              <a:ext uri="{FF2B5EF4-FFF2-40B4-BE49-F238E27FC236}">
                <a16:creationId xmlns:a16="http://schemas.microsoft.com/office/drawing/2014/main" id="{3A2A20C1-057D-D7CE-61BD-12CCD6EE7D6B}"/>
              </a:ext>
            </a:extLst>
          </p:cNvPr>
          <p:cNvSpPr txBox="1"/>
          <p:nvPr/>
        </p:nvSpPr>
        <p:spPr>
          <a:xfrm>
            <a:off x="5868247" y="6294672"/>
            <a:ext cx="60165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41" name="CaixaDeTexto 87">
            <a:extLst>
              <a:ext uri="{FF2B5EF4-FFF2-40B4-BE49-F238E27FC236}">
                <a16:creationId xmlns:a16="http://schemas.microsoft.com/office/drawing/2014/main" id="{372F5BB0-51BA-156F-7018-FF0CD510BB5A}"/>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42" name="Conector Reto 31">
            <a:extLst>
              <a:ext uri="{FF2B5EF4-FFF2-40B4-BE49-F238E27FC236}">
                <a16:creationId xmlns:a16="http://schemas.microsoft.com/office/drawing/2014/main" id="{FA7FFB4B-D173-51BA-C6DD-5C92E179D6DB}"/>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1" name="Conector Reto 31">
            <a:extLst>
              <a:ext uri="{FF2B5EF4-FFF2-40B4-BE49-F238E27FC236}">
                <a16:creationId xmlns:a16="http://schemas.microsoft.com/office/drawing/2014/main" id="{EE63D434-6A67-025D-1E0C-BEFFCA0A8A43}"/>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2" name="Conector Reto 17">
            <a:extLst>
              <a:ext uri="{FF2B5EF4-FFF2-40B4-BE49-F238E27FC236}">
                <a16:creationId xmlns:a16="http://schemas.microsoft.com/office/drawing/2014/main" id="{C8329415-3882-932D-3C85-38B1292CAFF3}"/>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73" name="Rounded Rectangle 141">
            <a:extLst>
              <a:ext uri="{FF2B5EF4-FFF2-40B4-BE49-F238E27FC236}">
                <a16:creationId xmlns:a16="http://schemas.microsoft.com/office/drawing/2014/main" id="{3CC86540-D031-9C22-811C-DB42C9C4BDDC}"/>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74" name="CaixaDeTexto 89">
            <a:extLst>
              <a:ext uri="{FF2B5EF4-FFF2-40B4-BE49-F238E27FC236}">
                <a16:creationId xmlns:a16="http://schemas.microsoft.com/office/drawing/2014/main" id="{99016AAB-9D3A-933C-27B7-6867CD286A4C}"/>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Tree>
    <p:extLst>
      <p:ext uri="{BB962C8B-B14F-4D97-AF65-F5344CB8AC3E}">
        <p14:creationId xmlns:p14="http://schemas.microsoft.com/office/powerpoint/2010/main" val="27274153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02367-61CD-565D-A6EA-8AA18C10C9D6}"/>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F0EE8875-1101-1C32-6883-A312D1C48AFE}"/>
              </a:ext>
            </a:extLst>
          </p:cNvPr>
          <p:cNvSpPr/>
          <p:nvPr/>
        </p:nvSpPr>
        <p:spPr>
          <a:xfrm>
            <a:off x="1392865" y="1247695"/>
            <a:ext cx="10011994"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5" name="CaixaDeTexto 14">
            <a:extLst>
              <a:ext uri="{FF2B5EF4-FFF2-40B4-BE49-F238E27FC236}">
                <a16:creationId xmlns:a16="http://schemas.microsoft.com/office/drawing/2014/main" id="{976B4704-FAFB-F77C-7A08-C35F869658EE}"/>
              </a:ext>
            </a:extLst>
          </p:cNvPr>
          <p:cNvSpPr txBox="1"/>
          <p:nvPr/>
        </p:nvSpPr>
        <p:spPr>
          <a:xfrm>
            <a:off x="1477147" y="5583248"/>
            <a:ext cx="609463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FFFFFF">
                    <a:lumMod val="50000"/>
                  </a:srgbClr>
                </a:solidFill>
                <a:effectLst/>
                <a:uLnTx/>
                <a:uFillTx/>
                <a:latin typeface="Aptos" panose="020B0004020202020204" pitchFamily="34" charset="0"/>
                <a:ea typeface="+mn-ea"/>
                <a:cs typeface="+mn-cs"/>
              </a:rPr>
              <a:t>1</a:t>
            </a:r>
            <a:r>
              <a:rPr kumimoji="0" lang="en-US" sz="1000" b="0" i="0" u="none" strike="noStrike" kern="1200" cap="none" spc="0" normalizeH="0" baseline="0" noProof="0">
                <a:ln>
                  <a:noFill/>
                </a:ln>
                <a:solidFill>
                  <a:srgbClr val="FFFFFF">
                    <a:lumMod val="50000"/>
                  </a:srgbClr>
                </a:solidFill>
                <a:effectLst/>
                <a:uLnTx/>
                <a:uFillTx/>
                <a:latin typeface="Aptos" panose="020B0004020202020204" pitchFamily="34" charset="0"/>
                <a:ea typeface="+mn-ea"/>
                <a:cs typeface="+mn-cs"/>
              </a:rPr>
              <a:t> Restricted to  applications shown    </a:t>
            </a:r>
            <a:r>
              <a:rPr kumimoji="0" lang="en-US" sz="1000" b="0" i="0" u="none" strike="noStrike" kern="1200" cap="none" spc="0" normalizeH="0" baseline="30000" noProof="0">
                <a:ln>
                  <a:noFill/>
                </a:ln>
                <a:solidFill>
                  <a:srgbClr val="FFFFFF">
                    <a:lumMod val="50000"/>
                  </a:srgbClr>
                </a:solidFill>
                <a:effectLst/>
                <a:uLnTx/>
                <a:uFillTx/>
                <a:latin typeface="Aptos" panose="020B0004020202020204" pitchFamily="34" charset="0"/>
                <a:ea typeface="+mn-ea"/>
                <a:cs typeface="+mn-cs"/>
              </a:rPr>
              <a:t>2</a:t>
            </a:r>
            <a:r>
              <a:rPr kumimoji="0" lang="en-US" sz="1000" b="0" i="0" u="none" strike="noStrike" kern="1200" cap="none" spc="0" normalizeH="0" baseline="0" noProof="0">
                <a:ln>
                  <a:noFill/>
                </a:ln>
                <a:solidFill>
                  <a:srgbClr val="FFFFFF">
                    <a:lumMod val="50000"/>
                  </a:srgbClr>
                </a:solidFill>
                <a:effectLst/>
                <a:uLnTx/>
                <a:uFillTx/>
                <a:latin typeface="Aptos" panose="020B0004020202020204" pitchFamily="34" charset="0"/>
                <a:ea typeface="+mn-ea"/>
                <a:cs typeface="+mn-cs"/>
              </a:rPr>
              <a:t> EX Rating available</a:t>
            </a:r>
          </a:p>
        </p:txBody>
      </p:sp>
      <p:sp>
        <p:nvSpPr>
          <p:cNvPr id="47" name="Espaço Reservado para Conteúdo 46">
            <a:extLst>
              <a:ext uri="{FF2B5EF4-FFF2-40B4-BE49-F238E27FC236}">
                <a16:creationId xmlns:a16="http://schemas.microsoft.com/office/drawing/2014/main" id="{B1044FE3-E331-4ABD-4202-D5B0A7BA660D}"/>
              </a:ext>
            </a:extLst>
          </p:cNvPr>
          <p:cNvSpPr>
            <a:spLocks noGrp="1"/>
          </p:cNvSpPr>
          <p:nvPr>
            <p:ph idx="1"/>
          </p:nvPr>
        </p:nvSpPr>
        <p:spPr/>
        <p:txBody>
          <a:bodyPr/>
          <a:lstStyle/>
          <a:p>
            <a:r>
              <a:rPr lang="en-US" sz="2400" b="1" noProof="0">
                <a:solidFill>
                  <a:schemeClr val="accent1"/>
                </a:solidFill>
                <a:latin typeface="Aptos" panose="020B0004020202020204" pitchFamily="34" charset="0"/>
              </a:rPr>
              <a:t>Ratings</a:t>
            </a:r>
          </a:p>
          <a:p>
            <a:endParaRPr lang="en-US" noProof="0"/>
          </a:p>
        </p:txBody>
      </p:sp>
      <p:graphicFrame>
        <p:nvGraphicFramePr>
          <p:cNvPr id="17" name="Table 9">
            <a:extLst>
              <a:ext uri="{FF2B5EF4-FFF2-40B4-BE49-F238E27FC236}">
                <a16:creationId xmlns:a16="http://schemas.microsoft.com/office/drawing/2014/main" id="{5669A90B-86A8-81D8-D907-2B37868CE5DD}"/>
              </a:ext>
            </a:extLst>
          </p:cNvPr>
          <p:cNvGraphicFramePr>
            <a:graphicFrameLocks noGrp="1"/>
          </p:cNvGraphicFramePr>
          <p:nvPr/>
        </p:nvGraphicFramePr>
        <p:xfrm>
          <a:off x="1477147" y="1384855"/>
          <a:ext cx="9927710" cy="4114800"/>
        </p:xfrm>
        <a:graphic>
          <a:graphicData uri="http://schemas.openxmlformats.org/drawingml/2006/table">
            <a:tbl>
              <a:tblPr firstRow="1" bandRow="1">
                <a:tableStyleId>{7E9639D4-E3E2-4D34-9284-5A2195B3D0D7}</a:tableStyleId>
              </a:tblPr>
              <a:tblGrid>
                <a:gridCol w="763670">
                  <a:extLst>
                    <a:ext uri="{9D8B030D-6E8A-4147-A177-3AD203B41FA5}">
                      <a16:colId xmlns:a16="http://schemas.microsoft.com/office/drawing/2014/main" val="3540066833"/>
                    </a:ext>
                  </a:extLst>
                </a:gridCol>
                <a:gridCol w="763670">
                  <a:extLst>
                    <a:ext uri="{9D8B030D-6E8A-4147-A177-3AD203B41FA5}">
                      <a16:colId xmlns:a16="http://schemas.microsoft.com/office/drawing/2014/main" val="2647162845"/>
                    </a:ext>
                  </a:extLst>
                </a:gridCol>
                <a:gridCol w="763670">
                  <a:extLst>
                    <a:ext uri="{9D8B030D-6E8A-4147-A177-3AD203B41FA5}">
                      <a16:colId xmlns:a16="http://schemas.microsoft.com/office/drawing/2014/main" val="4069511429"/>
                    </a:ext>
                  </a:extLst>
                </a:gridCol>
                <a:gridCol w="763670">
                  <a:extLst>
                    <a:ext uri="{9D8B030D-6E8A-4147-A177-3AD203B41FA5}">
                      <a16:colId xmlns:a16="http://schemas.microsoft.com/office/drawing/2014/main" val="3084808617"/>
                    </a:ext>
                  </a:extLst>
                </a:gridCol>
                <a:gridCol w="763670">
                  <a:extLst>
                    <a:ext uri="{9D8B030D-6E8A-4147-A177-3AD203B41FA5}">
                      <a16:colId xmlns:a16="http://schemas.microsoft.com/office/drawing/2014/main" val="2366233398"/>
                    </a:ext>
                  </a:extLst>
                </a:gridCol>
                <a:gridCol w="763670">
                  <a:extLst>
                    <a:ext uri="{9D8B030D-6E8A-4147-A177-3AD203B41FA5}">
                      <a16:colId xmlns:a16="http://schemas.microsoft.com/office/drawing/2014/main" val="980908345"/>
                    </a:ext>
                  </a:extLst>
                </a:gridCol>
                <a:gridCol w="763670">
                  <a:extLst>
                    <a:ext uri="{9D8B030D-6E8A-4147-A177-3AD203B41FA5}">
                      <a16:colId xmlns:a16="http://schemas.microsoft.com/office/drawing/2014/main" val="1361106740"/>
                    </a:ext>
                  </a:extLst>
                </a:gridCol>
                <a:gridCol w="628841">
                  <a:extLst>
                    <a:ext uri="{9D8B030D-6E8A-4147-A177-3AD203B41FA5}">
                      <a16:colId xmlns:a16="http://schemas.microsoft.com/office/drawing/2014/main" val="3290088554"/>
                    </a:ext>
                  </a:extLst>
                </a:gridCol>
                <a:gridCol w="818865">
                  <a:extLst>
                    <a:ext uri="{9D8B030D-6E8A-4147-A177-3AD203B41FA5}">
                      <a16:colId xmlns:a16="http://schemas.microsoft.com/office/drawing/2014/main" val="2930452984"/>
                    </a:ext>
                  </a:extLst>
                </a:gridCol>
                <a:gridCol w="682388">
                  <a:extLst>
                    <a:ext uri="{9D8B030D-6E8A-4147-A177-3AD203B41FA5}">
                      <a16:colId xmlns:a16="http://schemas.microsoft.com/office/drawing/2014/main" val="2998810526"/>
                    </a:ext>
                  </a:extLst>
                </a:gridCol>
                <a:gridCol w="655093">
                  <a:extLst>
                    <a:ext uri="{9D8B030D-6E8A-4147-A177-3AD203B41FA5}">
                      <a16:colId xmlns:a16="http://schemas.microsoft.com/office/drawing/2014/main" val="907745329"/>
                    </a:ext>
                  </a:extLst>
                </a:gridCol>
                <a:gridCol w="928048">
                  <a:extLst>
                    <a:ext uri="{9D8B030D-6E8A-4147-A177-3AD203B41FA5}">
                      <a16:colId xmlns:a16="http://schemas.microsoft.com/office/drawing/2014/main" val="1355169752"/>
                    </a:ext>
                  </a:extLst>
                </a:gridCol>
                <a:gridCol w="868785">
                  <a:extLst>
                    <a:ext uri="{9D8B030D-6E8A-4147-A177-3AD203B41FA5}">
                      <a16:colId xmlns:a16="http://schemas.microsoft.com/office/drawing/2014/main" val="4123786109"/>
                    </a:ext>
                  </a:extLst>
                </a:gridCol>
              </a:tblGrid>
              <a:tr h="458429">
                <a:tc>
                  <a:txBody>
                    <a:bodyPr/>
                    <a:lstStyle/>
                    <a:p>
                      <a:r>
                        <a:rPr lang="en-US" sz="1000" b="1" noProof="0">
                          <a:solidFill>
                            <a:schemeClr val="bg1"/>
                          </a:solidFill>
                        </a:rPr>
                        <a:t>Engine Family</a:t>
                      </a:r>
                      <a:endParaRPr lang="en-US" sz="1000" b="1" i="0" noProof="0">
                        <a:solidFill>
                          <a:schemeClr val="bg1"/>
                        </a:solidFill>
                        <a:latin typeface="Aptos" panose="020B0004020202020204" pitchFamily="34" charset="0"/>
                        <a:cs typeface="Arial" panose="020B0604020202020204" pitchFamily="34" charset="0"/>
                      </a:endParaRPr>
                    </a:p>
                  </a:txBody>
                  <a:tcPr>
                    <a:lnL w="12700" cap="flat" cmpd="sng" algn="ctr">
                      <a:noFill/>
                      <a:prstDash val="solid"/>
                      <a:miter lim="800000"/>
                    </a:lnL>
                    <a:lnR>
                      <a:noFill/>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noProof="0">
                          <a:solidFill>
                            <a:schemeClr val="bg1"/>
                          </a:solidFill>
                        </a:rPr>
                        <a:t>Engine Rating HP</a:t>
                      </a:r>
                      <a:endParaRPr lang="en-US" sz="1000" b="1" i="0" noProof="0">
                        <a:solidFill>
                          <a:schemeClr val="bg1"/>
                        </a:solidFill>
                        <a:latin typeface="Aptos" panose="020B0004020202020204" pitchFamily="34" charset="0"/>
                        <a:cs typeface="Arial" panose="020B0604020202020204" pitchFamily="34" charset="0"/>
                      </a:endParaRPr>
                    </a:p>
                  </a:txBody>
                  <a:tcPr>
                    <a:lnL>
                      <a:noFill/>
                    </a:lnL>
                    <a:lnR>
                      <a:noFill/>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noProof="0">
                          <a:solidFill>
                            <a:schemeClr val="bg1"/>
                          </a:solidFill>
                        </a:rPr>
                        <a:t>Peak Torque </a:t>
                      </a:r>
                    </a:p>
                    <a:p>
                      <a:r>
                        <a:rPr lang="en-US" sz="1000" b="1" noProof="0" err="1">
                          <a:solidFill>
                            <a:schemeClr val="bg1"/>
                          </a:solidFill>
                        </a:rPr>
                        <a:t>Lbs</a:t>
                      </a:r>
                      <a:r>
                        <a:rPr lang="en-US" sz="1000" b="1" noProof="0">
                          <a:solidFill>
                            <a:schemeClr val="bg1"/>
                          </a:solidFill>
                        </a:rPr>
                        <a:t>-ft</a:t>
                      </a:r>
                      <a:endParaRPr lang="en-US" sz="1000" b="1" i="0" noProof="0">
                        <a:solidFill>
                          <a:schemeClr val="bg1"/>
                        </a:solidFill>
                        <a:latin typeface="Aptos" panose="020B0004020202020204" pitchFamily="34" charset="0"/>
                        <a:cs typeface="Arial" panose="020B0604020202020204" pitchFamily="34" charset="0"/>
                      </a:endParaRP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a:solidFill>
                            <a:schemeClr val="bg1"/>
                          </a:solidFill>
                          <a:latin typeface="Aptos" panose="020B0004020202020204" pitchFamily="34" charset="0"/>
                          <a:cs typeface="Arial" panose="020B0604020202020204" pitchFamily="34" charset="0"/>
                        </a:rPr>
                        <a:t>Peak Torque Speed RPM</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a:solidFill>
                            <a:schemeClr val="bg1"/>
                          </a:solidFill>
                          <a:latin typeface="Aptos" panose="020B0004020202020204" pitchFamily="34" charset="0"/>
                          <a:cs typeface="Arial" panose="020B0604020202020204" pitchFamily="34" charset="0"/>
                        </a:rPr>
                        <a:t>Governed Speed RPM</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a:solidFill>
                            <a:schemeClr val="bg1"/>
                          </a:solidFill>
                          <a:latin typeface="Aptos" panose="020B0004020202020204" pitchFamily="34" charset="0"/>
                          <a:cs typeface="Arial" panose="020B0604020202020204" pitchFamily="34" charset="0"/>
                        </a:rPr>
                        <a:t>HD Truck</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a:solidFill>
                            <a:schemeClr val="bg1"/>
                          </a:solidFill>
                          <a:latin typeface="Aptos" panose="020B0004020202020204" pitchFamily="34" charset="0"/>
                          <a:cs typeface="Arial" panose="020B0604020202020204" pitchFamily="34" charset="0"/>
                        </a:rPr>
                        <a:t>MD Truck</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a:solidFill>
                            <a:schemeClr val="bg1"/>
                          </a:solidFill>
                          <a:latin typeface="Aptos" panose="020B0004020202020204" pitchFamily="34" charset="0"/>
                          <a:cs typeface="Arial" panose="020B0604020202020204" pitchFamily="34" charset="0"/>
                        </a:rPr>
                        <a:t>Refuse</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dirty="0">
                          <a:solidFill>
                            <a:schemeClr val="bg1"/>
                          </a:solidFill>
                          <a:latin typeface="Aptos" panose="020B0004020202020204" pitchFamily="34" charset="0"/>
                          <a:cs typeface="Arial" panose="020B0604020202020204" pitchFamily="34" charset="0"/>
                        </a:rPr>
                        <a:t>Vocational</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a:solidFill>
                            <a:schemeClr val="bg1"/>
                          </a:solidFill>
                          <a:latin typeface="Aptos" panose="020B0004020202020204" pitchFamily="34" charset="0"/>
                          <a:cs typeface="Arial" panose="020B0604020202020204" pitchFamily="34" charset="0"/>
                        </a:rPr>
                        <a:t>Shuffle Bus</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a:solidFill>
                            <a:schemeClr val="bg1"/>
                          </a:solidFill>
                          <a:latin typeface="Aptos" panose="020B0004020202020204" pitchFamily="34" charset="0"/>
                          <a:cs typeface="Arial" panose="020B0604020202020204" pitchFamily="34" charset="0"/>
                        </a:rPr>
                        <a:t>Transit Bus</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a:solidFill>
                            <a:schemeClr val="bg1"/>
                          </a:solidFill>
                          <a:latin typeface="Aptos" panose="020B0004020202020204" pitchFamily="34" charset="0"/>
                          <a:cs typeface="Arial" panose="020B0604020202020204" pitchFamily="34" charset="0"/>
                        </a:rPr>
                        <a:t>Recreational Vehicle</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noProof="0">
                          <a:solidFill>
                            <a:schemeClr val="bg1"/>
                          </a:solidFill>
                          <a:latin typeface="Aptos" panose="020B0004020202020204" pitchFamily="34" charset="0"/>
                          <a:cs typeface="Arial" panose="020B0604020202020204" pitchFamily="34" charset="0"/>
                        </a:rPr>
                        <a:t>Emergency Vehicle</a:t>
                      </a:r>
                    </a:p>
                  </a:txBody>
                  <a:tcPr>
                    <a:lnL>
                      <a:noFill/>
                    </a:lnL>
                    <a:lnR w="12700" cap="flat" cmpd="sng" algn="ctr">
                      <a:noFill/>
                      <a:prstDash val="solid"/>
                      <a:miter lim="800000"/>
                    </a:lnR>
                    <a:lnT w="12700" cap="flat" cmpd="sng" algn="ctr">
                      <a:noFill/>
                      <a:prstDash val="solid"/>
                      <a:miter lim="800000"/>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6676887"/>
                  </a:ext>
                </a:extLst>
              </a:tr>
              <a:tr h="213249">
                <a:tc>
                  <a:txBody>
                    <a:bodyPr/>
                    <a:lstStyle/>
                    <a:p>
                      <a:r>
                        <a:rPr lang="en-US" sz="800" noProof="0">
                          <a:solidFill>
                            <a:schemeClr val="tx1"/>
                          </a:solidFill>
                        </a:rPr>
                        <a:t>MD</a:t>
                      </a:r>
                      <a:endParaRPr lang="en-US" sz="800" b="0" i="0" noProof="0">
                        <a:solidFill>
                          <a:schemeClr val="tx1"/>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32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100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2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0870249"/>
                  </a:ext>
                </a:extLst>
              </a:tr>
              <a:tr h="213249">
                <a:tc>
                  <a:txBody>
                    <a:bodyPr/>
                    <a:lstStyle/>
                    <a:p>
                      <a:r>
                        <a:rPr lang="en-US" sz="800" noProof="0">
                          <a:solidFill>
                            <a:schemeClr val="tx1"/>
                          </a:solidFill>
                        </a:rPr>
                        <a:t>MD</a:t>
                      </a:r>
                      <a:endParaRPr lang="en-US" sz="800" b="0" i="0" noProof="0">
                        <a:solidFill>
                          <a:schemeClr val="tx1"/>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350</a:t>
                      </a: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105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2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23266192"/>
                  </a:ext>
                </a:extLst>
              </a:tr>
              <a:tr h="213249">
                <a:tc>
                  <a:txBody>
                    <a:bodyPr/>
                    <a:lstStyle/>
                    <a:p>
                      <a:r>
                        <a:rPr lang="en-US" sz="800" noProof="0">
                          <a:solidFill>
                            <a:schemeClr val="tx1"/>
                          </a:solidFill>
                        </a:rPr>
                        <a:t>MD</a:t>
                      </a:r>
                      <a:endParaRPr lang="en-US" sz="800" b="0" i="0" noProof="0">
                        <a:solidFill>
                          <a:schemeClr val="tx1"/>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36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115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tx1"/>
                          </a:solidFill>
                          <a:latin typeface="Aptos" panose="020B0004020202020204" pitchFamily="34" charset="0"/>
                          <a:cs typeface="Arial" panose="020B0604020202020204" pitchFamily="34" charset="0"/>
                        </a:rPr>
                        <a:t>2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3945037"/>
                  </a:ext>
                </a:extLst>
              </a:tr>
              <a:tr h="213249">
                <a:tc>
                  <a:txBody>
                    <a:bodyPr/>
                    <a:lstStyle/>
                    <a:p>
                      <a:r>
                        <a:rPr lang="en-US" sz="800" noProof="0">
                          <a:solidFill>
                            <a:schemeClr val="tx1"/>
                          </a:solidFill>
                        </a:rPr>
                        <a:t>MD</a:t>
                      </a:r>
                      <a:endParaRPr lang="en-US" sz="800" b="0" i="0" noProof="0">
                        <a:solidFill>
                          <a:schemeClr val="tx1"/>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37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125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21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4575117"/>
                  </a:ext>
                </a:extLst>
              </a:tr>
              <a:tr h="213249">
                <a:tc>
                  <a:txBody>
                    <a:bodyPr/>
                    <a:lstStyle/>
                    <a:p>
                      <a:r>
                        <a:rPr lang="en-US" sz="800" noProof="0">
                          <a:solidFill>
                            <a:schemeClr val="bg1">
                              <a:lumMod val="75000"/>
                            </a:schemeClr>
                          </a:solidFill>
                        </a:rPr>
                        <a:t>MD</a:t>
                      </a:r>
                      <a:r>
                        <a:rPr lang="en-US" sz="800" baseline="30000" noProof="0">
                          <a:solidFill>
                            <a:schemeClr val="bg1">
                              <a:lumMod val="75000"/>
                            </a:schemeClr>
                          </a:solidFill>
                        </a:rPr>
                        <a:t>1</a:t>
                      </a:r>
                      <a:endParaRPr lang="en-US" sz="800" b="0" i="0" baseline="30000" noProof="0">
                        <a:solidFill>
                          <a:schemeClr val="bg1">
                            <a:lumMod val="75000"/>
                          </a:schemeClr>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bg1">
                              <a:lumMod val="75000"/>
                            </a:schemeClr>
                          </a:solidFill>
                        </a:rPr>
                        <a:t>380</a:t>
                      </a:r>
                      <a:endParaRPr lang="en-US" sz="800" b="0" i="0" noProof="0">
                        <a:solidFill>
                          <a:schemeClr val="bg1">
                            <a:lumMod val="75000"/>
                          </a:schemeClr>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bg1">
                              <a:lumMod val="75000"/>
                            </a:schemeClr>
                          </a:solidFill>
                        </a:rPr>
                        <a:t>1150</a:t>
                      </a:r>
                      <a:endParaRPr lang="en-US" sz="800" b="0" i="0" noProof="0">
                        <a:solidFill>
                          <a:schemeClr val="bg1">
                            <a:lumMod val="75000"/>
                          </a:schemeClr>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bg1">
                              <a:lumMod val="75000"/>
                            </a:schemeClr>
                          </a:solidFill>
                          <a:latin typeface="Aptos" panose="020B0004020202020204" pitchFamily="34" charset="0"/>
                          <a:cs typeface="Arial" panose="020B0604020202020204" pitchFamily="34" charset="0"/>
                        </a:rPr>
                        <a:t>1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bg1">
                              <a:lumMod val="75000"/>
                            </a:schemeClr>
                          </a:solidFill>
                          <a:latin typeface="Aptos" panose="020B0004020202020204" pitchFamily="34" charset="0"/>
                          <a:cs typeface="Arial" panose="020B0604020202020204" pitchFamily="34" charset="0"/>
                        </a:rPr>
                        <a:t>2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bg1">
                            <a:lumMod val="75000"/>
                          </a:schemeClr>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9857912"/>
                  </a:ext>
                </a:extLst>
              </a:tr>
              <a:tr h="213249">
                <a:tc>
                  <a:txBody>
                    <a:bodyPr/>
                    <a:lstStyle/>
                    <a:p>
                      <a:r>
                        <a:rPr lang="en-US" sz="800" noProof="0">
                          <a:solidFill>
                            <a:schemeClr val="tx1"/>
                          </a:solidFill>
                        </a:rPr>
                        <a:t>MD</a:t>
                      </a:r>
                      <a:endParaRPr lang="en-US" sz="800" b="0" i="0" noProof="0">
                        <a:solidFill>
                          <a:schemeClr val="tx1"/>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38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125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tx1"/>
                          </a:solidFill>
                          <a:latin typeface="Aptos" panose="020B0004020202020204" pitchFamily="34" charset="0"/>
                          <a:cs typeface="Arial" panose="020B0604020202020204" pitchFamily="34" charset="0"/>
                        </a:rPr>
                        <a:t>21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745929"/>
                  </a:ext>
                </a:extLst>
              </a:tr>
              <a:tr h="213249">
                <a:tc>
                  <a:txBody>
                    <a:bodyPr/>
                    <a:lstStyle/>
                    <a:p>
                      <a:r>
                        <a:rPr lang="en-US" sz="800" noProof="0">
                          <a:solidFill>
                            <a:schemeClr val="bg1">
                              <a:lumMod val="75000"/>
                            </a:schemeClr>
                          </a:solidFill>
                        </a:rPr>
                        <a:t>MD</a:t>
                      </a:r>
                      <a:r>
                        <a:rPr lang="en-US" sz="800" baseline="30000" noProof="0">
                          <a:solidFill>
                            <a:schemeClr val="bg1">
                              <a:lumMod val="75000"/>
                            </a:schemeClr>
                          </a:solidFill>
                        </a:rPr>
                        <a:t>1</a:t>
                      </a:r>
                      <a:endParaRPr lang="en-US" sz="800" b="0" i="0" baseline="30000" noProof="0">
                        <a:solidFill>
                          <a:schemeClr val="bg1">
                            <a:lumMod val="75000"/>
                          </a:schemeClr>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bg1">
                              <a:lumMod val="75000"/>
                            </a:schemeClr>
                          </a:solidFill>
                        </a:rPr>
                        <a:t>400</a:t>
                      </a:r>
                      <a:endParaRPr lang="en-US" sz="800" b="0" i="0" noProof="0">
                        <a:solidFill>
                          <a:schemeClr val="bg1">
                            <a:lumMod val="75000"/>
                          </a:schemeClr>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bg1">
                              <a:lumMod val="75000"/>
                            </a:schemeClr>
                          </a:solidFill>
                        </a:rPr>
                        <a:t>1250</a:t>
                      </a:r>
                      <a:endParaRPr lang="en-US" sz="800" b="0" i="0" noProof="0">
                        <a:solidFill>
                          <a:schemeClr val="bg1">
                            <a:lumMod val="75000"/>
                          </a:schemeClr>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bg1">
                              <a:lumMod val="75000"/>
                            </a:schemeClr>
                          </a:solidFill>
                          <a:latin typeface="Aptos" panose="020B0004020202020204" pitchFamily="34" charset="0"/>
                          <a:cs typeface="Arial" panose="020B0604020202020204" pitchFamily="34" charset="0"/>
                        </a:rPr>
                        <a:t>1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bg1">
                              <a:lumMod val="75000"/>
                            </a:schemeClr>
                          </a:solidFill>
                          <a:latin typeface="Aptos" panose="020B0004020202020204" pitchFamily="34" charset="0"/>
                          <a:cs typeface="Arial" panose="020B0604020202020204" pitchFamily="34" charset="0"/>
                        </a:rPr>
                        <a:t>2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5571928"/>
                  </a:ext>
                </a:extLst>
              </a:tr>
              <a:tr h="213249">
                <a:tc>
                  <a:txBody>
                    <a:bodyPr/>
                    <a:lstStyle/>
                    <a:p>
                      <a:r>
                        <a:rPr lang="en-US" sz="800" b="0" i="0" noProof="0">
                          <a:solidFill>
                            <a:schemeClr val="bg1">
                              <a:lumMod val="75000"/>
                            </a:schemeClr>
                          </a:solidFill>
                          <a:latin typeface="Aptos" panose="020B0004020202020204" pitchFamily="34" charset="0"/>
                          <a:cs typeface="Arial" panose="020B0604020202020204" pitchFamily="34" charset="0"/>
                        </a:rPr>
                        <a:t>MD</a:t>
                      </a:r>
                      <a:r>
                        <a:rPr lang="en-US" sz="800" b="0" i="0" baseline="30000" noProof="0">
                          <a:solidFill>
                            <a:schemeClr val="bg1">
                              <a:lumMod val="75000"/>
                            </a:schemeClr>
                          </a:solidFill>
                          <a:latin typeface="Aptos" panose="020B0004020202020204" pitchFamily="34" charset="0"/>
                          <a:cs typeface="Arial" panose="020B0604020202020204" pitchFamily="34" charset="0"/>
                        </a:rPr>
                        <a:t>1</a:t>
                      </a: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bg1">
                              <a:lumMod val="75000"/>
                            </a:schemeClr>
                          </a:solidFill>
                        </a:rPr>
                        <a:t>450</a:t>
                      </a:r>
                      <a:endParaRPr lang="en-US" sz="800" b="0" i="0" noProof="0">
                        <a:solidFill>
                          <a:schemeClr val="bg1">
                            <a:lumMod val="75000"/>
                          </a:schemeClr>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bg1">
                              <a:lumMod val="75000"/>
                            </a:schemeClr>
                          </a:solidFill>
                        </a:rPr>
                        <a:t>1250</a:t>
                      </a:r>
                      <a:endParaRPr lang="en-US" sz="800" b="0" i="0" noProof="0">
                        <a:solidFill>
                          <a:schemeClr val="bg1">
                            <a:lumMod val="75000"/>
                          </a:schemeClr>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bg1">
                              <a:lumMod val="75000"/>
                            </a:schemeClr>
                          </a:solidFill>
                          <a:latin typeface="Aptos" panose="020B0004020202020204" pitchFamily="34" charset="0"/>
                          <a:cs typeface="Arial" panose="020B0604020202020204" pitchFamily="34" charset="0"/>
                        </a:rPr>
                        <a:t>1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bg1">
                              <a:lumMod val="75000"/>
                            </a:schemeClr>
                          </a:solidFill>
                          <a:latin typeface="Aptos" panose="020B0004020202020204" pitchFamily="34" charset="0"/>
                          <a:cs typeface="Arial" panose="020B0604020202020204" pitchFamily="34" charset="0"/>
                        </a:rPr>
                        <a:t>22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07957862"/>
                  </a:ext>
                </a:extLst>
              </a:tr>
              <a:tr h="213249">
                <a:tc>
                  <a:txBody>
                    <a:bodyPr/>
                    <a:lstStyle/>
                    <a:p>
                      <a:r>
                        <a:rPr lang="en-US" sz="800" noProof="0">
                          <a:solidFill>
                            <a:schemeClr val="bg1">
                              <a:lumMod val="75000"/>
                            </a:schemeClr>
                          </a:solidFill>
                        </a:rPr>
                        <a:t>HD</a:t>
                      </a:r>
                      <a:r>
                        <a:rPr lang="en-US" sz="800" baseline="30000" noProof="0">
                          <a:solidFill>
                            <a:schemeClr val="bg1">
                              <a:lumMod val="75000"/>
                            </a:schemeClr>
                          </a:solidFill>
                        </a:rPr>
                        <a:t>1</a:t>
                      </a:r>
                      <a:endParaRPr lang="en-US" sz="800" b="0" i="0" baseline="30000" noProof="0">
                        <a:solidFill>
                          <a:schemeClr val="bg1">
                            <a:lumMod val="75000"/>
                          </a:schemeClr>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bg1">
                              <a:lumMod val="75000"/>
                            </a:schemeClr>
                          </a:solidFill>
                        </a:rPr>
                        <a:t>350</a:t>
                      </a:r>
                      <a:endParaRPr lang="en-US" sz="800" b="0" i="0" noProof="0">
                        <a:solidFill>
                          <a:schemeClr val="bg1">
                            <a:lumMod val="75000"/>
                          </a:schemeClr>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bg1">
                              <a:lumMod val="75000"/>
                            </a:schemeClr>
                          </a:solidFill>
                        </a:rPr>
                        <a:t>1150</a:t>
                      </a:r>
                      <a:endParaRPr lang="en-US" sz="800" b="0" i="0" noProof="0">
                        <a:solidFill>
                          <a:schemeClr val="bg1">
                            <a:lumMod val="75000"/>
                          </a:schemeClr>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bg1">
                              <a:lumMod val="75000"/>
                            </a:schemeClr>
                          </a:solidFill>
                          <a:latin typeface="Aptos" panose="020B0004020202020204" pitchFamily="34" charset="0"/>
                          <a:cs typeface="Arial" panose="020B0604020202020204" pitchFamily="34" charset="0"/>
                        </a:rPr>
                        <a:t>10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bg1">
                              <a:lumMod val="75000"/>
                            </a:schemeClr>
                          </a:solidFill>
                          <a:latin typeface="Aptos" panose="020B0004020202020204" pitchFamily="34" charset="0"/>
                          <a:cs typeface="Arial" panose="020B0604020202020204" pitchFamily="34" charset="0"/>
                        </a:rPr>
                        <a:t>19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3906645"/>
                  </a:ext>
                </a:extLst>
              </a:tr>
              <a:tr h="213249">
                <a:tc>
                  <a:txBody>
                    <a:bodyPr/>
                    <a:lstStyle/>
                    <a:p>
                      <a:r>
                        <a:rPr lang="en-US" sz="800" noProof="0">
                          <a:solidFill>
                            <a:schemeClr val="tx1"/>
                          </a:solidFill>
                        </a:rPr>
                        <a:t>HD</a:t>
                      </a:r>
                      <a:endParaRPr lang="en-US" sz="800" b="0" i="0" noProof="0">
                        <a:solidFill>
                          <a:schemeClr val="tx1"/>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35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noProof="0">
                          <a:solidFill>
                            <a:schemeClr val="tx1"/>
                          </a:solidFill>
                        </a:rPr>
                        <a:t>135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0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tx1"/>
                          </a:solidFill>
                          <a:latin typeface="Aptos" panose="020B0004020202020204" pitchFamily="34" charset="0"/>
                          <a:cs typeface="Arial" panose="020B0604020202020204" pitchFamily="34" charset="0"/>
                        </a:rPr>
                        <a:t>19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6501029"/>
                  </a:ext>
                </a:extLst>
              </a:tr>
              <a:tr h="213249">
                <a:tc>
                  <a:txBody>
                    <a:bodyPr/>
                    <a:lstStyle/>
                    <a:p>
                      <a:r>
                        <a:rPr lang="en-US" sz="800" b="0" noProof="0">
                          <a:solidFill>
                            <a:schemeClr val="tx1"/>
                          </a:solidFill>
                        </a:rPr>
                        <a:t>HD</a:t>
                      </a:r>
                      <a:endParaRPr lang="en-US" sz="800" b="0" i="0" noProof="0">
                        <a:solidFill>
                          <a:schemeClr val="tx1"/>
                        </a:solidFill>
                        <a:latin typeface="Aptos" panose="020B0004020202020204" pitchFamily="34" charset="0"/>
                        <a:cs typeface="Arial" panose="020B0604020202020204" pitchFamily="34" charset="0"/>
                      </a:endParaRP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noProof="0">
                          <a:solidFill>
                            <a:schemeClr val="tx1"/>
                          </a:solidFill>
                        </a:rPr>
                        <a:t>37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noProof="0">
                          <a:solidFill>
                            <a:schemeClr val="tx1"/>
                          </a:solidFill>
                        </a:rPr>
                        <a:t>125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0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tx1"/>
                          </a:solidFill>
                          <a:latin typeface="Aptos" panose="020B0004020202020204" pitchFamily="34" charset="0"/>
                          <a:cs typeface="Arial" panose="020B0604020202020204" pitchFamily="34" charset="0"/>
                        </a:rPr>
                        <a:t>19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6293649"/>
                  </a:ext>
                </a:extLst>
              </a:tr>
              <a:tr h="213249">
                <a:tc>
                  <a:txBody>
                    <a:bodyPr/>
                    <a:lstStyle/>
                    <a:p>
                      <a:r>
                        <a:rPr lang="en-US" sz="800" b="0" i="0" noProof="0">
                          <a:solidFill>
                            <a:schemeClr val="tx1"/>
                          </a:solidFill>
                          <a:latin typeface="Aptos" panose="020B0004020202020204" pitchFamily="34" charset="0"/>
                          <a:cs typeface="Arial" panose="020B0604020202020204" pitchFamily="34" charset="0"/>
                        </a:rPr>
                        <a:t>HD</a:t>
                      </a: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noProof="0">
                          <a:solidFill>
                            <a:schemeClr val="tx1"/>
                          </a:solidFill>
                        </a:rPr>
                        <a:t>38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noProof="0">
                          <a:solidFill>
                            <a:schemeClr val="tx1"/>
                          </a:solidFill>
                        </a:rPr>
                        <a:t>1450</a:t>
                      </a: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0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tx1"/>
                          </a:solidFill>
                          <a:latin typeface="Aptos" panose="020B0004020202020204" pitchFamily="34" charset="0"/>
                          <a:cs typeface="Arial" panose="020B0604020202020204" pitchFamily="34" charset="0"/>
                        </a:rPr>
                        <a:t>19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46139457"/>
                  </a:ext>
                </a:extLst>
              </a:tr>
              <a:tr h="213249">
                <a:tc>
                  <a:txBody>
                    <a:bodyPr/>
                    <a:lstStyle/>
                    <a:p>
                      <a:r>
                        <a:rPr lang="en-US" sz="800" b="0" i="0" noProof="0">
                          <a:solidFill>
                            <a:schemeClr val="tx1"/>
                          </a:solidFill>
                          <a:latin typeface="Aptos" panose="020B0004020202020204" pitchFamily="34" charset="0"/>
                          <a:cs typeface="Arial" panose="020B0604020202020204" pitchFamily="34" charset="0"/>
                        </a:rPr>
                        <a:t>HD</a:t>
                      </a:r>
                      <a:r>
                        <a:rPr lang="en-US" sz="800" b="0" i="0" baseline="30000" noProof="0">
                          <a:solidFill>
                            <a:schemeClr val="tx1"/>
                          </a:solidFill>
                          <a:latin typeface="Aptos" panose="020B0004020202020204" pitchFamily="34" charset="0"/>
                          <a:cs typeface="Arial" panose="020B0604020202020204" pitchFamily="34" charset="0"/>
                        </a:rPr>
                        <a:t>2</a:t>
                      </a: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400</a:t>
                      </a: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65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0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tx1"/>
                          </a:solidFill>
                          <a:latin typeface="Aptos" panose="020B0004020202020204" pitchFamily="34" charset="0"/>
                          <a:cs typeface="Arial" panose="020B0604020202020204" pitchFamily="34" charset="0"/>
                        </a:rPr>
                        <a:t>19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0901502"/>
                  </a:ext>
                </a:extLst>
              </a:tr>
              <a:tr h="213249">
                <a:tc>
                  <a:txBody>
                    <a:bodyPr/>
                    <a:lstStyle/>
                    <a:p>
                      <a:r>
                        <a:rPr lang="en-US" sz="800" b="0" i="0" noProof="0">
                          <a:solidFill>
                            <a:schemeClr val="tx1"/>
                          </a:solidFill>
                          <a:latin typeface="Aptos" panose="020B0004020202020204" pitchFamily="34" charset="0"/>
                          <a:cs typeface="Arial" panose="020B0604020202020204" pitchFamily="34" charset="0"/>
                        </a:rPr>
                        <a:t>HD</a:t>
                      </a: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410</a:t>
                      </a: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45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0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tx1"/>
                          </a:solidFill>
                          <a:latin typeface="Aptos" panose="020B0004020202020204" pitchFamily="34" charset="0"/>
                          <a:cs typeface="Arial" panose="020B0604020202020204" pitchFamily="34" charset="0"/>
                        </a:rPr>
                        <a:t>19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820696"/>
                  </a:ext>
                </a:extLst>
              </a:tr>
              <a:tr h="213249">
                <a:tc>
                  <a:txBody>
                    <a:bodyPr/>
                    <a:lstStyle/>
                    <a:p>
                      <a:r>
                        <a:rPr lang="en-US" sz="800" b="0" i="0" noProof="0">
                          <a:solidFill>
                            <a:schemeClr val="tx1"/>
                          </a:solidFill>
                          <a:latin typeface="Aptos" panose="020B0004020202020204" pitchFamily="34" charset="0"/>
                          <a:cs typeface="Arial" panose="020B0604020202020204" pitchFamily="34" charset="0"/>
                        </a:rPr>
                        <a:t>HD</a:t>
                      </a: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450</a:t>
                      </a: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45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0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tx1"/>
                          </a:solidFill>
                          <a:latin typeface="Aptos" panose="020B0004020202020204" pitchFamily="34" charset="0"/>
                          <a:cs typeface="Arial" panose="020B0604020202020204" pitchFamily="34" charset="0"/>
                        </a:rPr>
                        <a:t>19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7830360"/>
                  </a:ext>
                </a:extLst>
              </a:tr>
              <a:tr h="213249">
                <a:tc>
                  <a:txBody>
                    <a:bodyPr/>
                    <a:lstStyle/>
                    <a:p>
                      <a:r>
                        <a:rPr lang="en-US" sz="800" b="0" i="0" noProof="0">
                          <a:solidFill>
                            <a:schemeClr val="tx1"/>
                          </a:solidFill>
                          <a:latin typeface="Aptos" panose="020B0004020202020204" pitchFamily="34" charset="0"/>
                          <a:cs typeface="Arial" panose="020B0604020202020204" pitchFamily="34" charset="0"/>
                        </a:rPr>
                        <a:t>HD</a:t>
                      </a:r>
                      <a:r>
                        <a:rPr lang="en-US" sz="800" b="0" i="0" baseline="30000" noProof="0">
                          <a:solidFill>
                            <a:schemeClr val="tx1"/>
                          </a:solidFill>
                          <a:latin typeface="Aptos" panose="020B0004020202020204" pitchFamily="34" charset="0"/>
                          <a:cs typeface="Arial" panose="020B0604020202020204" pitchFamily="34" charset="0"/>
                        </a:rPr>
                        <a:t>2</a:t>
                      </a:r>
                    </a:p>
                  </a:txBody>
                  <a:tcPr anchor="ctr">
                    <a:lnL w="12700" cap="flat" cmpd="sng" algn="ctr">
                      <a:noFill/>
                      <a:prstDash val="solid"/>
                      <a:miter lim="800000"/>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450</a:t>
                      </a:r>
                    </a:p>
                  </a:txBody>
                  <a:tcPr anchor="ctr">
                    <a:lnL>
                      <a:noFill/>
                    </a:lnL>
                    <a:lnR>
                      <a:noFill/>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65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0" i="0" noProof="0">
                          <a:solidFill>
                            <a:schemeClr val="tx1"/>
                          </a:solidFill>
                          <a:latin typeface="Aptos" panose="020B0004020202020204" pitchFamily="34" charset="0"/>
                          <a:cs typeface="Arial" panose="020B0604020202020204" pitchFamily="34" charset="0"/>
                        </a:rPr>
                        <a:t>10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noProof="0">
                          <a:solidFill>
                            <a:schemeClr val="tx1"/>
                          </a:solidFill>
                          <a:latin typeface="Aptos" panose="020B0004020202020204" pitchFamily="34" charset="0"/>
                          <a:cs typeface="Arial" panose="020B0604020202020204" pitchFamily="34" charset="0"/>
                        </a:rPr>
                        <a:t>1900</a:t>
                      </a: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highlight>
                          <a:srgbClr val="FFFF00"/>
                        </a:highlight>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noProof="0" dirty="0">
                        <a:solidFill>
                          <a:schemeClr val="tx1"/>
                        </a:solidFill>
                        <a:latin typeface="Aptos" panose="020B0004020202020204" pitchFamily="34" charset="0"/>
                        <a:cs typeface="Arial" panose="020B0604020202020204" pitchFamily="34" charset="0"/>
                      </a:endParaRPr>
                    </a:p>
                  </a:txBody>
                  <a:tcPr anchor="ctr">
                    <a:lnL>
                      <a:noFill/>
                    </a:lnL>
                    <a:lnR w="12700" cap="flat" cmpd="sng" algn="ctr">
                      <a:noFill/>
                      <a:prstDash val="solid"/>
                      <a:miter lim="800000"/>
                    </a:lnR>
                    <a:lnT w="9525" cap="flat" cmpd="sng" algn="ctr">
                      <a:solidFill>
                        <a:srgbClr val="A9A8A6"/>
                      </a:solidFill>
                      <a:prstDash val="solid"/>
                      <a:round/>
                      <a:headEnd type="none" w="med" len="med"/>
                      <a:tailEnd type="none" w="med" len="med"/>
                    </a:lnT>
                    <a:lnB w="9525" cap="flat" cmpd="sng" algn="ctr">
                      <a:solidFill>
                        <a:srgbClr val="A9A8A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115526"/>
                  </a:ext>
                </a:extLst>
              </a:tr>
            </a:tbl>
          </a:graphicData>
        </a:graphic>
      </p:graphicFrame>
      <p:pic>
        <p:nvPicPr>
          <p:cNvPr id="19" name="Graphic 33" descr="Checkmark outline">
            <a:extLst>
              <a:ext uri="{FF2B5EF4-FFF2-40B4-BE49-F238E27FC236}">
                <a16:creationId xmlns:a16="http://schemas.microsoft.com/office/drawing/2014/main" id="{9E187FC9-0716-6184-A8FB-931743F590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3885" y="3985879"/>
            <a:ext cx="248603" cy="248603"/>
          </a:xfrm>
          <a:prstGeom prst="rect">
            <a:avLst/>
          </a:prstGeom>
        </p:spPr>
      </p:pic>
      <p:pic>
        <p:nvPicPr>
          <p:cNvPr id="82" name="Graphic 33" descr="Checkmark outline">
            <a:extLst>
              <a:ext uri="{FF2B5EF4-FFF2-40B4-BE49-F238E27FC236}">
                <a16:creationId xmlns:a16="http://schemas.microsoft.com/office/drawing/2014/main" id="{0E0B5343-C898-DCE3-C60E-60FD579E8B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3885" y="4193697"/>
            <a:ext cx="248603" cy="248603"/>
          </a:xfrm>
          <a:prstGeom prst="rect">
            <a:avLst/>
          </a:prstGeom>
        </p:spPr>
      </p:pic>
      <p:pic>
        <p:nvPicPr>
          <p:cNvPr id="83" name="Graphic 33" descr="Checkmark outline">
            <a:extLst>
              <a:ext uri="{FF2B5EF4-FFF2-40B4-BE49-F238E27FC236}">
                <a16:creationId xmlns:a16="http://schemas.microsoft.com/office/drawing/2014/main" id="{65434B17-4D99-57CD-4B31-609B79E48F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3885" y="4415370"/>
            <a:ext cx="248603" cy="248603"/>
          </a:xfrm>
          <a:prstGeom prst="rect">
            <a:avLst/>
          </a:prstGeom>
        </p:spPr>
      </p:pic>
      <p:pic>
        <p:nvPicPr>
          <p:cNvPr id="84" name="Graphic 33" descr="Checkmark outline">
            <a:extLst>
              <a:ext uri="{FF2B5EF4-FFF2-40B4-BE49-F238E27FC236}">
                <a16:creationId xmlns:a16="http://schemas.microsoft.com/office/drawing/2014/main" id="{17E3DA40-5467-7AAB-12AB-B7E5840435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3885" y="4623188"/>
            <a:ext cx="248603" cy="248603"/>
          </a:xfrm>
          <a:prstGeom prst="rect">
            <a:avLst/>
          </a:prstGeom>
        </p:spPr>
      </p:pic>
      <p:pic>
        <p:nvPicPr>
          <p:cNvPr id="85" name="Graphic 33" descr="Checkmark outline">
            <a:extLst>
              <a:ext uri="{FF2B5EF4-FFF2-40B4-BE49-F238E27FC236}">
                <a16:creationId xmlns:a16="http://schemas.microsoft.com/office/drawing/2014/main" id="{42701DC0-2A01-6690-6564-934C5690AA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3885" y="4845278"/>
            <a:ext cx="248603" cy="248603"/>
          </a:xfrm>
          <a:prstGeom prst="rect">
            <a:avLst/>
          </a:prstGeom>
        </p:spPr>
      </p:pic>
      <p:pic>
        <p:nvPicPr>
          <p:cNvPr id="86" name="Graphic 33" descr="Checkmark outline">
            <a:extLst>
              <a:ext uri="{FF2B5EF4-FFF2-40B4-BE49-F238E27FC236}">
                <a16:creationId xmlns:a16="http://schemas.microsoft.com/office/drawing/2014/main" id="{06758E92-B444-ED57-9517-F13FB9F219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3885" y="5053096"/>
            <a:ext cx="248603" cy="248603"/>
          </a:xfrm>
          <a:prstGeom prst="rect">
            <a:avLst/>
          </a:prstGeom>
        </p:spPr>
      </p:pic>
      <p:pic>
        <p:nvPicPr>
          <p:cNvPr id="87" name="Graphic 33" descr="Checkmark outline">
            <a:extLst>
              <a:ext uri="{FF2B5EF4-FFF2-40B4-BE49-F238E27FC236}">
                <a16:creationId xmlns:a16="http://schemas.microsoft.com/office/drawing/2014/main" id="{CD600A8B-2588-3D84-5256-B8C2B3692D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3885" y="5274769"/>
            <a:ext cx="248603" cy="248603"/>
          </a:xfrm>
          <a:prstGeom prst="rect">
            <a:avLst/>
          </a:prstGeom>
        </p:spPr>
      </p:pic>
      <p:pic>
        <p:nvPicPr>
          <p:cNvPr id="89" name="Graphic 33" descr="Checkmark outline">
            <a:extLst>
              <a:ext uri="{FF2B5EF4-FFF2-40B4-BE49-F238E27FC236}">
                <a16:creationId xmlns:a16="http://schemas.microsoft.com/office/drawing/2014/main" id="{AAFAD644-8A57-D2E0-7B6A-750681A52DF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25727" y="2076414"/>
            <a:ext cx="248603" cy="248603"/>
          </a:xfrm>
          <a:prstGeom prst="rect">
            <a:avLst/>
          </a:prstGeom>
        </p:spPr>
      </p:pic>
      <p:pic>
        <p:nvPicPr>
          <p:cNvPr id="90" name="Graphic 33" descr="Checkmark outline">
            <a:extLst>
              <a:ext uri="{FF2B5EF4-FFF2-40B4-BE49-F238E27FC236}">
                <a16:creationId xmlns:a16="http://schemas.microsoft.com/office/drawing/2014/main" id="{2BD8F1C1-BF0E-1DEF-47D6-4E7C1A8715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25727" y="2298504"/>
            <a:ext cx="248603" cy="248603"/>
          </a:xfrm>
          <a:prstGeom prst="rect">
            <a:avLst/>
          </a:prstGeom>
        </p:spPr>
      </p:pic>
      <p:pic>
        <p:nvPicPr>
          <p:cNvPr id="91" name="Graphic 33" descr="Checkmark outline">
            <a:extLst>
              <a:ext uri="{FF2B5EF4-FFF2-40B4-BE49-F238E27FC236}">
                <a16:creationId xmlns:a16="http://schemas.microsoft.com/office/drawing/2014/main" id="{E3B48C84-F6A8-1C0D-77E4-28F91B50AE0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25727" y="2506322"/>
            <a:ext cx="248603" cy="248603"/>
          </a:xfrm>
          <a:prstGeom prst="rect">
            <a:avLst/>
          </a:prstGeom>
        </p:spPr>
      </p:pic>
      <p:pic>
        <p:nvPicPr>
          <p:cNvPr id="92" name="Graphic 33" descr="Checkmark outline">
            <a:extLst>
              <a:ext uri="{FF2B5EF4-FFF2-40B4-BE49-F238E27FC236}">
                <a16:creationId xmlns:a16="http://schemas.microsoft.com/office/drawing/2014/main" id="{129F31D3-9FE0-E4B1-AE03-0BCEDC22FA4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25727" y="2727995"/>
            <a:ext cx="248603" cy="248603"/>
          </a:xfrm>
          <a:prstGeom prst="rect">
            <a:avLst/>
          </a:prstGeom>
        </p:spPr>
      </p:pic>
      <p:pic>
        <p:nvPicPr>
          <p:cNvPr id="93" name="Graphic 33" descr="Checkmark outline">
            <a:extLst>
              <a:ext uri="{FF2B5EF4-FFF2-40B4-BE49-F238E27FC236}">
                <a16:creationId xmlns:a16="http://schemas.microsoft.com/office/drawing/2014/main" id="{C359FBBF-E110-6642-22B5-EAE0AC9E4B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25727" y="3122850"/>
            <a:ext cx="248603" cy="248603"/>
          </a:xfrm>
          <a:prstGeom prst="rect">
            <a:avLst/>
          </a:prstGeom>
        </p:spPr>
      </p:pic>
      <p:pic>
        <p:nvPicPr>
          <p:cNvPr id="94" name="Graphic 33" descr="Checkmark outline">
            <a:extLst>
              <a:ext uri="{FF2B5EF4-FFF2-40B4-BE49-F238E27FC236}">
                <a16:creationId xmlns:a16="http://schemas.microsoft.com/office/drawing/2014/main" id="{9EB19CB0-0AE7-65FF-8035-880CBE83D7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36146" y="2076414"/>
            <a:ext cx="248603" cy="248603"/>
          </a:xfrm>
          <a:prstGeom prst="rect">
            <a:avLst/>
          </a:prstGeom>
        </p:spPr>
      </p:pic>
      <p:pic>
        <p:nvPicPr>
          <p:cNvPr id="95" name="Graphic 33" descr="Checkmark outline">
            <a:extLst>
              <a:ext uri="{FF2B5EF4-FFF2-40B4-BE49-F238E27FC236}">
                <a16:creationId xmlns:a16="http://schemas.microsoft.com/office/drawing/2014/main" id="{145969D8-A563-4245-41B1-D1D3F4B56D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36146" y="2298504"/>
            <a:ext cx="248603" cy="248603"/>
          </a:xfrm>
          <a:prstGeom prst="rect">
            <a:avLst/>
          </a:prstGeom>
        </p:spPr>
      </p:pic>
      <p:pic>
        <p:nvPicPr>
          <p:cNvPr id="96" name="Graphic 33" descr="Checkmark outline">
            <a:extLst>
              <a:ext uri="{FF2B5EF4-FFF2-40B4-BE49-F238E27FC236}">
                <a16:creationId xmlns:a16="http://schemas.microsoft.com/office/drawing/2014/main" id="{B0BABA3D-1E72-E414-F6F3-87D1FA0C0D8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36146" y="2506322"/>
            <a:ext cx="248603" cy="248603"/>
          </a:xfrm>
          <a:prstGeom prst="rect">
            <a:avLst/>
          </a:prstGeom>
        </p:spPr>
      </p:pic>
      <p:pic>
        <p:nvPicPr>
          <p:cNvPr id="97" name="Graphic 33" descr="Checkmark outline">
            <a:extLst>
              <a:ext uri="{FF2B5EF4-FFF2-40B4-BE49-F238E27FC236}">
                <a16:creationId xmlns:a16="http://schemas.microsoft.com/office/drawing/2014/main" id="{310D99C8-CA5A-7536-5CEA-99403995E5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36146" y="2727995"/>
            <a:ext cx="248603" cy="248603"/>
          </a:xfrm>
          <a:prstGeom prst="rect">
            <a:avLst/>
          </a:prstGeom>
        </p:spPr>
      </p:pic>
      <p:pic>
        <p:nvPicPr>
          <p:cNvPr id="98" name="Graphic 33" descr="Checkmark outline">
            <a:extLst>
              <a:ext uri="{FF2B5EF4-FFF2-40B4-BE49-F238E27FC236}">
                <a16:creationId xmlns:a16="http://schemas.microsoft.com/office/drawing/2014/main" id="{A233E224-CF34-94F9-2366-0CDE401877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36146" y="3122850"/>
            <a:ext cx="248603" cy="248603"/>
          </a:xfrm>
          <a:prstGeom prst="rect">
            <a:avLst/>
          </a:prstGeom>
        </p:spPr>
      </p:pic>
      <p:pic>
        <p:nvPicPr>
          <p:cNvPr id="99" name="Graphic 33" descr="Checkmark outline">
            <a:extLst>
              <a:ext uri="{FF2B5EF4-FFF2-40B4-BE49-F238E27FC236}">
                <a16:creationId xmlns:a16="http://schemas.microsoft.com/office/drawing/2014/main" id="{5ABAE295-8B24-FE99-CF9D-53397E3BC9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42467" y="3985879"/>
            <a:ext cx="248603" cy="248603"/>
          </a:xfrm>
          <a:prstGeom prst="rect">
            <a:avLst/>
          </a:prstGeom>
        </p:spPr>
      </p:pic>
      <p:pic>
        <p:nvPicPr>
          <p:cNvPr id="100" name="Graphic 33" descr="Checkmark outline">
            <a:extLst>
              <a:ext uri="{FF2B5EF4-FFF2-40B4-BE49-F238E27FC236}">
                <a16:creationId xmlns:a16="http://schemas.microsoft.com/office/drawing/2014/main" id="{7847EA7D-2578-B44D-4D4F-47FB7CCAF63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42467" y="4193697"/>
            <a:ext cx="248603" cy="248603"/>
          </a:xfrm>
          <a:prstGeom prst="rect">
            <a:avLst/>
          </a:prstGeom>
        </p:spPr>
      </p:pic>
      <p:pic>
        <p:nvPicPr>
          <p:cNvPr id="101" name="Graphic 33" descr="Checkmark outline">
            <a:extLst>
              <a:ext uri="{FF2B5EF4-FFF2-40B4-BE49-F238E27FC236}">
                <a16:creationId xmlns:a16="http://schemas.microsoft.com/office/drawing/2014/main" id="{04BD80AB-2CB5-BE84-DDD6-5889EE7D95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42467" y="4415370"/>
            <a:ext cx="248603" cy="248603"/>
          </a:xfrm>
          <a:prstGeom prst="rect">
            <a:avLst/>
          </a:prstGeom>
        </p:spPr>
      </p:pic>
      <p:pic>
        <p:nvPicPr>
          <p:cNvPr id="102" name="Graphic 33" descr="Checkmark outline">
            <a:extLst>
              <a:ext uri="{FF2B5EF4-FFF2-40B4-BE49-F238E27FC236}">
                <a16:creationId xmlns:a16="http://schemas.microsoft.com/office/drawing/2014/main" id="{05A92E64-25E2-259D-5C66-BA95C91DFA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6582" y="2076414"/>
            <a:ext cx="248603" cy="248603"/>
          </a:xfrm>
          <a:prstGeom prst="rect">
            <a:avLst/>
          </a:prstGeom>
        </p:spPr>
      </p:pic>
      <p:pic>
        <p:nvPicPr>
          <p:cNvPr id="103" name="Graphic 33" descr="Checkmark outline">
            <a:extLst>
              <a:ext uri="{FF2B5EF4-FFF2-40B4-BE49-F238E27FC236}">
                <a16:creationId xmlns:a16="http://schemas.microsoft.com/office/drawing/2014/main" id="{7E7C9870-BCDF-48F6-6E9A-7299E08799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6582" y="2298504"/>
            <a:ext cx="248603" cy="248603"/>
          </a:xfrm>
          <a:prstGeom prst="rect">
            <a:avLst/>
          </a:prstGeom>
        </p:spPr>
      </p:pic>
      <p:pic>
        <p:nvPicPr>
          <p:cNvPr id="104" name="Graphic 33" descr="Checkmark outline">
            <a:extLst>
              <a:ext uri="{FF2B5EF4-FFF2-40B4-BE49-F238E27FC236}">
                <a16:creationId xmlns:a16="http://schemas.microsoft.com/office/drawing/2014/main" id="{94906541-9746-A5AF-5E80-E1B215135F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6582" y="2506322"/>
            <a:ext cx="248603" cy="248603"/>
          </a:xfrm>
          <a:prstGeom prst="rect">
            <a:avLst/>
          </a:prstGeom>
        </p:spPr>
      </p:pic>
      <p:pic>
        <p:nvPicPr>
          <p:cNvPr id="105" name="Graphic 33" descr="Checkmark outline">
            <a:extLst>
              <a:ext uri="{FF2B5EF4-FFF2-40B4-BE49-F238E27FC236}">
                <a16:creationId xmlns:a16="http://schemas.microsoft.com/office/drawing/2014/main" id="{66CAEB90-0B93-0C99-9D50-147D7B5922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6582" y="2727995"/>
            <a:ext cx="248603" cy="248603"/>
          </a:xfrm>
          <a:prstGeom prst="rect">
            <a:avLst/>
          </a:prstGeom>
        </p:spPr>
      </p:pic>
      <p:pic>
        <p:nvPicPr>
          <p:cNvPr id="106" name="Graphic 33" descr="Checkmark outline">
            <a:extLst>
              <a:ext uri="{FF2B5EF4-FFF2-40B4-BE49-F238E27FC236}">
                <a16:creationId xmlns:a16="http://schemas.microsoft.com/office/drawing/2014/main" id="{A16D7C87-98F8-FD71-E017-63DADB07BE9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6582" y="3122850"/>
            <a:ext cx="248603" cy="248603"/>
          </a:xfrm>
          <a:prstGeom prst="rect">
            <a:avLst/>
          </a:prstGeom>
        </p:spPr>
      </p:pic>
      <p:pic>
        <p:nvPicPr>
          <p:cNvPr id="107" name="Graphic 33" descr="Checkmark outline">
            <a:extLst>
              <a:ext uri="{FF2B5EF4-FFF2-40B4-BE49-F238E27FC236}">
                <a16:creationId xmlns:a16="http://schemas.microsoft.com/office/drawing/2014/main" id="{B0FD624C-B39A-8CDE-2672-E21C350650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2903" y="3985879"/>
            <a:ext cx="248603" cy="248603"/>
          </a:xfrm>
          <a:prstGeom prst="rect">
            <a:avLst/>
          </a:prstGeom>
        </p:spPr>
      </p:pic>
      <p:pic>
        <p:nvPicPr>
          <p:cNvPr id="108" name="Graphic 33" descr="Checkmark outline">
            <a:extLst>
              <a:ext uri="{FF2B5EF4-FFF2-40B4-BE49-F238E27FC236}">
                <a16:creationId xmlns:a16="http://schemas.microsoft.com/office/drawing/2014/main" id="{F89472A5-301B-7EE3-79F8-7A0AEEA9AD6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2903" y="4193697"/>
            <a:ext cx="248603" cy="248603"/>
          </a:xfrm>
          <a:prstGeom prst="rect">
            <a:avLst/>
          </a:prstGeom>
        </p:spPr>
      </p:pic>
      <p:pic>
        <p:nvPicPr>
          <p:cNvPr id="109" name="Graphic 33" descr="Checkmark outline">
            <a:extLst>
              <a:ext uri="{FF2B5EF4-FFF2-40B4-BE49-F238E27FC236}">
                <a16:creationId xmlns:a16="http://schemas.microsoft.com/office/drawing/2014/main" id="{EBCE47B1-A2EF-721F-5484-09D9F46A9A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2903" y="4415370"/>
            <a:ext cx="248603" cy="248603"/>
          </a:xfrm>
          <a:prstGeom prst="rect">
            <a:avLst/>
          </a:prstGeom>
        </p:spPr>
      </p:pic>
      <p:pic>
        <p:nvPicPr>
          <p:cNvPr id="110" name="Graphic 33" descr="Checkmark outline">
            <a:extLst>
              <a:ext uri="{FF2B5EF4-FFF2-40B4-BE49-F238E27FC236}">
                <a16:creationId xmlns:a16="http://schemas.microsoft.com/office/drawing/2014/main" id="{AE503FC8-624F-9141-E8D9-CCC8B08625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2903" y="4623188"/>
            <a:ext cx="248603" cy="248603"/>
          </a:xfrm>
          <a:prstGeom prst="rect">
            <a:avLst/>
          </a:prstGeom>
        </p:spPr>
      </p:pic>
      <p:pic>
        <p:nvPicPr>
          <p:cNvPr id="111" name="Graphic 33" descr="Checkmark outline">
            <a:extLst>
              <a:ext uri="{FF2B5EF4-FFF2-40B4-BE49-F238E27FC236}">
                <a16:creationId xmlns:a16="http://schemas.microsoft.com/office/drawing/2014/main" id="{C20DC534-EF64-5888-A42C-99895253DA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2903" y="4845278"/>
            <a:ext cx="248603" cy="248603"/>
          </a:xfrm>
          <a:prstGeom prst="rect">
            <a:avLst/>
          </a:prstGeom>
        </p:spPr>
      </p:pic>
      <p:pic>
        <p:nvPicPr>
          <p:cNvPr id="112" name="Graphic 33" descr="Checkmark outline">
            <a:extLst>
              <a:ext uri="{FF2B5EF4-FFF2-40B4-BE49-F238E27FC236}">
                <a16:creationId xmlns:a16="http://schemas.microsoft.com/office/drawing/2014/main" id="{E0A87244-05E6-87D2-B715-C600B1B2ACE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2903" y="5053096"/>
            <a:ext cx="248603" cy="248603"/>
          </a:xfrm>
          <a:prstGeom prst="rect">
            <a:avLst/>
          </a:prstGeom>
        </p:spPr>
      </p:pic>
      <p:pic>
        <p:nvPicPr>
          <p:cNvPr id="113" name="Graphic 33" descr="Checkmark outline">
            <a:extLst>
              <a:ext uri="{FF2B5EF4-FFF2-40B4-BE49-F238E27FC236}">
                <a16:creationId xmlns:a16="http://schemas.microsoft.com/office/drawing/2014/main" id="{C3B14F8F-024F-FA82-9C8C-55CE4FFC73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2903" y="5274769"/>
            <a:ext cx="248603" cy="248603"/>
          </a:xfrm>
          <a:prstGeom prst="rect">
            <a:avLst/>
          </a:prstGeom>
        </p:spPr>
      </p:pic>
      <p:pic>
        <p:nvPicPr>
          <p:cNvPr id="114" name="Graphic 33" descr="Checkmark outline">
            <a:extLst>
              <a:ext uri="{FF2B5EF4-FFF2-40B4-BE49-F238E27FC236}">
                <a16:creationId xmlns:a16="http://schemas.microsoft.com/office/drawing/2014/main" id="{26BABEF6-BFF5-DA88-42D4-EE4682B398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7018" y="2076414"/>
            <a:ext cx="248603" cy="248603"/>
          </a:xfrm>
          <a:prstGeom prst="rect">
            <a:avLst/>
          </a:prstGeom>
        </p:spPr>
      </p:pic>
      <p:pic>
        <p:nvPicPr>
          <p:cNvPr id="115" name="Graphic 33" descr="Checkmark outline">
            <a:extLst>
              <a:ext uri="{FF2B5EF4-FFF2-40B4-BE49-F238E27FC236}">
                <a16:creationId xmlns:a16="http://schemas.microsoft.com/office/drawing/2014/main" id="{7E962426-15D2-4069-BFC5-D95FE21FD7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7018" y="2298504"/>
            <a:ext cx="248603" cy="248603"/>
          </a:xfrm>
          <a:prstGeom prst="rect">
            <a:avLst/>
          </a:prstGeom>
        </p:spPr>
      </p:pic>
      <p:pic>
        <p:nvPicPr>
          <p:cNvPr id="116" name="Graphic 33" descr="Checkmark outline">
            <a:extLst>
              <a:ext uri="{FF2B5EF4-FFF2-40B4-BE49-F238E27FC236}">
                <a16:creationId xmlns:a16="http://schemas.microsoft.com/office/drawing/2014/main" id="{F3F2DF0E-1296-26DE-8FE6-32FD870188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7018" y="2506322"/>
            <a:ext cx="248603" cy="248603"/>
          </a:xfrm>
          <a:prstGeom prst="rect">
            <a:avLst/>
          </a:prstGeom>
        </p:spPr>
      </p:pic>
      <p:pic>
        <p:nvPicPr>
          <p:cNvPr id="117" name="Graphic 33" descr="Checkmark outline">
            <a:extLst>
              <a:ext uri="{FF2B5EF4-FFF2-40B4-BE49-F238E27FC236}">
                <a16:creationId xmlns:a16="http://schemas.microsoft.com/office/drawing/2014/main" id="{AB0803AB-86D5-CD58-BA96-0555968AAF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7018" y="2727995"/>
            <a:ext cx="248603" cy="248603"/>
          </a:xfrm>
          <a:prstGeom prst="rect">
            <a:avLst/>
          </a:prstGeom>
        </p:spPr>
      </p:pic>
      <p:pic>
        <p:nvPicPr>
          <p:cNvPr id="118" name="Graphic 33" descr="Checkmark outline">
            <a:extLst>
              <a:ext uri="{FF2B5EF4-FFF2-40B4-BE49-F238E27FC236}">
                <a16:creationId xmlns:a16="http://schemas.microsoft.com/office/drawing/2014/main" id="{E345CA75-4615-00DF-9461-7E70D427A7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7018" y="3122850"/>
            <a:ext cx="248603" cy="248603"/>
          </a:xfrm>
          <a:prstGeom prst="rect">
            <a:avLst/>
          </a:prstGeom>
        </p:spPr>
      </p:pic>
      <p:pic>
        <p:nvPicPr>
          <p:cNvPr id="119" name="Graphic 33" descr="Checkmark outline">
            <a:extLst>
              <a:ext uri="{FF2B5EF4-FFF2-40B4-BE49-F238E27FC236}">
                <a16:creationId xmlns:a16="http://schemas.microsoft.com/office/drawing/2014/main" id="{ADEE322D-32F9-E3F0-30EE-1018E3299A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48358" y="3778061"/>
            <a:ext cx="248603" cy="248603"/>
          </a:xfrm>
          <a:prstGeom prst="rect">
            <a:avLst/>
          </a:prstGeom>
        </p:spPr>
      </p:pic>
      <p:pic>
        <p:nvPicPr>
          <p:cNvPr id="120" name="Graphic 33" descr="Checkmark outline">
            <a:extLst>
              <a:ext uri="{FF2B5EF4-FFF2-40B4-BE49-F238E27FC236}">
                <a16:creationId xmlns:a16="http://schemas.microsoft.com/office/drawing/2014/main" id="{DCBA35E3-129F-B304-0B4F-B42E4D19F4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3310" y="2076414"/>
            <a:ext cx="248603" cy="248603"/>
          </a:xfrm>
          <a:prstGeom prst="rect">
            <a:avLst/>
          </a:prstGeom>
        </p:spPr>
      </p:pic>
      <p:pic>
        <p:nvPicPr>
          <p:cNvPr id="121" name="Graphic 33" descr="Checkmark outline">
            <a:extLst>
              <a:ext uri="{FF2B5EF4-FFF2-40B4-BE49-F238E27FC236}">
                <a16:creationId xmlns:a16="http://schemas.microsoft.com/office/drawing/2014/main" id="{6CC9583E-C4FF-13B7-EC58-DE7CB331BE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0002" y="2076414"/>
            <a:ext cx="248603" cy="248603"/>
          </a:xfrm>
          <a:prstGeom prst="rect">
            <a:avLst/>
          </a:prstGeom>
        </p:spPr>
      </p:pic>
      <p:pic>
        <p:nvPicPr>
          <p:cNvPr id="122" name="Graphic 33" descr="Checkmark outline">
            <a:extLst>
              <a:ext uri="{FF2B5EF4-FFF2-40B4-BE49-F238E27FC236}">
                <a16:creationId xmlns:a16="http://schemas.microsoft.com/office/drawing/2014/main" id="{4A6911AC-D61F-46A8-3362-ACFAD4F077F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3310" y="2505906"/>
            <a:ext cx="248603" cy="248603"/>
          </a:xfrm>
          <a:prstGeom prst="rect">
            <a:avLst/>
          </a:prstGeom>
        </p:spPr>
      </p:pic>
      <p:pic>
        <p:nvPicPr>
          <p:cNvPr id="123" name="Graphic 33" descr="Checkmark outline">
            <a:extLst>
              <a:ext uri="{FF2B5EF4-FFF2-40B4-BE49-F238E27FC236}">
                <a16:creationId xmlns:a16="http://schemas.microsoft.com/office/drawing/2014/main" id="{984E5F2A-841B-1637-2435-8B792720C53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0002" y="2505906"/>
            <a:ext cx="248603" cy="248603"/>
          </a:xfrm>
          <a:prstGeom prst="rect">
            <a:avLst/>
          </a:prstGeom>
        </p:spPr>
      </p:pic>
      <p:pic>
        <p:nvPicPr>
          <p:cNvPr id="124" name="Graphic 33" descr="Checkmark outline">
            <a:extLst>
              <a:ext uri="{FF2B5EF4-FFF2-40B4-BE49-F238E27FC236}">
                <a16:creationId xmlns:a16="http://schemas.microsoft.com/office/drawing/2014/main" id="{727AE97D-09BE-6A63-4BE1-507DBAA9C3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0002" y="2713723"/>
            <a:ext cx="248603" cy="248603"/>
          </a:xfrm>
          <a:prstGeom prst="rect">
            <a:avLst/>
          </a:prstGeom>
        </p:spPr>
      </p:pic>
      <p:pic>
        <p:nvPicPr>
          <p:cNvPr id="125" name="Graphic 33" descr="Checkmark outline">
            <a:extLst>
              <a:ext uri="{FF2B5EF4-FFF2-40B4-BE49-F238E27FC236}">
                <a16:creationId xmlns:a16="http://schemas.microsoft.com/office/drawing/2014/main" id="{81B89298-1D16-A931-E46B-6C7CDD78D61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3310" y="2935395"/>
            <a:ext cx="248603" cy="248603"/>
          </a:xfrm>
          <a:prstGeom prst="rect">
            <a:avLst/>
          </a:prstGeom>
        </p:spPr>
      </p:pic>
      <p:pic>
        <p:nvPicPr>
          <p:cNvPr id="126" name="Graphic 33" descr="Checkmark outline">
            <a:extLst>
              <a:ext uri="{FF2B5EF4-FFF2-40B4-BE49-F238E27FC236}">
                <a16:creationId xmlns:a16="http://schemas.microsoft.com/office/drawing/2014/main" id="{514A55D2-4714-2C3D-6915-5197D73FD8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0002" y="2935395"/>
            <a:ext cx="248603" cy="248603"/>
          </a:xfrm>
          <a:prstGeom prst="rect">
            <a:avLst/>
          </a:prstGeom>
        </p:spPr>
      </p:pic>
      <p:pic>
        <p:nvPicPr>
          <p:cNvPr id="127" name="Graphic 33" descr="Checkmark outline">
            <a:extLst>
              <a:ext uri="{FF2B5EF4-FFF2-40B4-BE49-F238E27FC236}">
                <a16:creationId xmlns:a16="http://schemas.microsoft.com/office/drawing/2014/main" id="{EC1BAA27-D80A-2920-6D7E-6F7ED475B5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3310" y="3351031"/>
            <a:ext cx="248603" cy="248603"/>
          </a:xfrm>
          <a:prstGeom prst="rect">
            <a:avLst/>
          </a:prstGeom>
        </p:spPr>
      </p:pic>
      <p:pic>
        <p:nvPicPr>
          <p:cNvPr id="128" name="Graphic 33" descr="Checkmark outline">
            <a:extLst>
              <a:ext uri="{FF2B5EF4-FFF2-40B4-BE49-F238E27FC236}">
                <a16:creationId xmlns:a16="http://schemas.microsoft.com/office/drawing/2014/main" id="{DBCC6E08-C371-C7F7-E428-C4674B0919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0002" y="3351031"/>
            <a:ext cx="248603" cy="248603"/>
          </a:xfrm>
          <a:prstGeom prst="rect">
            <a:avLst/>
          </a:prstGeom>
        </p:spPr>
      </p:pic>
      <p:pic>
        <p:nvPicPr>
          <p:cNvPr id="129" name="Graphic 33" descr="Checkmark outline">
            <a:extLst>
              <a:ext uri="{FF2B5EF4-FFF2-40B4-BE49-F238E27FC236}">
                <a16:creationId xmlns:a16="http://schemas.microsoft.com/office/drawing/2014/main" id="{31E732F0-AA8F-8FEE-61FC-BE79B43F55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3310" y="3586558"/>
            <a:ext cx="248603" cy="248603"/>
          </a:xfrm>
          <a:prstGeom prst="rect">
            <a:avLst/>
          </a:prstGeom>
        </p:spPr>
      </p:pic>
      <p:pic>
        <p:nvPicPr>
          <p:cNvPr id="130" name="Graphic 33" descr="Checkmark outline">
            <a:extLst>
              <a:ext uri="{FF2B5EF4-FFF2-40B4-BE49-F238E27FC236}">
                <a16:creationId xmlns:a16="http://schemas.microsoft.com/office/drawing/2014/main" id="{C393AE8B-8A13-8F8D-E58D-3E8E04C661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0002" y="3586558"/>
            <a:ext cx="248603" cy="248603"/>
          </a:xfrm>
          <a:prstGeom prst="rect">
            <a:avLst/>
          </a:prstGeom>
        </p:spPr>
      </p:pic>
      <p:pic>
        <p:nvPicPr>
          <p:cNvPr id="131" name="Graphic 33" descr="Checkmark outline">
            <a:extLst>
              <a:ext uri="{FF2B5EF4-FFF2-40B4-BE49-F238E27FC236}">
                <a16:creationId xmlns:a16="http://schemas.microsoft.com/office/drawing/2014/main" id="{890B3624-7B08-2F16-4E25-77282869BF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9631" y="3985879"/>
            <a:ext cx="248603" cy="248603"/>
          </a:xfrm>
          <a:prstGeom prst="rect">
            <a:avLst/>
          </a:prstGeom>
        </p:spPr>
      </p:pic>
      <p:pic>
        <p:nvPicPr>
          <p:cNvPr id="132" name="Graphic 33" descr="Checkmark outline">
            <a:extLst>
              <a:ext uri="{FF2B5EF4-FFF2-40B4-BE49-F238E27FC236}">
                <a16:creationId xmlns:a16="http://schemas.microsoft.com/office/drawing/2014/main" id="{CDD9E86E-DBDD-701E-6C12-84238B1C96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9631" y="4193697"/>
            <a:ext cx="248603" cy="248603"/>
          </a:xfrm>
          <a:prstGeom prst="rect">
            <a:avLst/>
          </a:prstGeom>
        </p:spPr>
      </p:pic>
      <p:pic>
        <p:nvPicPr>
          <p:cNvPr id="133" name="Graphic 33" descr="Checkmark outline">
            <a:extLst>
              <a:ext uri="{FF2B5EF4-FFF2-40B4-BE49-F238E27FC236}">
                <a16:creationId xmlns:a16="http://schemas.microsoft.com/office/drawing/2014/main" id="{0BB1D8A5-0719-EF90-751D-E4C7D29EA7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9631" y="4415370"/>
            <a:ext cx="248603" cy="248603"/>
          </a:xfrm>
          <a:prstGeom prst="rect">
            <a:avLst/>
          </a:prstGeom>
        </p:spPr>
      </p:pic>
      <p:pic>
        <p:nvPicPr>
          <p:cNvPr id="134" name="Graphic 33" descr="Checkmark outline">
            <a:extLst>
              <a:ext uri="{FF2B5EF4-FFF2-40B4-BE49-F238E27FC236}">
                <a16:creationId xmlns:a16="http://schemas.microsoft.com/office/drawing/2014/main" id="{75DB35D5-9C04-F80A-7723-57AD5F90E6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9631" y="4623188"/>
            <a:ext cx="248603" cy="248603"/>
          </a:xfrm>
          <a:prstGeom prst="rect">
            <a:avLst/>
          </a:prstGeom>
        </p:spPr>
      </p:pic>
      <p:pic>
        <p:nvPicPr>
          <p:cNvPr id="135" name="Graphic 33" descr="Checkmark outline">
            <a:extLst>
              <a:ext uri="{FF2B5EF4-FFF2-40B4-BE49-F238E27FC236}">
                <a16:creationId xmlns:a16="http://schemas.microsoft.com/office/drawing/2014/main" id="{4ABAFF86-FA86-515C-7274-83567EF9DD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9631" y="4845278"/>
            <a:ext cx="248603" cy="248603"/>
          </a:xfrm>
          <a:prstGeom prst="rect">
            <a:avLst/>
          </a:prstGeom>
        </p:spPr>
      </p:pic>
      <p:pic>
        <p:nvPicPr>
          <p:cNvPr id="136" name="Graphic 33" descr="Checkmark outline">
            <a:extLst>
              <a:ext uri="{FF2B5EF4-FFF2-40B4-BE49-F238E27FC236}">
                <a16:creationId xmlns:a16="http://schemas.microsoft.com/office/drawing/2014/main" id="{B91E19CE-7721-0146-CA7C-8D8A5A4012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9631" y="5053096"/>
            <a:ext cx="248603" cy="248603"/>
          </a:xfrm>
          <a:prstGeom prst="rect">
            <a:avLst/>
          </a:prstGeom>
        </p:spPr>
      </p:pic>
      <p:pic>
        <p:nvPicPr>
          <p:cNvPr id="137" name="Graphic 33" descr="Checkmark outline">
            <a:extLst>
              <a:ext uri="{FF2B5EF4-FFF2-40B4-BE49-F238E27FC236}">
                <a16:creationId xmlns:a16="http://schemas.microsoft.com/office/drawing/2014/main" id="{AB28CC9B-F1DC-394B-0FA5-740E2E45AB0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9631" y="5274769"/>
            <a:ext cx="248603" cy="248603"/>
          </a:xfrm>
          <a:prstGeom prst="rect">
            <a:avLst/>
          </a:prstGeom>
        </p:spPr>
      </p:pic>
      <p:pic>
        <p:nvPicPr>
          <p:cNvPr id="138" name="Graphic 33" descr="Checkmark outline">
            <a:extLst>
              <a:ext uri="{FF2B5EF4-FFF2-40B4-BE49-F238E27FC236}">
                <a16:creationId xmlns:a16="http://schemas.microsoft.com/office/drawing/2014/main" id="{9934AE48-549E-AC24-4FD0-E06C7DB601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6322" y="3985879"/>
            <a:ext cx="248603" cy="248603"/>
          </a:xfrm>
          <a:prstGeom prst="rect">
            <a:avLst/>
          </a:prstGeom>
        </p:spPr>
      </p:pic>
      <p:pic>
        <p:nvPicPr>
          <p:cNvPr id="139" name="Graphic 33" descr="Checkmark outline">
            <a:extLst>
              <a:ext uri="{FF2B5EF4-FFF2-40B4-BE49-F238E27FC236}">
                <a16:creationId xmlns:a16="http://schemas.microsoft.com/office/drawing/2014/main" id="{3DD53229-BE07-E30A-0F7E-09C12C4511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6322" y="4193697"/>
            <a:ext cx="248603" cy="248603"/>
          </a:xfrm>
          <a:prstGeom prst="rect">
            <a:avLst/>
          </a:prstGeom>
        </p:spPr>
      </p:pic>
      <p:pic>
        <p:nvPicPr>
          <p:cNvPr id="140" name="Graphic 33" descr="Checkmark outline">
            <a:extLst>
              <a:ext uri="{FF2B5EF4-FFF2-40B4-BE49-F238E27FC236}">
                <a16:creationId xmlns:a16="http://schemas.microsoft.com/office/drawing/2014/main" id="{1AE89E9D-A1E5-8ECE-1394-9526B33DAC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6322" y="4415370"/>
            <a:ext cx="248603" cy="248603"/>
          </a:xfrm>
          <a:prstGeom prst="rect">
            <a:avLst/>
          </a:prstGeom>
        </p:spPr>
      </p:pic>
      <p:pic>
        <p:nvPicPr>
          <p:cNvPr id="141" name="Graphic 33" descr="Checkmark outline">
            <a:extLst>
              <a:ext uri="{FF2B5EF4-FFF2-40B4-BE49-F238E27FC236}">
                <a16:creationId xmlns:a16="http://schemas.microsoft.com/office/drawing/2014/main" id="{58F7A29A-F1E2-80CA-4364-29207058F7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6322" y="4623188"/>
            <a:ext cx="248603" cy="248603"/>
          </a:xfrm>
          <a:prstGeom prst="rect">
            <a:avLst/>
          </a:prstGeom>
        </p:spPr>
      </p:pic>
      <p:pic>
        <p:nvPicPr>
          <p:cNvPr id="142" name="Graphic 33" descr="Checkmark outline">
            <a:extLst>
              <a:ext uri="{FF2B5EF4-FFF2-40B4-BE49-F238E27FC236}">
                <a16:creationId xmlns:a16="http://schemas.microsoft.com/office/drawing/2014/main" id="{F8885A35-A393-19F9-2057-B4392C2271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6322" y="4845278"/>
            <a:ext cx="248603" cy="248603"/>
          </a:xfrm>
          <a:prstGeom prst="rect">
            <a:avLst/>
          </a:prstGeom>
        </p:spPr>
      </p:pic>
      <p:pic>
        <p:nvPicPr>
          <p:cNvPr id="143" name="Graphic 33" descr="Checkmark outline">
            <a:extLst>
              <a:ext uri="{FF2B5EF4-FFF2-40B4-BE49-F238E27FC236}">
                <a16:creationId xmlns:a16="http://schemas.microsoft.com/office/drawing/2014/main" id="{C71701D5-C481-21F4-9D28-89DFE46B8D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6322" y="5053096"/>
            <a:ext cx="248603" cy="248603"/>
          </a:xfrm>
          <a:prstGeom prst="rect">
            <a:avLst/>
          </a:prstGeom>
        </p:spPr>
      </p:pic>
      <p:pic>
        <p:nvPicPr>
          <p:cNvPr id="144" name="Graphic 33" descr="Checkmark outline">
            <a:extLst>
              <a:ext uri="{FF2B5EF4-FFF2-40B4-BE49-F238E27FC236}">
                <a16:creationId xmlns:a16="http://schemas.microsoft.com/office/drawing/2014/main" id="{9BF241FC-2C47-0A6A-D3B9-C4B5397ACE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6322" y="5274769"/>
            <a:ext cx="248603" cy="248603"/>
          </a:xfrm>
          <a:prstGeom prst="rect">
            <a:avLst/>
          </a:prstGeom>
        </p:spPr>
      </p:pic>
      <p:sp>
        <p:nvSpPr>
          <p:cNvPr id="2" name="Rounded Rectangle 56">
            <a:extLst>
              <a:ext uri="{FF2B5EF4-FFF2-40B4-BE49-F238E27FC236}">
                <a16:creationId xmlns:a16="http://schemas.microsoft.com/office/drawing/2014/main" id="{4D5B608F-0E14-36E5-4ED3-3112A01A506C}"/>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4" name="Conector Reto 31">
            <a:extLst>
              <a:ext uri="{FF2B5EF4-FFF2-40B4-BE49-F238E27FC236}">
                <a16:creationId xmlns:a16="http://schemas.microsoft.com/office/drawing/2014/main" id="{238A0B6B-6BE9-A100-A2B0-2D4B7C812E91}"/>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Conector Reto 75">
            <a:extLst>
              <a:ext uri="{FF2B5EF4-FFF2-40B4-BE49-F238E27FC236}">
                <a16:creationId xmlns:a16="http://schemas.microsoft.com/office/drawing/2014/main" id="{B77636BA-ECB8-A64B-8820-A68366722A91}"/>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 name="Conector Reto 31">
            <a:extLst>
              <a:ext uri="{FF2B5EF4-FFF2-40B4-BE49-F238E27FC236}">
                <a16:creationId xmlns:a16="http://schemas.microsoft.com/office/drawing/2014/main" id="{2D4035D3-C252-33C2-0DF7-4DDC8417E939}"/>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 name="Conector Reto 31">
            <a:extLst>
              <a:ext uri="{FF2B5EF4-FFF2-40B4-BE49-F238E27FC236}">
                <a16:creationId xmlns:a16="http://schemas.microsoft.com/office/drawing/2014/main" id="{981A8B00-70D2-651A-7164-E65A393D9591}"/>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3" name="Conector Reto 78">
            <a:extLst>
              <a:ext uri="{FF2B5EF4-FFF2-40B4-BE49-F238E27FC236}">
                <a16:creationId xmlns:a16="http://schemas.microsoft.com/office/drawing/2014/main" id="{610A4F5E-C35D-621D-B14E-569ABD7904DE}"/>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Conector Reto 31">
            <a:extLst>
              <a:ext uri="{FF2B5EF4-FFF2-40B4-BE49-F238E27FC236}">
                <a16:creationId xmlns:a16="http://schemas.microsoft.com/office/drawing/2014/main" id="{E1726C4E-CF8F-74B8-6AD9-641539054511}"/>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6" name="CaixaDeTexto 80">
            <a:extLst>
              <a:ext uri="{FF2B5EF4-FFF2-40B4-BE49-F238E27FC236}">
                <a16:creationId xmlns:a16="http://schemas.microsoft.com/office/drawing/2014/main" id="{6B031A71-F100-EBA5-2E32-34648EA89ADC}"/>
              </a:ext>
            </a:extLst>
          </p:cNvPr>
          <p:cNvSpPr txBox="1"/>
          <p:nvPr/>
        </p:nvSpPr>
        <p:spPr>
          <a:xfrm>
            <a:off x="783241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18" name="CaixaDeTexto 81">
            <a:extLst>
              <a:ext uri="{FF2B5EF4-FFF2-40B4-BE49-F238E27FC236}">
                <a16:creationId xmlns:a16="http://schemas.microsoft.com/office/drawing/2014/main" id="{6A233190-1E3B-5324-50D5-2DEACB88476C}"/>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22" name="CaixaDeTexto 82">
            <a:extLst>
              <a:ext uri="{FF2B5EF4-FFF2-40B4-BE49-F238E27FC236}">
                <a16:creationId xmlns:a16="http://schemas.microsoft.com/office/drawing/2014/main" id="{9178B0CE-8517-59DF-4F6A-02F81A99E456}"/>
              </a:ext>
            </a:extLst>
          </p:cNvPr>
          <p:cNvSpPr txBox="1"/>
          <p:nvPr/>
        </p:nvSpPr>
        <p:spPr>
          <a:xfrm>
            <a:off x="6457787" y="6294672"/>
            <a:ext cx="139885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roduct Comparison</a:t>
            </a:r>
          </a:p>
        </p:txBody>
      </p:sp>
      <p:sp>
        <p:nvSpPr>
          <p:cNvPr id="23" name="CaixaDeTexto 83">
            <a:extLst>
              <a:ext uri="{FF2B5EF4-FFF2-40B4-BE49-F238E27FC236}">
                <a16:creationId xmlns:a16="http://schemas.microsoft.com/office/drawing/2014/main" id="{1D3DB67E-1D20-5063-9518-65195D9BC59A}"/>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24" name="CaixaDeTexto 84">
            <a:extLst>
              <a:ext uri="{FF2B5EF4-FFF2-40B4-BE49-F238E27FC236}">
                <a16:creationId xmlns:a16="http://schemas.microsoft.com/office/drawing/2014/main" id="{63C458EC-5C1F-99E4-CCC3-CA7E1954D3DD}"/>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25" name="CaixaDeTexto 85">
            <a:extLst>
              <a:ext uri="{FF2B5EF4-FFF2-40B4-BE49-F238E27FC236}">
                <a16:creationId xmlns:a16="http://schemas.microsoft.com/office/drawing/2014/main" id="{F8C4032A-C221-FA0F-4C73-C10DFCE6AEC6}"/>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26" name="CaixaDeTexto 86">
            <a:extLst>
              <a:ext uri="{FF2B5EF4-FFF2-40B4-BE49-F238E27FC236}">
                <a16:creationId xmlns:a16="http://schemas.microsoft.com/office/drawing/2014/main" id="{AC077CA4-D7C9-0FFA-57AB-C7544FA58ADA}"/>
              </a:ext>
            </a:extLst>
          </p:cNvPr>
          <p:cNvSpPr txBox="1"/>
          <p:nvPr/>
        </p:nvSpPr>
        <p:spPr>
          <a:xfrm>
            <a:off x="582933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Ratings</a:t>
            </a:r>
          </a:p>
        </p:txBody>
      </p:sp>
      <p:sp>
        <p:nvSpPr>
          <p:cNvPr id="27" name="CaixaDeTexto 87">
            <a:extLst>
              <a:ext uri="{FF2B5EF4-FFF2-40B4-BE49-F238E27FC236}">
                <a16:creationId xmlns:a16="http://schemas.microsoft.com/office/drawing/2014/main" id="{3CC665FA-803D-08FF-DAF9-8DE5F636E827}"/>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28" name="Conector Reto 31">
            <a:extLst>
              <a:ext uri="{FF2B5EF4-FFF2-40B4-BE49-F238E27FC236}">
                <a16:creationId xmlns:a16="http://schemas.microsoft.com/office/drawing/2014/main" id="{8A57164A-087D-501E-9D35-0AF57813F348}"/>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9" name="Conector Reto 31">
            <a:extLst>
              <a:ext uri="{FF2B5EF4-FFF2-40B4-BE49-F238E27FC236}">
                <a16:creationId xmlns:a16="http://schemas.microsoft.com/office/drawing/2014/main" id="{49B19C62-527B-C422-687F-4C7D94C1C1EB}"/>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0" name="Conector Reto 17">
            <a:extLst>
              <a:ext uri="{FF2B5EF4-FFF2-40B4-BE49-F238E27FC236}">
                <a16:creationId xmlns:a16="http://schemas.microsoft.com/office/drawing/2014/main" id="{92C72D8D-C92F-9A2F-9EE0-F2890B828654}"/>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1" name="Rounded Rectangle 141">
            <a:extLst>
              <a:ext uri="{FF2B5EF4-FFF2-40B4-BE49-F238E27FC236}">
                <a16:creationId xmlns:a16="http://schemas.microsoft.com/office/drawing/2014/main" id="{EDF5A93A-BA72-E900-6F0C-14DC9F74A076}"/>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32" name="CaixaDeTexto 89">
            <a:extLst>
              <a:ext uri="{FF2B5EF4-FFF2-40B4-BE49-F238E27FC236}">
                <a16:creationId xmlns:a16="http://schemas.microsoft.com/office/drawing/2014/main" id="{7C81271B-3F09-108B-69AB-C6F0AD851FEB}"/>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Tree>
    <p:extLst>
      <p:ext uri="{BB962C8B-B14F-4D97-AF65-F5344CB8AC3E}">
        <p14:creationId xmlns:p14="http://schemas.microsoft.com/office/powerpoint/2010/main" val="3696470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840FB-82D4-E8A1-5460-2CFB45E00B3F}"/>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72FCA347-53C4-7651-9FB5-D26006E6B2D4}"/>
              </a:ext>
            </a:extLst>
          </p:cNvPr>
          <p:cNvSpPr/>
          <p:nvPr/>
        </p:nvSpPr>
        <p:spPr>
          <a:xfrm>
            <a:off x="1435395" y="1247695"/>
            <a:ext cx="9969464"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graphicFrame>
        <p:nvGraphicFramePr>
          <p:cNvPr id="2" name="Table 7">
            <a:extLst>
              <a:ext uri="{FF2B5EF4-FFF2-40B4-BE49-F238E27FC236}">
                <a16:creationId xmlns:a16="http://schemas.microsoft.com/office/drawing/2014/main" id="{07CE88C3-4EC5-7BA9-8892-7543257D9745}"/>
              </a:ext>
            </a:extLst>
          </p:cNvPr>
          <p:cNvGraphicFramePr>
            <a:graphicFrameLocks noGrp="1"/>
          </p:cNvGraphicFramePr>
          <p:nvPr/>
        </p:nvGraphicFramePr>
        <p:xfrm>
          <a:off x="2096353" y="2210163"/>
          <a:ext cx="8929610" cy="3265603"/>
        </p:xfrm>
        <a:graphic>
          <a:graphicData uri="http://schemas.openxmlformats.org/drawingml/2006/table">
            <a:tbl>
              <a:tblPr firstRow="1" bandRow="1"/>
              <a:tblGrid>
                <a:gridCol w="1589592">
                  <a:extLst>
                    <a:ext uri="{9D8B030D-6E8A-4147-A177-3AD203B41FA5}">
                      <a16:colId xmlns:a16="http://schemas.microsoft.com/office/drawing/2014/main" val="1565393184"/>
                    </a:ext>
                  </a:extLst>
                </a:gridCol>
                <a:gridCol w="2250627">
                  <a:extLst>
                    <a:ext uri="{9D8B030D-6E8A-4147-A177-3AD203B41FA5}">
                      <a16:colId xmlns:a16="http://schemas.microsoft.com/office/drawing/2014/main" val="2372716710"/>
                    </a:ext>
                  </a:extLst>
                </a:gridCol>
                <a:gridCol w="1285939">
                  <a:extLst>
                    <a:ext uri="{9D8B030D-6E8A-4147-A177-3AD203B41FA5}">
                      <a16:colId xmlns:a16="http://schemas.microsoft.com/office/drawing/2014/main" val="3882868127"/>
                    </a:ext>
                  </a:extLst>
                </a:gridCol>
                <a:gridCol w="1216650">
                  <a:extLst>
                    <a:ext uri="{9D8B030D-6E8A-4147-A177-3AD203B41FA5}">
                      <a16:colId xmlns:a16="http://schemas.microsoft.com/office/drawing/2014/main" val="2071859642"/>
                    </a:ext>
                  </a:extLst>
                </a:gridCol>
                <a:gridCol w="2586802">
                  <a:extLst>
                    <a:ext uri="{9D8B030D-6E8A-4147-A177-3AD203B41FA5}">
                      <a16:colId xmlns:a16="http://schemas.microsoft.com/office/drawing/2014/main" val="3491665711"/>
                    </a:ext>
                  </a:extLst>
                </a:gridCol>
              </a:tblGrid>
              <a:tr h="34251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
                      <a:endParaRPr lang="en-US" sz="1100" b="0" i="0" u="none" strike="noStrike" noProof="0">
                        <a:solidFill>
                          <a:schemeClr val="bg1"/>
                        </a:solidFill>
                        <a:effectLst/>
                        <a:latin typeface="Aptos" panose="020B0004020202020204" pitchFamily="34" charset="0"/>
                        <a:cs typeface="Arial" panose="020B0604020202020204" pitchFamily="34" charset="0"/>
                      </a:endParaRPr>
                    </a:p>
                  </a:txBody>
                  <a:tcPr marL="3221" marR="3221" marT="3221" marB="0"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noProof="0">
                          <a:solidFill>
                            <a:schemeClr val="bg1"/>
                          </a:solidFill>
                          <a:latin typeface="Aptos" panose="020B0004020202020204" pitchFamily="34" charset="0"/>
                          <a:cs typeface="Arial" panose="020B0604020202020204" pitchFamily="34" charset="0"/>
                        </a:rPr>
                        <a:t>L9</a:t>
                      </a:r>
                    </a:p>
                  </a:txBody>
                  <a:tcPr marL="66333" marR="66333" marT="33168" marB="33168" anchor="ctr">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600" b="0" i="0" noProof="0">
                          <a:solidFill>
                            <a:schemeClr val="bg1"/>
                          </a:solidFill>
                          <a:latin typeface="Aptos" panose="020B0004020202020204" pitchFamily="34" charset="0"/>
                          <a:cs typeface="Arial" panose="020B0604020202020204" pitchFamily="34" charset="0"/>
                        </a:rPr>
                        <a:t>X10</a:t>
                      </a:r>
                    </a:p>
                  </a:txBody>
                  <a:tcPr marL="71469" marR="71469" marT="35734" marB="35734">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endParaRPr lang="en-US"/>
                    </a:p>
                  </a:txBody>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600" b="0" i="0" noProof="0">
                          <a:solidFill>
                            <a:schemeClr val="bg1"/>
                          </a:solidFill>
                          <a:latin typeface="Aptos" panose="020B0004020202020204" pitchFamily="34" charset="0"/>
                          <a:cs typeface="Arial" panose="020B0604020202020204" pitchFamily="34" charset="0"/>
                        </a:rPr>
                        <a:t>X12</a:t>
                      </a:r>
                    </a:p>
                  </a:txBody>
                  <a:tcPr marL="66333" marR="66333" marT="33168" marB="33168">
                    <a:lnL>
                      <a:noFill/>
                    </a:lnL>
                    <a:lnR>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583384792"/>
                  </a:ext>
                </a:extLst>
              </a:tr>
              <a:tr h="2640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endParaRPr lang="en-US" sz="1100" b="0" i="0" u="none" strike="noStrike" noProof="0">
                        <a:solidFill>
                          <a:schemeClr val="bg1"/>
                        </a:solidFill>
                        <a:effectLst/>
                        <a:latin typeface="Aptos" panose="020B0004020202020204" pitchFamily="34" charset="0"/>
                        <a:cs typeface="Arial" panose="020B0604020202020204" pitchFamily="34" charset="0"/>
                      </a:endParaRPr>
                    </a:p>
                  </a:txBody>
                  <a:tcPr marL="3221" marR="3221" marT="3221" marB="0" anchor="ctr">
                    <a:lnL>
                      <a:noFill/>
                    </a:lnL>
                    <a:lnR>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noProof="0">
                        <a:solidFill>
                          <a:schemeClr val="bg1"/>
                        </a:solidFill>
                        <a:latin typeface="Aptos" panose="020B0004020202020204" pitchFamily="34" charset="0"/>
                        <a:cs typeface="Arial" panose="020B0604020202020204" pitchFamily="34" charset="0"/>
                      </a:endParaRPr>
                    </a:p>
                  </a:txBody>
                  <a:tcPr marL="66333" marR="66333" marT="33168" marB="33168" anchor="ctr">
                    <a:lnL>
                      <a:noFill/>
                    </a:lnL>
                    <a:lnR>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solidFill>
                            <a:schemeClr val="bg1"/>
                          </a:solidFill>
                          <a:latin typeface="Aptos" panose="020B0004020202020204" pitchFamily="34" charset="0"/>
                          <a:cs typeface="Arial" panose="020B0604020202020204" pitchFamily="34" charset="0"/>
                        </a:rPr>
                        <a:t>Medium-duty</a:t>
                      </a:r>
                    </a:p>
                  </a:txBody>
                  <a:tcPr marL="66333" marR="66333" marT="33168" marB="33168" anchor="ctr">
                    <a:lnL>
                      <a:noFill/>
                    </a:lnL>
                    <a:lnR>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solidFill>
                            <a:schemeClr val="bg1"/>
                          </a:solidFill>
                          <a:latin typeface="Aptos" panose="020B0004020202020204" pitchFamily="34" charset="0"/>
                          <a:cs typeface="Arial" panose="020B0604020202020204" pitchFamily="34" charset="0"/>
                        </a:rPr>
                        <a:t>Heavy-duty</a:t>
                      </a:r>
                    </a:p>
                  </a:txBody>
                  <a:tcPr marL="66333" marR="66333" marT="33168" marB="33168" anchor="ctr">
                    <a:lnL>
                      <a:noFill/>
                    </a:lnL>
                    <a:lnR>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1100" b="0" i="0" noProof="0">
                        <a:solidFill>
                          <a:schemeClr val="bg1"/>
                        </a:solidFill>
                        <a:latin typeface="Aptos" panose="020B0004020202020204" pitchFamily="34" charset="0"/>
                        <a:cs typeface="Arial" panose="020B0604020202020204" pitchFamily="34" charset="0"/>
                      </a:endParaRPr>
                    </a:p>
                  </a:txBody>
                  <a:tcPr marL="66333" marR="66333" marT="33168" marB="33168">
                    <a:lnL>
                      <a:noFill/>
                    </a:lnL>
                    <a:lnR>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267883034"/>
                  </a:ext>
                </a:extLst>
              </a:tr>
              <a:tr h="264096">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noProof="0">
                          <a:solidFill>
                            <a:srgbClr val="000000"/>
                          </a:solidFill>
                          <a:effectLst/>
                          <a:latin typeface="Aptos" panose="020B0004020202020204" pitchFamily="34" charset="0"/>
                          <a:cs typeface="Arial" panose="020B0604020202020204" pitchFamily="34" charset="0"/>
                        </a:rPr>
                        <a:t>Displacement</a:t>
                      </a:r>
                    </a:p>
                  </a:txBody>
                  <a:tcPr marL="3221" marR="3221" marT="3221" marB="0" anchor="ctr">
                    <a:lnL>
                      <a:noFill/>
                    </a:lnL>
                    <a:lnR>
                      <a:noFill/>
                    </a:lnR>
                    <a:lnT w="12700" cap="flat" cmpd="sng" algn="ctr">
                      <a:solidFill>
                        <a:srgbClr val="0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8.9L</a:t>
                      </a:r>
                    </a:p>
                  </a:txBody>
                  <a:tcPr marL="66333" marR="66333" marT="33168" marB="33168" anchor="ctr">
                    <a:lnL>
                      <a:noFill/>
                    </a:lnL>
                    <a:lnR>
                      <a:noFill/>
                    </a:lnR>
                    <a:lnT w="12700" cap="flat" cmpd="sng" algn="ctr">
                      <a:solidFill>
                        <a:srgbClr val="0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9.9L</a:t>
                      </a:r>
                    </a:p>
                  </a:txBody>
                  <a:tcPr marL="71469" marR="71469" marT="35734" marB="35734" anchor="ctr">
                    <a:lnL>
                      <a:noFill/>
                    </a:lnL>
                    <a:lnR>
                      <a:noFill/>
                    </a:lnR>
                    <a:lnT w="12700" cap="flat" cmpd="sng" algn="ctr">
                      <a:solidFill>
                        <a:srgbClr val="0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400">
                          <a:latin typeface="Arial" panose="020B0604020202020204" pitchFamily="34" charset="0"/>
                          <a:cs typeface="Arial" panose="020B0604020202020204" pitchFamily="34" charset="0"/>
                        </a:rPr>
                        <a:t>9.9L</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11.8L</a:t>
                      </a:r>
                    </a:p>
                  </a:txBody>
                  <a:tcPr marL="66333" marR="66333" marT="33168" marB="33168" anchor="ctr">
                    <a:lnL>
                      <a:noFill/>
                    </a:lnL>
                    <a:lnR>
                      <a:noFill/>
                    </a:lnR>
                    <a:lnT w="12700" cap="flat" cmpd="sng" algn="ctr">
                      <a:solidFill>
                        <a:srgbClr val="0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4593565"/>
                  </a:ext>
                </a:extLst>
              </a:tr>
              <a:tr h="264096">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noProof="0">
                          <a:solidFill>
                            <a:srgbClr val="000000"/>
                          </a:solidFill>
                          <a:effectLst/>
                          <a:latin typeface="Aptos" panose="020B0004020202020204" pitchFamily="34" charset="0"/>
                          <a:cs typeface="Arial" panose="020B0604020202020204" pitchFamily="34" charset="0"/>
                        </a:rPr>
                        <a:t>Cylinders</a:t>
                      </a:r>
                    </a:p>
                  </a:txBody>
                  <a:tcPr marL="3221" marR="3221" marT="3221" marB="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Inline 6</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Inline 6</a:t>
                      </a:r>
                    </a:p>
                  </a:txBody>
                  <a:tcPr marL="71469" marR="71469" marT="35734" marB="35734"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400">
                          <a:latin typeface="Arial" panose="020B0604020202020204" pitchFamily="34" charset="0"/>
                          <a:cs typeface="Arial" panose="020B0604020202020204" pitchFamily="34" charset="0"/>
                        </a:rPr>
                        <a:t>Inline 6</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Inline 6</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11680190"/>
                  </a:ext>
                </a:extLst>
              </a:tr>
              <a:tr h="264096">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noProof="0">
                          <a:solidFill>
                            <a:srgbClr val="000000"/>
                          </a:solidFill>
                          <a:effectLst/>
                          <a:latin typeface="Aptos" panose="020B0004020202020204" pitchFamily="34" charset="0"/>
                          <a:cs typeface="Arial" panose="020B0604020202020204" pitchFamily="34" charset="0"/>
                        </a:rPr>
                        <a:t>Compression Ratio</a:t>
                      </a:r>
                    </a:p>
                  </a:txBody>
                  <a:tcPr marL="3221" marR="3221" marT="3221" marB="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20.2:1</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20.5:1</a:t>
                      </a:r>
                    </a:p>
                  </a:txBody>
                  <a:tcPr marL="71469" marR="71469" marT="35734" marB="35734"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400">
                          <a:latin typeface="Arial" panose="020B0604020202020204" pitchFamily="34" charset="0"/>
                          <a:cs typeface="Arial" panose="020B0604020202020204" pitchFamily="34" charset="0"/>
                        </a:rPr>
                        <a:t>20.5:1</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18.3:1</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19153747"/>
                  </a:ext>
                </a:extLst>
              </a:tr>
              <a:tr h="43626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noProof="0">
                          <a:solidFill>
                            <a:srgbClr val="000000"/>
                          </a:solidFill>
                          <a:effectLst/>
                          <a:latin typeface="Aptos" panose="020B0004020202020204" pitchFamily="34" charset="0"/>
                          <a:cs typeface="Arial" panose="020B0604020202020204" pitchFamily="34" charset="0"/>
                        </a:rPr>
                        <a:t>Ratings (By Family)</a:t>
                      </a:r>
                    </a:p>
                  </a:txBody>
                  <a:tcPr marL="3221" marR="3221" marT="3221" marB="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latin typeface="Aptos" panose="020B0004020202020204" pitchFamily="34" charset="0"/>
                          <a:cs typeface="Arial" panose="020B0604020202020204" pitchFamily="34" charset="0"/>
                        </a:rPr>
                        <a:t>260-380hp / 860-1250 lb-ft</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latin typeface="Aptos" panose="020B0004020202020204" pitchFamily="34" charset="0"/>
                          <a:cs typeface="Arial" panose="020B0604020202020204" pitchFamily="34" charset="0"/>
                        </a:rPr>
                        <a:t>320-380 hp / 1000-1250 lb-ft</a:t>
                      </a:r>
                    </a:p>
                  </a:txBody>
                  <a:tcPr marL="66333" marR="66333" marT="33168" marB="33168" anchor="ctr">
                    <a:lnL>
                      <a:noFill/>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9" rtl="0" eaLnBrk="1" latinLnBrk="0" hangingPunct="1">
                        <a:defRPr sz="1800" kern="1200">
                          <a:solidFill>
                            <a:schemeClr val="tx1"/>
                          </a:solidFill>
                          <a:latin typeface="Arial" panose="020B0604020202020204"/>
                        </a:defRPr>
                      </a:lvl1pPr>
                      <a:lvl2pPr marL="457190" algn="l" defTabSz="914379" rtl="0" eaLnBrk="1" latinLnBrk="0" hangingPunct="1">
                        <a:defRPr sz="1800" kern="1200">
                          <a:solidFill>
                            <a:schemeClr val="tx1"/>
                          </a:solidFill>
                          <a:latin typeface="Arial" panose="020B0604020202020204"/>
                        </a:defRPr>
                      </a:lvl2pPr>
                      <a:lvl3pPr marL="914379" algn="l" defTabSz="914379" rtl="0" eaLnBrk="1" latinLnBrk="0" hangingPunct="1">
                        <a:defRPr sz="1800" kern="1200">
                          <a:solidFill>
                            <a:schemeClr val="tx1"/>
                          </a:solidFill>
                          <a:latin typeface="Arial" panose="020B0604020202020204"/>
                        </a:defRPr>
                      </a:lvl3pPr>
                      <a:lvl4pPr marL="1371569" algn="l" defTabSz="914379" rtl="0" eaLnBrk="1" latinLnBrk="0" hangingPunct="1">
                        <a:defRPr sz="1800" kern="1200">
                          <a:solidFill>
                            <a:schemeClr val="tx1"/>
                          </a:solidFill>
                          <a:latin typeface="Arial" panose="020B0604020202020204"/>
                        </a:defRPr>
                      </a:lvl4pPr>
                      <a:lvl5pPr marL="1828758" algn="l" defTabSz="914379" rtl="0" eaLnBrk="1" latinLnBrk="0" hangingPunct="1">
                        <a:defRPr sz="1800" kern="1200">
                          <a:solidFill>
                            <a:schemeClr val="tx1"/>
                          </a:solidFill>
                          <a:latin typeface="Arial" panose="020B0604020202020204"/>
                        </a:defRPr>
                      </a:lvl5pPr>
                      <a:lvl6pPr marL="2285947" algn="l" defTabSz="914379" rtl="0" eaLnBrk="1" latinLnBrk="0" hangingPunct="1">
                        <a:defRPr sz="1800" kern="1200">
                          <a:solidFill>
                            <a:schemeClr val="tx1"/>
                          </a:solidFill>
                          <a:latin typeface="Arial" panose="020B0604020202020204"/>
                        </a:defRPr>
                      </a:lvl6pPr>
                      <a:lvl7pPr marL="2743136" algn="l" defTabSz="914379" rtl="0" eaLnBrk="1" latinLnBrk="0" hangingPunct="1">
                        <a:defRPr sz="1800" kern="1200">
                          <a:solidFill>
                            <a:schemeClr val="tx1"/>
                          </a:solidFill>
                          <a:latin typeface="Arial" panose="020B0604020202020204"/>
                        </a:defRPr>
                      </a:lvl7pPr>
                      <a:lvl8pPr marL="3200326" algn="l" defTabSz="914379" rtl="0" eaLnBrk="1" latinLnBrk="0" hangingPunct="1">
                        <a:defRPr sz="1800" kern="1200">
                          <a:solidFill>
                            <a:schemeClr val="tx1"/>
                          </a:solidFill>
                          <a:latin typeface="Arial" panose="020B0604020202020204"/>
                        </a:defRPr>
                      </a:lvl8pPr>
                      <a:lvl9pPr marL="3657515" algn="l" defTabSz="914379" rtl="0" eaLnBrk="1" latinLnBrk="0" hangingPunct="1">
                        <a:defRPr sz="1800" kern="1200">
                          <a:solidFill>
                            <a:schemeClr val="tx1"/>
                          </a:solidFill>
                          <a:latin typeface="Arial" panose="020B0604020202020204"/>
                        </a:defRPr>
                      </a:lvl9pPr>
                    </a:lstStyle>
                    <a:p>
                      <a:pPr algn="ctr"/>
                      <a:r>
                        <a:rPr lang="en-US" sz="1100" b="0" i="0" noProof="0">
                          <a:latin typeface="Aptos" panose="020B0004020202020204" pitchFamily="34" charset="0"/>
                          <a:cs typeface="Arial" panose="020B0604020202020204" pitchFamily="34" charset="0"/>
                        </a:rPr>
                        <a:t>350-450 hp / 1350-1650 lb-ft</a:t>
                      </a:r>
                    </a:p>
                  </a:txBody>
                  <a:tcPr marL="66333" marR="66333" marT="33168" marB="33168" anchor="ctr">
                    <a:lnL w="12700" cap="flat" cmpd="sng" algn="ctr">
                      <a:noFill/>
                      <a:prstDash val="solid"/>
                      <a:round/>
                      <a:headEnd type="none" w="med" len="med"/>
                      <a:tailEnd type="none" w="med" len="med"/>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latin typeface="Aptos" panose="020B0004020202020204" pitchFamily="34" charset="0"/>
                          <a:cs typeface="Arial" panose="020B0604020202020204" pitchFamily="34" charset="0"/>
                        </a:rPr>
                        <a:t>350-500hp / 1350-1700 lb-ft</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7928372"/>
                  </a:ext>
                </a:extLst>
              </a:tr>
              <a:tr h="2640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noProof="0">
                          <a:solidFill>
                            <a:srgbClr val="000000"/>
                          </a:solidFill>
                          <a:effectLst/>
                          <a:latin typeface="Aptos" panose="020B0004020202020204" pitchFamily="34" charset="0"/>
                          <a:cs typeface="Arial" panose="020B0604020202020204" pitchFamily="34" charset="0"/>
                        </a:rPr>
                        <a:t>Engine Weight (Dry)</a:t>
                      </a:r>
                    </a:p>
                  </a:txBody>
                  <a:tcPr marL="3221" marR="3221" marT="3221" marB="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dirty="0">
                          <a:effectLst/>
                          <a:latin typeface="Aptos" panose="020B0004020202020204" pitchFamily="34" charset="0"/>
                          <a:cs typeface="Arial" panose="020B0604020202020204" pitchFamily="34" charset="0"/>
                        </a:rPr>
                        <a:t>769 kg, 1695lb</a:t>
                      </a:r>
                      <a:endParaRPr lang="en-US" sz="1100" b="0" i="0" noProof="0" dirty="0">
                        <a:latin typeface="Aptos" panose="020B0004020202020204" pitchFamily="34" charset="0"/>
                        <a:cs typeface="Arial" panose="020B0604020202020204" pitchFamily="34" charset="0"/>
                      </a:endParaRP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noProof="0">
                          <a:effectLst/>
                          <a:latin typeface="Aptos" panose="020B0004020202020204" pitchFamily="34" charset="0"/>
                          <a:cs typeface="Arial" panose="020B0604020202020204" pitchFamily="34" charset="0"/>
                        </a:rPr>
                        <a:t>850kg, 1874lb</a:t>
                      </a:r>
                    </a:p>
                  </a:txBody>
                  <a:tcPr marL="71469" marR="71469" marT="35734" marB="35734"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effectLst/>
                          <a:latin typeface="Aptos" panose="020B0004020202020204" pitchFamily="34" charset="0"/>
                          <a:cs typeface="Arial" panose="020B0604020202020204" pitchFamily="34" charset="0"/>
                        </a:rPr>
                        <a:t>930 kg, 2050lb</a:t>
                      </a:r>
                      <a:endParaRPr lang="en-US" sz="1100" b="0" i="0" noProof="0">
                        <a:latin typeface="Aptos" panose="020B0004020202020204" pitchFamily="34" charset="0"/>
                        <a:cs typeface="Arial" panose="020B0604020202020204" pitchFamily="34" charset="0"/>
                      </a:endParaRP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9200373"/>
                  </a:ext>
                </a:extLst>
              </a:tr>
              <a:tr h="36770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noProof="0">
                          <a:effectLst/>
                          <a:latin typeface="Aptos" panose="020B0004020202020204" pitchFamily="34" charset="0"/>
                          <a:cs typeface="Arial" panose="020B0604020202020204" pitchFamily="34" charset="0"/>
                        </a:rPr>
                        <a:t>Aftertreatment Weight</a:t>
                      </a:r>
                    </a:p>
                  </a:txBody>
                  <a:tcPr marL="3221" marR="3221" marT="3221" marB="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noProof="0">
                          <a:effectLst/>
                          <a:latin typeface="Aptos" panose="020B0004020202020204" pitchFamily="34" charset="0"/>
                          <a:cs typeface="Arial" panose="020B0604020202020204" pitchFamily="34" charset="0"/>
                        </a:rPr>
                        <a:t>80 kg, 177lb</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noProof="0" dirty="0">
                          <a:effectLst/>
                          <a:latin typeface="Aptos" panose="020B0004020202020204" pitchFamily="34" charset="0"/>
                          <a:cs typeface="Arial" panose="020B0604020202020204" pitchFamily="34" charset="0"/>
                        </a:rPr>
                        <a:t>135 kg, 298lb | 148 kg, 326lb</a:t>
                      </a:r>
                    </a:p>
                  </a:txBody>
                  <a:tcPr marL="71469" marR="71469" marT="35734" marB="35734"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noProof="0">
                          <a:effectLst/>
                          <a:latin typeface="Aptos" panose="020B0004020202020204" pitchFamily="34" charset="0"/>
                          <a:cs typeface="Arial" panose="020B0604020202020204" pitchFamily="34" charset="0"/>
                        </a:rPr>
                        <a:t>110 kg, 243lb</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6178803"/>
                  </a:ext>
                </a:extLst>
              </a:tr>
              <a:tr h="2640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noProof="0">
                          <a:effectLst/>
                          <a:latin typeface="Aptos" panose="020B0004020202020204" pitchFamily="34" charset="0"/>
                          <a:cs typeface="Arial" panose="020B0604020202020204" pitchFamily="34" charset="0"/>
                        </a:rPr>
                        <a:t>Total System Weight</a:t>
                      </a:r>
                    </a:p>
                  </a:txBody>
                  <a:tcPr marL="3221" marR="3221" marT="3221" marB="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noProof="0">
                          <a:effectLst/>
                          <a:latin typeface="Aptos" panose="020B0004020202020204" pitchFamily="34" charset="0"/>
                          <a:cs typeface="Arial" panose="020B0604020202020204" pitchFamily="34" charset="0"/>
                        </a:rPr>
                        <a:t>849 kg, 1872lb</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effectLst/>
                          <a:latin typeface="Aptos" panose="020B0004020202020204" pitchFamily="34" charset="0"/>
                          <a:cs typeface="Arial" panose="020B0604020202020204" pitchFamily="34" charset="0"/>
                        </a:rPr>
                        <a:t>985 kg, 2272lb | 998 kg, 2200lb</a:t>
                      </a:r>
                      <a:endParaRPr lang="en-US" sz="1100" b="0" i="0" noProof="0">
                        <a:latin typeface="Aptos" panose="020B0004020202020204" pitchFamily="34" charset="0"/>
                        <a:cs typeface="Arial" panose="020B0604020202020204" pitchFamily="34" charset="0"/>
                      </a:endParaRPr>
                    </a:p>
                  </a:txBody>
                  <a:tcPr marL="71469" marR="71469" marT="35734" marB="35734"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noProof="0">
                          <a:effectLst/>
                          <a:latin typeface="Aptos" panose="020B0004020202020204" pitchFamily="34" charset="0"/>
                          <a:cs typeface="Arial" panose="020B0604020202020204" pitchFamily="34" charset="0"/>
                        </a:rPr>
                        <a:t>1040 kg, 2293lb</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7126629"/>
                  </a:ext>
                </a:extLst>
              </a:tr>
              <a:tr h="2640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noProof="0">
                          <a:solidFill>
                            <a:srgbClr val="000000"/>
                          </a:solidFill>
                          <a:effectLst/>
                          <a:latin typeface="Aptos" panose="020B0004020202020204" pitchFamily="34" charset="0"/>
                          <a:cs typeface="Arial" panose="020B0604020202020204" pitchFamily="34" charset="0"/>
                        </a:rPr>
                        <a:t>Oil Drain Interval</a:t>
                      </a:r>
                    </a:p>
                  </a:txBody>
                  <a:tcPr marL="3221" marR="3221" marT="3221" marB="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latin typeface="Aptos" panose="020B0004020202020204" pitchFamily="34" charset="0"/>
                          <a:cs typeface="Arial" panose="020B0604020202020204" pitchFamily="34" charset="0"/>
                        </a:rPr>
                        <a:t>Up to 50k miles</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noProof="0">
                          <a:latin typeface="Aptos" panose="020B0004020202020204" pitchFamily="34" charset="0"/>
                          <a:cs typeface="Arial" panose="020B0604020202020204" pitchFamily="34" charset="0"/>
                        </a:rPr>
                        <a:t>Up to 75k miles</a:t>
                      </a:r>
                    </a:p>
                  </a:txBody>
                  <a:tcPr marL="71469" marR="71469" marT="35734" marB="35734"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latin typeface="Aptos" panose="020B0004020202020204" pitchFamily="34" charset="0"/>
                          <a:cs typeface="Arial" panose="020B0604020202020204" pitchFamily="34" charset="0"/>
                        </a:rPr>
                        <a:t>Up to 75k miles</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4710332"/>
                  </a:ext>
                </a:extLst>
              </a:tr>
              <a:tr h="2704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noProof="0">
                          <a:solidFill>
                            <a:srgbClr val="000000"/>
                          </a:solidFill>
                          <a:effectLst/>
                          <a:latin typeface="Aptos" panose="020B0004020202020204" pitchFamily="34" charset="0"/>
                          <a:cs typeface="Arial" panose="020B0604020202020204" pitchFamily="34" charset="0"/>
                        </a:rPr>
                        <a:t>Aftertreatment</a:t>
                      </a:r>
                    </a:p>
                  </a:txBody>
                  <a:tcPr marL="3221" marR="3221" marT="3221" marB="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latin typeface="Aptos" panose="020B0004020202020204" pitchFamily="34" charset="0"/>
                          <a:cs typeface="Arial" panose="020B0604020202020204" pitchFamily="34" charset="0"/>
                        </a:rPr>
                        <a:t>10LX</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a:latin typeface="Aptos" panose="020B0004020202020204" pitchFamily="34" charset="0"/>
                          <a:cs typeface="Arial" panose="020B0604020202020204" pitchFamily="34" charset="0"/>
                        </a:rPr>
                        <a:t>TM10 | TM13</a:t>
                      </a:r>
                    </a:p>
                  </a:txBody>
                  <a:tcPr marL="71469" marR="71469" marT="35734" marB="35734"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100" b="0" i="0" noProof="0" dirty="0">
                          <a:latin typeface="Aptos" panose="020B0004020202020204" pitchFamily="34" charset="0"/>
                          <a:cs typeface="Arial" panose="020B0604020202020204" pitchFamily="34" charset="0"/>
                        </a:rPr>
                        <a:t>13SS</a:t>
                      </a:r>
                    </a:p>
                  </a:txBody>
                  <a:tcPr marL="66333" marR="66333" marT="33168" marB="33168"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12070464"/>
                  </a:ext>
                </a:extLst>
              </a:tr>
            </a:tbl>
          </a:graphicData>
        </a:graphic>
      </p:graphicFrame>
      <p:pic>
        <p:nvPicPr>
          <p:cNvPr id="8" name="Picture 19" descr="A red and black engine&#10;&#10;Description automatically generated">
            <a:extLst>
              <a:ext uri="{FF2B5EF4-FFF2-40B4-BE49-F238E27FC236}">
                <a16:creationId xmlns:a16="http://schemas.microsoft.com/office/drawing/2014/main" id="{0C7450F0-229F-2273-9F0D-0F18E0A2D6A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79355" y="1415214"/>
            <a:ext cx="861666" cy="861666"/>
          </a:xfrm>
          <a:prstGeom prst="rect">
            <a:avLst/>
          </a:prstGeom>
        </p:spPr>
      </p:pic>
      <p:pic>
        <p:nvPicPr>
          <p:cNvPr id="11" name="Picture 20" descr="A red engine with black background&#10;&#10;Description automatically generated">
            <a:extLst>
              <a:ext uri="{FF2B5EF4-FFF2-40B4-BE49-F238E27FC236}">
                <a16:creationId xmlns:a16="http://schemas.microsoft.com/office/drawing/2014/main" id="{37BB6511-D502-8ADC-ECA0-0781AC1F7E3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39267" y="1372143"/>
            <a:ext cx="902797" cy="902797"/>
          </a:xfrm>
          <a:prstGeom prst="rect">
            <a:avLst/>
          </a:prstGeom>
        </p:spPr>
      </p:pic>
      <p:pic>
        <p:nvPicPr>
          <p:cNvPr id="12" name="Picture 28" descr="A red engine with white text&#10;&#10;Description automatically generated">
            <a:extLst>
              <a:ext uri="{FF2B5EF4-FFF2-40B4-BE49-F238E27FC236}">
                <a16:creationId xmlns:a16="http://schemas.microsoft.com/office/drawing/2014/main" id="{EE5D5F49-8E85-2CC9-63F9-E5B00D4AB8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41816" y="1372143"/>
            <a:ext cx="902799" cy="902799"/>
          </a:xfrm>
          <a:prstGeom prst="rect">
            <a:avLst/>
          </a:prstGeom>
        </p:spPr>
      </p:pic>
      <p:sp>
        <p:nvSpPr>
          <p:cNvPr id="13" name="TextBox 5">
            <a:extLst>
              <a:ext uri="{FF2B5EF4-FFF2-40B4-BE49-F238E27FC236}">
                <a16:creationId xmlns:a16="http://schemas.microsoft.com/office/drawing/2014/main" id="{BF83C1B6-2C66-624F-1928-B2746F7CF0AB}"/>
              </a:ext>
            </a:extLst>
          </p:cNvPr>
          <p:cNvSpPr txBox="1"/>
          <p:nvPr/>
        </p:nvSpPr>
        <p:spPr>
          <a:xfrm>
            <a:off x="9804276" y="5546675"/>
            <a:ext cx="151245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atest Update: </a:t>
            </a:r>
            <a:r>
              <a:rPr kumimoji="0" lang="en-US" sz="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July 10, 2025</a:t>
            </a:r>
          </a:p>
        </p:txBody>
      </p:sp>
      <p:sp>
        <p:nvSpPr>
          <p:cNvPr id="3" name="Espaço Reservado para Conteúdo 2">
            <a:extLst>
              <a:ext uri="{FF2B5EF4-FFF2-40B4-BE49-F238E27FC236}">
                <a16:creationId xmlns:a16="http://schemas.microsoft.com/office/drawing/2014/main" id="{34B128CE-DDFD-D73E-BD38-8E6A499C91BB}"/>
              </a:ext>
            </a:extLst>
          </p:cNvPr>
          <p:cNvSpPr>
            <a:spLocks noGrp="1"/>
          </p:cNvSpPr>
          <p:nvPr>
            <p:ph idx="1"/>
          </p:nvPr>
        </p:nvSpPr>
        <p:spPr/>
        <p:txBody>
          <a:bodyPr/>
          <a:lstStyle/>
          <a:p>
            <a:r>
              <a:rPr lang="en-US" sz="2400" b="1" noProof="0">
                <a:solidFill>
                  <a:schemeClr val="accent1"/>
                </a:solidFill>
                <a:latin typeface="Aptos" panose="020B0004020202020204" pitchFamily="34" charset="0"/>
              </a:rPr>
              <a:t>Current Product Comparison</a:t>
            </a:r>
          </a:p>
        </p:txBody>
      </p:sp>
      <p:sp>
        <p:nvSpPr>
          <p:cNvPr id="4" name="Rounded Rectangle 56">
            <a:extLst>
              <a:ext uri="{FF2B5EF4-FFF2-40B4-BE49-F238E27FC236}">
                <a16:creationId xmlns:a16="http://schemas.microsoft.com/office/drawing/2014/main" id="{2B36A5A7-7518-4C86-919D-347A01F5F23B}"/>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5" name="Conector Reto 31">
            <a:extLst>
              <a:ext uri="{FF2B5EF4-FFF2-40B4-BE49-F238E27FC236}">
                <a16:creationId xmlns:a16="http://schemas.microsoft.com/office/drawing/2014/main" id="{4B705E39-65F5-8173-64B7-263B9E4D8BF7}"/>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 name="Conector Reto 75">
            <a:extLst>
              <a:ext uri="{FF2B5EF4-FFF2-40B4-BE49-F238E27FC236}">
                <a16:creationId xmlns:a16="http://schemas.microsoft.com/office/drawing/2014/main" id="{9CD48659-2FD9-EFCB-9FA6-B410C4234BD8}"/>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Conector Reto 31">
            <a:extLst>
              <a:ext uri="{FF2B5EF4-FFF2-40B4-BE49-F238E27FC236}">
                <a16:creationId xmlns:a16="http://schemas.microsoft.com/office/drawing/2014/main" id="{142F9538-3D12-7D49-FFCE-7CD574F6FAD5}"/>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 name="Conector Reto 31">
            <a:extLst>
              <a:ext uri="{FF2B5EF4-FFF2-40B4-BE49-F238E27FC236}">
                <a16:creationId xmlns:a16="http://schemas.microsoft.com/office/drawing/2014/main" id="{B6D9DA7A-3D72-8D5F-7DEF-16698EB1A532}"/>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 name="Conector Reto 78">
            <a:extLst>
              <a:ext uri="{FF2B5EF4-FFF2-40B4-BE49-F238E27FC236}">
                <a16:creationId xmlns:a16="http://schemas.microsoft.com/office/drawing/2014/main" id="{E68241E2-7079-6DF5-9B74-92117DB58572}"/>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 name="Conector Reto 31">
            <a:extLst>
              <a:ext uri="{FF2B5EF4-FFF2-40B4-BE49-F238E27FC236}">
                <a16:creationId xmlns:a16="http://schemas.microsoft.com/office/drawing/2014/main" id="{2CAF8713-A6CC-0EDC-7E57-68776E2EEFA4}"/>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9" name="CaixaDeTexto 80">
            <a:extLst>
              <a:ext uri="{FF2B5EF4-FFF2-40B4-BE49-F238E27FC236}">
                <a16:creationId xmlns:a16="http://schemas.microsoft.com/office/drawing/2014/main" id="{3DB3B1BE-DF28-FB34-B5A9-6B8BF391528D}"/>
              </a:ext>
            </a:extLst>
          </p:cNvPr>
          <p:cNvSpPr txBox="1"/>
          <p:nvPr/>
        </p:nvSpPr>
        <p:spPr>
          <a:xfrm>
            <a:off x="783241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22" name="CaixaDeTexto 81">
            <a:extLst>
              <a:ext uri="{FF2B5EF4-FFF2-40B4-BE49-F238E27FC236}">
                <a16:creationId xmlns:a16="http://schemas.microsoft.com/office/drawing/2014/main" id="{A075868C-7531-CE01-457B-2089F8E3B3BE}"/>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23" name="CaixaDeTexto 82">
            <a:extLst>
              <a:ext uri="{FF2B5EF4-FFF2-40B4-BE49-F238E27FC236}">
                <a16:creationId xmlns:a16="http://schemas.microsoft.com/office/drawing/2014/main" id="{4C93C631-16E9-FB6D-CB2D-95DB65CB23CE}"/>
              </a:ext>
            </a:extLst>
          </p:cNvPr>
          <p:cNvSpPr txBox="1"/>
          <p:nvPr/>
        </p:nvSpPr>
        <p:spPr>
          <a:xfrm>
            <a:off x="6457787" y="6294672"/>
            <a:ext cx="139885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roduct Comparison</a:t>
            </a:r>
          </a:p>
        </p:txBody>
      </p:sp>
      <p:sp>
        <p:nvSpPr>
          <p:cNvPr id="24" name="CaixaDeTexto 83">
            <a:extLst>
              <a:ext uri="{FF2B5EF4-FFF2-40B4-BE49-F238E27FC236}">
                <a16:creationId xmlns:a16="http://schemas.microsoft.com/office/drawing/2014/main" id="{C8653FCD-9F46-A098-FB42-764D4900E3B3}"/>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25" name="CaixaDeTexto 84">
            <a:extLst>
              <a:ext uri="{FF2B5EF4-FFF2-40B4-BE49-F238E27FC236}">
                <a16:creationId xmlns:a16="http://schemas.microsoft.com/office/drawing/2014/main" id="{9629BD15-1DFC-4E22-319B-2B5746FD6A4A}"/>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26" name="CaixaDeTexto 85">
            <a:extLst>
              <a:ext uri="{FF2B5EF4-FFF2-40B4-BE49-F238E27FC236}">
                <a16:creationId xmlns:a16="http://schemas.microsoft.com/office/drawing/2014/main" id="{DB8A82D4-704B-B49E-7546-4816319CC4B2}"/>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27" name="CaixaDeTexto 86">
            <a:extLst>
              <a:ext uri="{FF2B5EF4-FFF2-40B4-BE49-F238E27FC236}">
                <a16:creationId xmlns:a16="http://schemas.microsoft.com/office/drawing/2014/main" id="{09A1C53F-2713-E60B-96AE-12A68E76F6C7}"/>
              </a:ext>
            </a:extLst>
          </p:cNvPr>
          <p:cNvSpPr txBox="1"/>
          <p:nvPr/>
        </p:nvSpPr>
        <p:spPr>
          <a:xfrm>
            <a:off x="582933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28" name="CaixaDeTexto 87">
            <a:extLst>
              <a:ext uri="{FF2B5EF4-FFF2-40B4-BE49-F238E27FC236}">
                <a16:creationId xmlns:a16="http://schemas.microsoft.com/office/drawing/2014/main" id="{8DA0AF26-8279-FDD1-012B-F7ED56E99E80}"/>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29" name="Conector Reto 31">
            <a:extLst>
              <a:ext uri="{FF2B5EF4-FFF2-40B4-BE49-F238E27FC236}">
                <a16:creationId xmlns:a16="http://schemas.microsoft.com/office/drawing/2014/main" id="{45EAF934-BCC8-9EFF-6154-4B32E01D80F1}"/>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0" name="Conector Reto 31">
            <a:extLst>
              <a:ext uri="{FF2B5EF4-FFF2-40B4-BE49-F238E27FC236}">
                <a16:creationId xmlns:a16="http://schemas.microsoft.com/office/drawing/2014/main" id="{3DCD9944-63D7-281C-2E41-560343FFD101}"/>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1" name="Conector Reto 17">
            <a:extLst>
              <a:ext uri="{FF2B5EF4-FFF2-40B4-BE49-F238E27FC236}">
                <a16:creationId xmlns:a16="http://schemas.microsoft.com/office/drawing/2014/main" id="{8315FD27-5A74-0777-DEEB-908F57F27B34}"/>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32" name="Rounded Rectangle 141">
            <a:extLst>
              <a:ext uri="{FF2B5EF4-FFF2-40B4-BE49-F238E27FC236}">
                <a16:creationId xmlns:a16="http://schemas.microsoft.com/office/drawing/2014/main" id="{44D292A4-C9D0-3F09-2CF7-2D1C908B6DE2}"/>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33" name="CaixaDeTexto 89">
            <a:extLst>
              <a:ext uri="{FF2B5EF4-FFF2-40B4-BE49-F238E27FC236}">
                <a16:creationId xmlns:a16="http://schemas.microsoft.com/office/drawing/2014/main" id="{56A2D0ED-847D-0580-43C2-520DD9CDD136}"/>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51" name="Retângulo Arredondado 50">
            <a:extLst>
              <a:ext uri="{FF2B5EF4-FFF2-40B4-BE49-F238E27FC236}">
                <a16:creationId xmlns:a16="http://schemas.microsoft.com/office/drawing/2014/main" id="{2A6BE567-364A-9B72-5592-5DC1A81248E5}"/>
              </a:ext>
            </a:extLst>
          </p:cNvPr>
          <p:cNvSpPr/>
          <p:nvPr/>
        </p:nvSpPr>
        <p:spPr>
          <a:xfrm>
            <a:off x="6952615"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52" name="TextBox 60">
            <a:extLst>
              <a:ext uri="{FF2B5EF4-FFF2-40B4-BE49-F238E27FC236}">
                <a16:creationId xmlns:a16="http://schemas.microsoft.com/office/drawing/2014/main" id="{CB69C0F6-9E2C-FB3E-321C-0251CDE6E236}"/>
              </a:ext>
            </a:extLst>
          </p:cNvPr>
          <p:cNvSpPr txBox="1"/>
          <p:nvPr/>
        </p:nvSpPr>
        <p:spPr>
          <a:xfrm>
            <a:off x="6893475"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1/3</a:t>
            </a:r>
          </a:p>
        </p:txBody>
      </p:sp>
      <p:pic>
        <p:nvPicPr>
          <p:cNvPr id="53" name="Gráfico 52" descr="Acento Circunflexo à Direita com preenchimento sólido">
            <a:extLst>
              <a:ext uri="{FF2B5EF4-FFF2-40B4-BE49-F238E27FC236}">
                <a16:creationId xmlns:a16="http://schemas.microsoft.com/office/drawing/2014/main" id="{CCAC4550-41A8-9751-A863-188713CB73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31966" y="6546689"/>
            <a:ext cx="156462" cy="156462"/>
          </a:xfrm>
          <a:prstGeom prst="rect">
            <a:avLst/>
          </a:prstGeom>
        </p:spPr>
      </p:pic>
    </p:spTree>
    <p:extLst>
      <p:ext uri="{BB962C8B-B14F-4D97-AF65-F5344CB8AC3E}">
        <p14:creationId xmlns:p14="http://schemas.microsoft.com/office/powerpoint/2010/main" val="13969407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7416D73-7BF6-9657-104E-B10389C82832}"/>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64857E6A-E5E8-AE6D-A654-67EFE8C8FC3C}"/>
              </a:ext>
            </a:extLst>
          </p:cNvPr>
          <p:cNvSpPr/>
          <p:nvPr/>
        </p:nvSpPr>
        <p:spPr>
          <a:xfrm>
            <a:off x="1403498" y="1247695"/>
            <a:ext cx="10001361"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grpSp>
        <p:nvGrpSpPr>
          <p:cNvPr id="18" name="Agrupar 17">
            <a:extLst>
              <a:ext uri="{FF2B5EF4-FFF2-40B4-BE49-F238E27FC236}">
                <a16:creationId xmlns:a16="http://schemas.microsoft.com/office/drawing/2014/main" id="{79F13AD5-2CE1-665F-BC52-0747DD49D129}"/>
              </a:ext>
            </a:extLst>
          </p:cNvPr>
          <p:cNvGrpSpPr/>
          <p:nvPr/>
        </p:nvGrpSpPr>
        <p:grpSpPr>
          <a:xfrm>
            <a:off x="2909759" y="1478228"/>
            <a:ext cx="6674619" cy="1425156"/>
            <a:chOff x="3096086" y="1639196"/>
            <a:chExt cx="5983503" cy="1277590"/>
          </a:xfrm>
        </p:grpSpPr>
        <p:pic>
          <p:nvPicPr>
            <p:cNvPr id="8" name="Picture 30" descr="A red engine with black background&#10;&#10;Description automatically generated">
              <a:extLst>
                <a:ext uri="{FF2B5EF4-FFF2-40B4-BE49-F238E27FC236}">
                  <a16:creationId xmlns:a16="http://schemas.microsoft.com/office/drawing/2014/main" id="{ECF8E403-21EF-4B6E-9F22-9FC73F63841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5301" y="2260189"/>
              <a:ext cx="656291" cy="656291"/>
            </a:xfrm>
            <a:prstGeom prst="rect">
              <a:avLst/>
            </a:prstGeom>
          </p:spPr>
        </p:pic>
        <p:pic>
          <p:nvPicPr>
            <p:cNvPr id="11" name="Picture 31" descr="A red and silver machine&#10;&#10;Description automatically generated">
              <a:extLst>
                <a:ext uri="{FF2B5EF4-FFF2-40B4-BE49-F238E27FC236}">
                  <a16:creationId xmlns:a16="http://schemas.microsoft.com/office/drawing/2014/main" id="{902A5054-12FE-CC12-1B60-D95A4F29AAB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93027" y="2278406"/>
              <a:ext cx="613457" cy="613457"/>
            </a:xfrm>
            <a:prstGeom prst="rect">
              <a:avLst/>
            </a:prstGeom>
          </p:spPr>
        </p:pic>
        <p:sp>
          <p:nvSpPr>
            <p:cNvPr id="12" name="TextBox 33">
              <a:extLst>
                <a:ext uri="{FF2B5EF4-FFF2-40B4-BE49-F238E27FC236}">
                  <a16:creationId xmlns:a16="http://schemas.microsoft.com/office/drawing/2014/main" id="{05E6F969-FA71-B018-534E-EB50CF0A1D16}"/>
                </a:ext>
              </a:extLst>
            </p:cNvPr>
            <p:cNvSpPr txBox="1"/>
            <p:nvPr/>
          </p:nvSpPr>
          <p:spPr>
            <a:xfrm>
              <a:off x="7421663" y="1924430"/>
              <a:ext cx="134255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A291C"/>
                  </a:solidFill>
                  <a:effectLst/>
                  <a:uLnTx/>
                  <a:uFillTx/>
                  <a:latin typeface="Cummins Innova Display" pitchFamily="50" charset="0"/>
                  <a:ea typeface="+mn-ea"/>
                  <a:cs typeface="+mn-cs"/>
                </a:rPr>
                <a:t>X10</a:t>
              </a:r>
              <a:r>
                <a:rPr kumimoji="0" lang="en-US" sz="1800" b="0" i="0" u="none" strike="noStrike" kern="1200" cap="none" spc="0" normalizeH="0" baseline="0" noProof="0">
                  <a:ln>
                    <a:noFill/>
                  </a:ln>
                  <a:solidFill>
                    <a:srgbClr val="000000"/>
                  </a:solidFill>
                  <a:effectLst/>
                  <a:uLnTx/>
                  <a:uFillTx/>
                  <a:latin typeface="Cummins Innova Display" pitchFamily="50" charset="0"/>
                  <a:ea typeface="+mn-ea"/>
                  <a:cs typeface="+mn-cs"/>
                </a:rPr>
                <a:t> + TM13</a:t>
              </a:r>
            </a:p>
          </p:txBody>
        </p:sp>
        <p:sp>
          <p:nvSpPr>
            <p:cNvPr id="13" name="TextBox 35">
              <a:extLst>
                <a:ext uri="{FF2B5EF4-FFF2-40B4-BE49-F238E27FC236}">
                  <a16:creationId xmlns:a16="http://schemas.microsoft.com/office/drawing/2014/main" id="{B05853A5-3543-B3DE-BC57-8AE569C77838}"/>
                </a:ext>
              </a:extLst>
            </p:cNvPr>
            <p:cNvSpPr txBox="1"/>
            <p:nvPr/>
          </p:nvSpPr>
          <p:spPr>
            <a:xfrm>
              <a:off x="7134857" y="1639196"/>
              <a:ext cx="194473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ummins Innova Display" pitchFamily="50" charset="0"/>
                  <a:ea typeface="+mn-ea"/>
                  <a:cs typeface="+mn-cs"/>
                </a:rPr>
                <a:t>HEAVY-DUTY </a:t>
              </a:r>
              <a:endParaRPr kumimoji="0" lang="en-US" sz="1800" b="0" i="0" u="none" strike="noStrike" kern="1200" cap="none" spc="0" normalizeH="0" baseline="0" noProof="0">
                <a:ln>
                  <a:noFill/>
                </a:ln>
                <a:solidFill>
                  <a:srgbClr val="000000"/>
                </a:solidFill>
                <a:effectLst/>
                <a:uLnTx/>
                <a:uFillTx/>
                <a:latin typeface="Cummins Innova Display" pitchFamily="50" charset="0"/>
                <a:ea typeface="+mn-ea"/>
                <a:cs typeface="+mn-cs"/>
              </a:endParaRPr>
            </a:p>
          </p:txBody>
        </p:sp>
        <p:pic>
          <p:nvPicPr>
            <p:cNvPr id="14" name="Picture 40" descr="A red engine with black background&#10;&#10;Description automatically generated">
              <a:extLst>
                <a:ext uri="{FF2B5EF4-FFF2-40B4-BE49-F238E27FC236}">
                  <a16:creationId xmlns:a16="http://schemas.microsoft.com/office/drawing/2014/main" id="{AF1F6278-401C-4A55-ABEB-6FA487DE1BF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380440" y="2260495"/>
              <a:ext cx="656291" cy="656291"/>
            </a:xfrm>
            <a:prstGeom prst="rect">
              <a:avLst/>
            </a:prstGeom>
          </p:spPr>
        </p:pic>
        <p:pic>
          <p:nvPicPr>
            <p:cNvPr id="15" name="Picture 41" descr="A red and silver machine&#10;&#10;Description automatically generated">
              <a:extLst>
                <a:ext uri="{FF2B5EF4-FFF2-40B4-BE49-F238E27FC236}">
                  <a16:creationId xmlns:a16="http://schemas.microsoft.com/office/drawing/2014/main" id="{E4B742DA-0DEC-273A-093C-2B33329DD45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48992" y="2283477"/>
              <a:ext cx="600814" cy="600814"/>
            </a:xfrm>
            <a:prstGeom prst="rect">
              <a:avLst/>
            </a:prstGeom>
          </p:spPr>
        </p:pic>
        <p:sp>
          <p:nvSpPr>
            <p:cNvPr id="16" name="TextBox 33">
              <a:extLst>
                <a:ext uri="{FF2B5EF4-FFF2-40B4-BE49-F238E27FC236}">
                  <a16:creationId xmlns:a16="http://schemas.microsoft.com/office/drawing/2014/main" id="{29078A9B-CE4A-C0B5-DD91-B87BF5B56A63}"/>
                </a:ext>
              </a:extLst>
            </p:cNvPr>
            <p:cNvSpPr txBox="1"/>
            <p:nvPr/>
          </p:nvSpPr>
          <p:spPr>
            <a:xfrm>
              <a:off x="3372178" y="1924430"/>
              <a:ext cx="145692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A291C"/>
                  </a:solidFill>
                  <a:effectLst/>
                  <a:uLnTx/>
                  <a:uFillTx/>
                  <a:latin typeface="Cummins Innova Display" pitchFamily="50" charset="0"/>
                  <a:ea typeface="+mn-ea"/>
                  <a:cs typeface="+mn-cs"/>
                </a:rPr>
                <a:t>X10</a:t>
              </a:r>
              <a:r>
                <a:rPr kumimoji="0" lang="en-US" sz="1800" b="0" i="0" u="none" strike="noStrike" kern="1200" cap="none" spc="0" normalizeH="0" baseline="0" noProof="0">
                  <a:ln>
                    <a:noFill/>
                  </a:ln>
                  <a:solidFill>
                    <a:srgbClr val="000000"/>
                  </a:solidFill>
                  <a:effectLst/>
                  <a:uLnTx/>
                  <a:uFillTx/>
                  <a:latin typeface="Cummins Innova Display" pitchFamily="50" charset="0"/>
                  <a:ea typeface="+mn-ea"/>
                  <a:cs typeface="+mn-cs"/>
                </a:rPr>
                <a:t> + TM10</a:t>
              </a:r>
            </a:p>
          </p:txBody>
        </p:sp>
        <p:sp>
          <p:nvSpPr>
            <p:cNvPr id="17" name="TextBox 35">
              <a:extLst>
                <a:ext uri="{FF2B5EF4-FFF2-40B4-BE49-F238E27FC236}">
                  <a16:creationId xmlns:a16="http://schemas.microsoft.com/office/drawing/2014/main" id="{EBAA98FB-2542-1D3B-C2D8-1E54CF5CE903}"/>
                </a:ext>
              </a:extLst>
            </p:cNvPr>
            <p:cNvSpPr txBox="1"/>
            <p:nvPr/>
          </p:nvSpPr>
          <p:spPr>
            <a:xfrm>
              <a:off x="3096086" y="1655736"/>
              <a:ext cx="194473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ummins Innova Display" pitchFamily="50" charset="0"/>
                  <a:ea typeface="+mn-ea"/>
                  <a:cs typeface="+mn-cs"/>
                </a:rPr>
                <a:t>MEDIUM-DUTY </a:t>
              </a:r>
              <a:endParaRPr kumimoji="0" lang="en-US" sz="1800" b="0" i="0" u="none" strike="noStrike" kern="1200" cap="none" spc="0" normalizeH="0" baseline="0" noProof="0">
                <a:ln>
                  <a:noFill/>
                </a:ln>
                <a:solidFill>
                  <a:srgbClr val="000000"/>
                </a:solidFill>
                <a:effectLst/>
                <a:uLnTx/>
                <a:uFillTx/>
                <a:latin typeface="Cummins Innova Display" pitchFamily="50" charset="0"/>
                <a:ea typeface="+mn-ea"/>
                <a:cs typeface="+mn-cs"/>
              </a:endParaRPr>
            </a:p>
          </p:txBody>
        </p:sp>
      </p:grpSp>
      <p:sp>
        <p:nvSpPr>
          <p:cNvPr id="3" name="Espaço Reservado para Conteúdo 2">
            <a:extLst>
              <a:ext uri="{FF2B5EF4-FFF2-40B4-BE49-F238E27FC236}">
                <a16:creationId xmlns:a16="http://schemas.microsoft.com/office/drawing/2014/main" id="{1E3FF3EB-7EE0-7935-49F5-4E5CB2F9FA4C}"/>
              </a:ext>
            </a:extLst>
          </p:cNvPr>
          <p:cNvSpPr>
            <a:spLocks noGrp="1"/>
          </p:cNvSpPr>
          <p:nvPr>
            <p:ph idx="1"/>
          </p:nvPr>
        </p:nvSpPr>
        <p:spPr/>
        <p:txBody>
          <a:bodyPr/>
          <a:lstStyle/>
          <a:p>
            <a:r>
              <a:rPr lang="en-US" sz="2400" b="1" noProof="0">
                <a:solidFill>
                  <a:schemeClr val="accent1"/>
                </a:solidFill>
                <a:latin typeface="Aptos" panose="020B0004020202020204" pitchFamily="34" charset="0"/>
              </a:rPr>
              <a:t>Ratings Comparison (Truck)</a:t>
            </a:r>
          </a:p>
        </p:txBody>
      </p:sp>
      <p:pic>
        <p:nvPicPr>
          <p:cNvPr id="5" name="Picture 4">
            <a:extLst>
              <a:ext uri="{FF2B5EF4-FFF2-40B4-BE49-F238E27FC236}">
                <a16:creationId xmlns:a16="http://schemas.microsoft.com/office/drawing/2014/main" id="{32AF7A03-54E5-F0FD-A59C-B7CCDA7D03A2}"/>
              </a:ext>
            </a:extLst>
          </p:cNvPr>
          <p:cNvPicPr>
            <a:picLocks noChangeAspect="1"/>
          </p:cNvPicPr>
          <p:nvPr/>
        </p:nvPicPr>
        <p:blipFill>
          <a:blip r:embed="rId4"/>
          <a:srcRect l="34181" r="40994" b="69675"/>
          <a:stretch>
            <a:fillRect/>
          </a:stretch>
        </p:blipFill>
        <p:spPr>
          <a:xfrm>
            <a:off x="4993493" y="1651499"/>
            <a:ext cx="2443110" cy="1396811"/>
          </a:xfrm>
          <a:prstGeom prst="rect">
            <a:avLst/>
          </a:prstGeom>
        </p:spPr>
      </p:pic>
      <p:pic>
        <p:nvPicPr>
          <p:cNvPr id="24" name="Picture 23">
            <a:extLst>
              <a:ext uri="{FF2B5EF4-FFF2-40B4-BE49-F238E27FC236}">
                <a16:creationId xmlns:a16="http://schemas.microsoft.com/office/drawing/2014/main" id="{5595EBC1-7452-1346-D9A1-B458EF1D01FB}"/>
              </a:ext>
            </a:extLst>
          </p:cNvPr>
          <p:cNvPicPr>
            <a:picLocks noChangeAspect="1"/>
          </p:cNvPicPr>
          <p:nvPr/>
        </p:nvPicPr>
        <p:blipFill>
          <a:blip r:embed="rId5"/>
          <a:srcRect t="1994" b="7240"/>
          <a:stretch>
            <a:fillRect/>
          </a:stretch>
        </p:blipFill>
        <p:spPr>
          <a:xfrm>
            <a:off x="1793027" y="3077292"/>
            <a:ext cx="9464656" cy="2628406"/>
          </a:xfrm>
          <a:prstGeom prst="rect">
            <a:avLst/>
          </a:prstGeom>
        </p:spPr>
      </p:pic>
      <p:sp>
        <p:nvSpPr>
          <p:cNvPr id="2" name="Rounded Rectangle 56">
            <a:extLst>
              <a:ext uri="{FF2B5EF4-FFF2-40B4-BE49-F238E27FC236}">
                <a16:creationId xmlns:a16="http://schemas.microsoft.com/office/drawing/2014/main" id="{3F853DA2-4DF2-63F8-6CF3-C4BA190E034D}"/>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19" name="Conector Reto 31">
            <a:extLst>
              <a:ext uri="{FF2B5EF4-FFF2-40B4-BE49-F238E27FC236}">
                <a16:creationId xmlns:a16="http://schemas.microsoft.com/office/drawing/2014/main" id="{897B7F97-3E2C-8DCD-D512-F3179907DE56}"/>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Conector Reto 75">
            <a:extLst>
              <a:ext uri="{FF2B5EF4-FFF2-40B4-BE49-F238E27FC236}">
                <a16:creationId xmlns:a16="http://schemas.microsoft.com/office/drawing/2014/main" id="{935A6A2E-A3D2-7501-07FF-ECC6DA57CA28}"/>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3" name="Conector Reto 31">
            <a:extLst>
              <a:ext uri="{FF2B5EF4-FFF2-40B4-BE49-F238E27FC236}">
                <a16:creationId xmlns:a16="http://schemas.microsoft.com/office/drawing/2014/main" id="{5B9B257E-50AE-05E5-627F-83426278F96D}"/>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Conector Reto 31">
            <a:extLst>
              <a:ext uri="{FF2B5EF4-FFF2-40B4-BE49-F238E27FC236}">
                <a16:creationId xmlns:a16="http://schemas.microsoft.com/office/drawing/2014/main" id="{913A1587-55DF-63B5-7D2E-C6FFA43A342D}"/>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Conector Reto 78">
            <a:extLst>
              <a:ext uri="{FF2B5EF4-FFF2-40B4-BE49-F238E27FC236}">
                <a16:creationId xmlns:a16="http://schemas.microsoft.com/office/drawing/2014/main" id="{B6CFC95E-A9CC-D547-2AB1-29D081B105B7}"/>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8" name="Conector Reto 31">
            <a:extLst>
              <a:ext uri="{FF2B5EF4-FFF2-40B4-BE49-F238E27FC236}">
                <a16:creationId xmlns:a16="http://schemas.microsoft.com/office/drawing/2014/main" id="{DB87F612-AC88-50A1-0B31-E35F4D542CF5}"/>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9" name="CaixaDeTexto 80">
            <a:extLst>
              <a:ext uri="{FF2B5EF4-FFF2-40B4-BE49-F238E27FC236}">
                <a16:creationId xmlns:a16="http://schemas.microsoft.com/office/drawing/2014/main" id="{722DA75E-FE57-2DA1-D28C-A19E2D661926}"/>
              </a:ext>
            </a:extLst>
          </p:cNvPr>
          <p:cNvSpPr txBox="1"/>
          <p:nvPr/>
        </p:nvSpPr>
        <p:spPr>
          <a:xfrm>
            <a:off x="783241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30" name="CaixaDeTexto 81">
            <a:extLst>
              <a:ext uri="{FF2B5EF4-FFF2-40B4-BE49-F238E27FC236}">
                <a16:creationId xmlns:a16="http://schemas.microsoft.com/office/drawing/2014/main" id="{032BB1B4-2166-D44B-B3E3-3C6BA8CB7B44}"/>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31" name="CaixaDeTexto 82">
            <a:extLst>
              <a:ext uri="{FF2B5EF4-FFF2-40B4-BE49-F238E27FC236}">
                <a16:creationId xmlns:a16="http://schemas.microsoft.com/office/drawing/2014/main" id="{E56D3F0A-6594-9EB4-ED2F-8973C4CCC719}"/>
              </a:ext>
            </a:extLst>
          </p:cNvPr>
          <p:cNvSpPr txBox="1"/>
          <p:nvPr/>
        </p:nvSpPr>
        <p:spPr>
          <a:xfrm>
            <a:off x="6457787" y="6294672"/>
            <a:ext cx="139885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roduct Comparison</a:t>
            </a:r>
          </a:p>
        </p:txBody>
      </p:sp>
      <p:sp>
        <p:nvSpPr>
          <p:cNvPr id="32" name="CaixaDeTexto 83">
            <a:extLst>
              <a:ext uri="{FF2B5EF4-FFF2-40B4-BE49-F238E27FC236}">
                <a16:creationId xmlns:a16="http://schemas.microsoft.com/office/drawing/2014/main" id="{8BA6928C-9C7F-81CA-D5DD-5256CB0E8B68}"/>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33" name="CaixaDeTexto 84">
            <a:extLst>
              <a:ext uri="{FF2B5EF4-FFF2-40B4-BE49-F238E27FC236}">
                <a16:creationId xmlns:a16="http://schemas.microsoft.com/office/drawing/2014/main" id="{6DF9136F-D9C6-7A5B-4743-6B223676E963}"/>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34" name="CaixaDeTexto 85">
            <a:extLst>
              <a:ext uri="{FF2B5EF4-FFF2-40B4-BE49-F238E27FC236}">
                <a16:creationId xmlns:a16="http://schemas.microsoft.com/office/drawing/2014/main" id="{73701E33-62E3-6AA3-4A60-14C99DC20291}"/>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35" name="CaixaDeTexto 86">
            <a:extLst>
              <a:ext uri="{FF2B5EF4-FFF2-40B4-BE49-F238E27FC236}">
                <a16:creationId xmlns:a16="http://schemas.microsoft.com/office/drawing/2014/main" id="{5942D35E-D23A-FF92-21D2-82E94A076C31}"/>
              </a:ext>
            </a:extLst>
          </p:cNvPr>
          <p:cNvSpPr txBox="1"/>
          <p:nvPr/>
        </p:nvSpPr>
        <p:spPr>
          <a:xfrm>
            <a:off x="582933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43" name="CaixaDeTexto 87">
            <a:extLst>
              <a:ext uri="{FF2B5EF4-FFF2-40B4-BE49-F238E27FC236}">
                <a16:creationId xmlns:a16="http://schemas.microsoft.com/office/drawing/2014/main" id="{AA6D3AFD-B8C8-88A5-7488-522E5E5B77F1}"/>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44" name="Conector Reto 31">
            <a:extLst>
              <a:ext uri="{FF2B5EF4-FFF2-40B4-BE49-F238E27FC236}">
                <a16:creationId xmlns:a16="http://schemas.microsoft.com/office/drawing/2014/main" id="{407C6D7B-F64B-DB75-7A73-668A7D9F05CC}"/>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5" name="Conector Reto 31">
            <a:extLst>
              <a:ext uri="{FF2B5EF4-FFF2-40B4-BE49-F238E27FC236}">
                <a16:creationId xmlns:a16="http://schemas.microsoft.com/office/drawing/2014/main" id="{E6B7547C-A3CC-CB70-B424-6AB7C8A4D38E}"/>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6" name="Conector Reto 17">
            <a:extLst>
              <a:ext uri="{FF2B5EF4-FFF2-40B4-BE49-F238E27FC236}">
                <a16:creationId xmlns:a16="http://schemas.microsoft.com/office/drawing/2014/main" id="{1C4F1799-B940-7050-4A5A-A56643F9A69D}"/>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47" name="Rounded Rectangle 141">
            <a:extLst>
              <a:ext uri="{FF2B5EF4-FFF2-40B4-BE49-F238E27FC236}">
                <a16:creationId xmlns:a16="http://schemas.microsoft.com/office/drawing/2014/main" id="{835CAC21-50FD-D538-8619-A0890C0FE7C5}"/>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48" name="CaixaDeTexto 89">
            <a:extLst>
              <a:ext uri="{FF2B5EF4-FFF2-40B4-BE49-F238E27FC236}">
                <a16:creationId xmlns:a16="http://schemas.microsoft.com/office/drawing/2014/main" id="{D08D2724-A4CA-8B24-8CA3-BCD0095FCBD2}"/>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54" name="Retângulo Arredondado 53">
            <a:extLst>
              <a:ext uri="{FF2B5EF4-FFF2-40B4-BE49-F238E27FC236}">
                <a16:creationId xmlns:a16="http://schemas.microsoft.com/office/drawing/2014/main" id="{AC612AB0-8880-AD98-0F91-832EA9596991}"/>
              </a:ext>
            </a:extLst>
          </p:cNvPr>
          <p:cNvSpPr/>
          <p:nvPr/>
        </p:nvSpPr>
        <p:spPr>
          <a:xfrm>
            <a:off x="7069348"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55" name="TextBox 60">
            <a:extLst>
              <a:ext uri="{FF2B5EF4-FFF2-40B4-BE49-F238E27FC236}">
                <a16:creationId xmlns:a16="http://schemas.microsoft.com/office/drawing/2014/main" id="{AE10DBCC-131B-5CF7-F4C3-B6A27B59053F}"/>
              </a:ext>
            </a:extLst>
          </p:cNvPr>
          <p:cNvSpPr txBox="1"/>
          <p:nvPr/>
        </p:nvSpPr>
        <p:spPr>
          <a:xfrm>
            <a:off x="7010208"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2/3</a:t>
            </a:r>
          </a:p>
        </p:txBody>
      </p:sp>
      <p:pic>
        <p:nvPicPr>
          <p:cNvPr id="56" name="Gráfico 55" descr="Acento Circunflexo à Direita com preenchimento sólido">
            <a:extLst>
              <a:ext uri="{FF2B5EF4-FFF2-40B4-BE49-F238E27FC236}">
                <a16:creationId xmlns:a16="http://schemas.microsoft.com/office/drawing/2014/main" id="{A7A4BF94-4990-3D25-099C-FE81C2AD49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8699" y="6546689"/>
            <a:ext cx="156462" cy="156462"/>
          </a:xfrm>
          <a:prstGeom prst="rect">
            <a:avLst/>
          </a:prstGeom>
        </p:spPr>
      </p:pic>
      <p:pic>
        <p:nvPicPr>
          <p:cNvPr id="57" name="Gráfico 56" descr="Acento Circunflexo à Direita com preenchimento sólido">
            <a:extLst>
              <a:ext uri="{FF2B5EF4-FFF2-40B4-BE49-F238E27FC236}">
                <a16:creationId xmlns:a16="http://schemas.microsoft.com/office/drawing/2014/main" id="{C3433075-E80E-A33A-B401-2EABA214904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6933393" y="6546689"/>
            <a:ext cx="156462" cy="156462"/>
          </a:xfrm>
          <a:prstGeom prst="rect">
            <a:avLst/>
          </a:prstGeom>
        </p:spPr>
      </p:pic>
    </p:spTree>
    <p:extLst>
      <p:ext uri="{BB962C8B-B14F-4D97-AF65-F5344CB8AC3E}">
        <p14:creationId xmlns:p14="http://schemas.microsoft.com/office/powerpoint/2010/main" val="42495168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143A074-FBAF-1588-068A-79B7B8B40831}"/>
            </a:ext>
          </a:extLst>
        </p:cNvPr>
        <p:cNvGrpSpPr/>
        <p:nvPr/>
      </p:nvGrpSpPr>
      <p:grpSpPr>
        <a:xfrm>
          <a:off x="0" y="0"/>
          <a:ext cx="0" cy="0"/>
          <a:chOff x="0" y="0"/>
          <a:chExt cx="0" cy="0"/>
        </a:xfrm>
      </p:grpSpPr>
      <p:sp>
        <p:nvSpPr>
          <p:cNvPr id="20" name="Retângulo Arredondado 125">
            <a:extLst>
              <a:ext uri="{FF2B5EF4-FFF2-40B4-BE49-F238E27FC236}">
                <a16:creationId xmlns:a16="http://schemas.microsoft.com/office/drawing/2014/main" id="{0BBE3192-38D5-33E4-2862-C39DCC412FC9}"/>
              </a:ext>
            </a:extLst>
          </p:cNvPr>
          <p:cNvSpPr/>
          <p:nvPr/>
        </p:nvSpPr>
        <p:spPr>
          <a:xfrm>
            <a:off x="1385888" y="1247695"/>
            <a:ext cx="10018971" cy="4632960"/>
          </a:xfrm>
          <a:prstGeom prst="roundRect">
            <a:avLst>
              <a:gd name="adj" fmla="val 6419"/>
            </a:avLst>
          </a:prstGeom>
          <a:solidFill>
            <a:schemeClr val="bg1"/>
          </a:solidFill>
          <a:ln>
            <a:noFill/>
          </a:ln>
          <a:effectLst>
            <a:outerShdw blurRad="449416" dir="5400000" sx="99000" sy="99000" algn="ctr" rotWithShape="0">
              <a:srgbClr val="000000">
                <a:alpha val="11963"/>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grpSp>
        <p:nvGrpSpPr>
          <p:cNvPr id="18" name="Agrupar 17">
            <a:extLst>
              <a:ext uri="{FF2B5EF4-FFF2-40B4-BE49-F238E27FC236}">
                <a16:creationId xmlns:a16="http://schemas.microsoft.com/office/drawing/2014/main" id="{2B6BD59E-6DD8-5A81-8768-41A45170EB40}"/>
              </a:ext>
            </a:extLst>
          </p:cNvPr>
          <p:cNvGrpSpPr/>
          <p:nvPr/>
        </p:nvGrpSpPr>
        <p:grpSpPr>
          <a:xfrm>
            <a:off x="3002235" y="1629066"/>
            <a:ext cx="6492795" cy="1425306"/>
            <a:chOff x="3096086" y="1639196"/>
            <a:chExt cx="5983503" cy="1277590"/>
          </a:xfrm>
        </p:grpSpPr>
        <p:pic>
          <p:nvPicPr>
            <p:cNvPr id="2" name="Picture 30" descr="A red engine with black background&#10;&#10;Description automatically generated">
              <a:extLst>
                <a:ext uri="{FF2B5EF4-FFF2-40B4-BE49-F238E27FC236}">
                  <a16:creationId xmlns:a16="http://schemas.microsoft.com/office/drawing/2014/main" id="{4D796989-6287-24E7-C82A-EAB82B2C2A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5301" y="2260189"/>
              <a:ext cx="656291" cy="656291"/>
            </a:xfrm>
            <a:prstGeom prst="rect">
              <a:avLst/>
            </a:prstGeom>
          </p:spPr>
        </p:pic>
        <p:pic>
          <p:nvPicPr>
            <p:cNvPr id="8" name="Picture 31" descr="A red and silver machine&#10;&#10;Description automatically generated">
              <a:extLst>
                <a:ext uri="{FF2B5EF4-FFF2-40B4-BE49-F238E27FC236}">
                  <a16:creationId xmlns:a16="http://schemas.microsoft.com/office/drawing/2014/main" id="{ECC152D5-88EA-1404-E903-F71AE37F33E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93027" y="2278406"/>
              <a:ext cx="613457" cy="613457"/>
            </a:xfrm>
            <a:prstGeom prst="rect">
              <a:avLst/>
            </a:prstGeom>
          </p:spPr>
        </p:pic>
        <p:sp>
          <p:nvSpPr>
            <p:cNvPr id="11" name="TextBox 33">
              <a:extLst>
                <a:ext uri="{FF2B5EF4-FFF2-40B4-BE49-F238E27FC236}">
                  <a16:creationId xmlns:a16="http://schemas.microsoft.com/office/drawing/2014/main" id="{0855C3F4-C75A-A360-ECE3-03F11A9963D3}"/>
                </a:ext>
              </a:extLst>
            </p:cNvPr>
            <p:cNvSpPr txBox="1"/>
            <p:nvPr/>
          </p:nvSpPr>
          <p:spPr>
            <a:xfrm>
              <a:off x="7421663" y="1924430"/>
              <a:ext cx="134255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A291C"/>
                  </a:solidFill>
                  <a:effectLst/>
                  <a:uLnTx/>
                  <a:uFillTx/>
                  <a:latin typeface="Cummins Innova Display" pitchFamily="50" charset="0"/>
                  <a:ea typeface="+mn-ea"/>
                  <a:cs typeface="+mn-cs"/>
                </a:rPr>
                <a:t>X10</a:t>
              </a:r>
              <a:r>
                <a:rPr kumimoji="0" lang="en-US" sz="1800" b="0" i="0" u="none" strike="noStrike" kern="1200" cap="none" spc="0" normalizeH="0" baseline="0" noProof="0">
                  <a:ln>
                    <a:noFill/>
                  </a:ln>
                  <a:solidFill>
                    <a:srgbClr val="000000"/>
                  </a:solidFill>
                  <a:effectLst/>
                  <a:uLnTx/>
                  <a:uFillTx/>
                  <a:latin typeface="Cummins Innova Display" pitchFamily="50" charset="0"/>
                  <a:ea typeface="+mn-ea"/>
                  <a:cs typeface="+mn-cs"/>
                </a:rPr>
                <a:t> + TM13</a:t>
              </a:r>
            </a:p>
          </p:txBody>
        </p:sp>
        <p:sp>
          <p:nvSpPr>
            <p:cNvPr id="12" name="TextBox 35">
              <a:extLst>
                <a:ext uri="{FF2B5EF4-FFF2-40B4-BE49-F238E27FC236}">
                  <a16:creationId xmlns:a16="http://schemas.microsoft.com/office/drawing/2014/main" id="{76D99070-E1AB-5351-A733-5F5E030B7FF0}"/>
                </a:ext>
              </a:extLst>
            </p:cNvPr>
            <p:cNvSpPr txBox="1"/>
            <p:nvPr/>
          </p:nvSpPr>
          <p:spPr>
            <a:xfrm>
              <a:off x="7134857" y="1639196"/>
              <a:ext cx="194473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ummins Innova Display" pitchFamily="50" charset="0"/>
                  <a:ea typeface="+mn-ea"/>
                  <a:cs typeface="+mn-cs"/>
                </a:rPr>
                <a:t>HEAVY-DUTY </a:t>
              </a:r>
              <a:endParaRPr kumimoji="0" lang="en-US" sz="1800" b="0" i="0" u="none" strike="noStrike" kern="1200" cap="none" spc="0" normalizeH="0" baseline="0" noProof="0">
                <a:ln>
                  <a:noFill/>
                </a:ln>
                <a:solidFill>
                  <a:srgbClr val="000000"/>
                </a:solidFill>
                <a:effectLst/>
                <a:uLnTx/>
                <a:uFillTx/>
                <a:latin typeface="Cummins Innova Display" pitchFamily="50" charset="0"/>
                <a:ea typeface="+mn-ea"/>
                <a:cs typeface="+mn-cs"/>
              </a:endParaRPr>
            </a:p>
          </p:txBody>
        </p:sp>
        <p:pic>
          <p:nvPicPr>
            <p:cNvPr id="13" name="Picture 40" descr="A red engine with black background&#10;&#10;Description automatically generated">
              <a:extLst>
                <a:ext uri="{FF2B5EF4-FFF2-40B4-BE49-F238E27FC236}">
                  <a16:creationId xmlns:a16="http://schemas.microsoft.com/office/drawing/2014/main" id="{DE0A7C88-D5F7-B368-65C4-F23AD51238B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380440" y="2260495"/>
              <a:ext cx="656291" cy="656291"/>
            </a:xfrm>
            <a:prstGeom prst="rect">
              <a:avLst/>
            </a:prstGeom>
          </p:spPr>
        </p:pic>
        <p:pic>
          <p:nvPicPr>
            <p:cNvPr id="14" name="Picture 41" descr="A red and silver machine&#10;&#10;Description automatically generated">
              <a:extLst>
                <a:ext uri="{FF2B5EF4-FFF2-40B4-BE49-F238E27FC236}">
                  <a16:creationId xmlns:a16="http://schemas.microsoft.com/office/drawing/2014/main" id="{3732B0A8-137D-8216-A759-7171A878754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48992" y="2283477"/>
              <a:ext cx="600814" cy="600814"/>
            </a:xfrm>
            <a:prstGeom prst="rect">
              <a:avLst/>
            </a:prstGeom>
          </p:spPr>
        </p:pic>
        <p:sp>
          <p:nvSpPr>
            <p:cNvPr id="15" name="TextBox 33">
              <a:extLst>
                <a:ext uri="{FF2B5EF4-FFF2-40B4-BE49-F238E27FC236}">
                  <a16:creationId xmlns:a16="http://schemas.microsoft.com/office/drawing/2014/main" id="{50733266-466D-87AD-ACD8-2C96169AAAEE}"/>
                </a:ext>
              </a:extLst>
            </p:cNvPr>
            <p:cNvSpPr txBox="1"/>
            <p:nvPr/>
          </p:nvSpPr>
          <p:spPr>
            <a:xfrm>
              <a:off x="3372178" y="1924430"/>
              <a:ext cx="145692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A291C"/>
                  </a:solidFill>
                  <a:effectLst/>
                  <a:uLnTx/>
                  <a:uFillTx/>
                  <a:latin typeface="Cummins Innova Display" pitchFamily="50" charset="0"/>
                  <a:ea typeface="+mn-ea"/>
                  <a:cs typeface="+mn-cs"/>
                </a:rPr>
                <a:t>X10</a:t>
              </a:r>
              <a:r>
                <a:rPr kumimoji="0" lang="en-US" sz="1800" b="0" i="0" u="none" strike="noStrike" kern="1200" cap="none" spc="0" normalizeH="0" baseline="0" noProof="0">
                  <a:ln>
                    <a:noFill/>
                  </a:ln>
                  <a:solidFill>
                    <a:srgbClr val="000000"/>
                  </a:solidFill>
                  <a:effectLst/>
                  <a:uLnTx/>
                  <a:uFillTx/>
                  <a:latin typeface="Cummins Innova Display" pitchFamily="50" charset="0"/>
                  <a:ea typeface="+mn-ea"/>
                  <a:cs typeface="+mn-cs"/>
                </a:rPr>
                <a:t> + TM10</a:t>
              </a:r>
            </a:p>
          </p:txBody>
        </p:sp>
        <p:sp>
          <p:nvSpPr>
            <p:cNvPr id="16" name="TextBox 35">
              <a:extLst>
                <a:ext uri="{FF2B5EF4-FFF2-40B4-BE49-F238E27FC236}">
                  <a16:creationId xmlns:a16="http://schemas.microsoft.com/office/drawing/2014/main" id="{93AFF33D-CE6E-7EE7-91CC-1CB28FF2DE9A}"/>
                </a:ext>
              </a:extLst>
            </p:cNvPr>
            <p:cNvSpPr txBox="1"/>
            <p:nvPr/>
          </p:nvSpPr>
          <p:spPr>
            <a:xfrm>
              <a:off x="3096086" y="1655736"/>
              <a:ext cx="194473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ummins Innova Display" pitchFamily="50" charset="0"/>
                  <a:ea typeface="+mn-ea"/>
                  <a:cs typeface="+mn-cs"/>
                </a:rPr>
                <a:t>MEDIUM-DUTY </a:t>
              </a:r>
              <a:endParaRPr kumimoji="0" lang="en-US" sz="1800" b="0" i="0" u="none" strike="noStrike" kern="1200" cap="none" spc="0" normalizeH="0" baseline="0" noProof="0">
                <a:ln>
                  <a:noFill/>
                </a:ln>
                <a:solidFill>
                  <a:srgbClr val="000000"/>
                </a:solidFill>
                <a:effectLst/>
                <a:uLnTx/>
                <a:uFillTx/>
                <a:latin typeface="Cummins Innova Display" pitchFamily="50" charset="0"/>
                <a:ea typeface="+mn-ea"/>
                <a:cs typeface="+mn-cs"/>
              </a:endParaRPr>
            </a:p>
          </p:txBody>
        </p:sp>
      </p:grpSp>
      <p:sp>
        <p:nvSpPr>
          <p:cNvPr id="3" name="Espaço Reservado para Conteúdo 2">
            <a:extLst>
              <a:ext uri="{FF2B5EF4-FFF2-40B4-BE49-F238E27FC236}">
                <a16:creationId xmlns:a16="http://schemas.microsoft.com/office/drawing/2014/main" id="{7D329B4F-3B46-DBE9-79CE-4E947ECB8683}"/>
              </a:ext>
            </a:extLst>
          </p:cNvPr>
          <p:cNvSpPr>
            <a:spLocks noGrp="1"/>
          </p:cNvSpPr>
          <p:nvPr>
            <p:ph idx="1"/>
          </p:nvPr>
        </p:nvSpPr>
        <p:spPr/>
        <p:txBody>
          <a:bodyPr/>
          <a:lstStyle/>
          <a:p>
            <a:r>
              <a:rPr lang="en-US" sz="2400" b="1" noProof="0">
                <a:solidFill>
                  <a:schemeClr val="accent1"/>
                </a:solidFill>
                <a:latin typeface="Aptos" panose="020B0004020202020204" pitchFamily="34" charset="0"/>
              </a:rPr>
              <a:t>Ratings Comparison (EV/RV)</a:t>
            </a:r>
          </a:p>
        </p:txBody>
      </p:sp>
      <p:pic>
        <p:nvPicPr>
          <p:cNvPr id="5" name="Picture 4">
            <a:extLst>
              <a:ext uri="{FF2B5EF4-FFF2-40B4-BE49-F238E27FC236}">
                <a16:creationId xmlns:a16="http://schemas.microsoft.com/office/drawing/2014/main" id="{A492CB76-91D5-5EEB-7556-1D406D8753D1}"/>
              </a:ext>
            </a:extLst>
          </p:cNvPr>
          <p:cNvPicPr>
            <a:picLocks noChangeAspect="1"/>
          </p:cNvPicPr>
          <p:nvPr/>
        </p:nvPicPr>
        <p:blipFill>
          <a:blip r:embed="rId4"/>
          <a:stretch>
            <a:fillRect/>
          </a:stretch>
        </p:blipFill>
        <p:spPr>
          <a:xfrm>
            <a:off x="1869510" y="3282343"/>
            <a:ext cx="9174409" cy="2397463"/>
          </a:xfrm>
          <a:prstGeom prst="rect">
            <a:avLst/>
          </a:prstGeom>
        </p:spPr>
      </p:pic>
      <p:pic>
        <p:nvPicPr>
          <p:cNvPr id="17" name="Picture 16">
            <a:extLst>
              <a:ext uri="{FF2B5EF4-FFF2-40B4-BE49-F238E27FC236}">
                <a16:creationId xmlns:a16="http://schemas.microsoft.com/office/drawing/2014/main" id="{0CE72D33-78C5-9A7E-4C77-C3B8F7DF193C}"/>
              </a:ext>
            </a:extLst>
          </p:cNvPr>
          <p:cNvPicPr>
            <a:picLocks noChangeAspect="1"/>
          </p:cNvPicPr>
          <p:nvPr/>
        </p:nvPicPr>
        <p:blipFill>
          <a:blip r:embed="rId5"/>
          <a:srcRect l="34181" r="40994" b="69675"/>
          <a:stretch>
            <a:fillRect/>
          </a:stretch>
        </p:blipFill>
        <p:spPr>
          <a:xfrm>
            <a:off x="5028600" y="1740428"/>
            <a:ext cx="2443110" cy="1396811"/>
          </a:xfrm>
          <a:prstGeom prst="rect">
            <a:avLst/>
          </a:prstGeom>
        </p:spPr>
      </p:pic>
      <p:sp>
        <p:nvSpPr>
          <p:cNvPr id="22" name="Rounded Rectangle 56">
            <a:extLst>
              <a:ext uri="{FF2B5EF4-FFF2-40B4-BE49-F238E27FC236}">
                <a16:creationId xmlns:a16="http://schemas.microsoft.com/office/drawing/2014/main" id="{470428C4-4D30-B05D-FC52-CA6B3F143F6F}"/>
              </a:ext>
            </a:extLst>
          </p:cNvPr>
          <p:cNvSpPr/>
          <p:nvPr/>
        </p:nvSpPr>
        <p:spPr>
          <a:xfrm>
            <a:off x="3353669" y="6259937"/>
            <a:ext cx="7749352" cy="322735"/>
          </a:xfrm>
          <a:prstGeom prst="roundRect">
            <a:avLst>
              <a:gd name="adj" fmla="val 5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23" name="Conector Reto 31">
            <a:extLst>
              <a:ext uri="{FF2B5EF4-FFF2-40B4-BE49-F238E27FC236}">
                <a16:creationId xmlns:a16="http://schemas.microsoft.com/office/drawing/2014/main" id="{8B286242-C9FA-9E9F-6E3D-FBD2B45CEE88}"/>
              </a:ext>
            </a:extLst>
          </p:cNvPr>
          <p:cNvCxnSpPr>
            <a:cxnSpLocks/>
          </p:cNvCxnSpPr>
          <p:nvPr/>
        </p:nvCxnSpPr>
        <p:spPr>
          <a:xfrm flipV="1">
            <a:off x="498660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Conector Reto 75">
            <a:extLst>
              <a:ext uri="{FF2B5EF4-FFF2-40B4-BE49-F238E27FC236}">
                <a16:creationId xmlns:a16="http://schemas.microsoft.com/office/drawing/2014/main" id="{787F86D7-D470-40B1-F0D3-2D0B8338A74F}"/>
              </a:ext>
            </a:extLst>
          </p:cNvPr>
          <p:cNvCxnSpPr>
            <a:cxnSpLocks/>
          </p:cNvCxnSpPr>
          <p:nvPr/>
        </p:nvCxnSpPr>
        <p:spPr>
          <a:xfrm flipV="1">
            <a:off x="6457082"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Conector Reto 31">
            <a:extLst>
              <a:ext uri="{FF2B5EF4-FFF2-40B4-BE49-F238E27FC236}">
                <a16:creationId xmlns:a16="http://schemas.microsoft.com/office/drawing/2014/main" id="{7AD12129-5A7B-6E76-806E-E44591605190}"/>
              </a:ext>
            </a:extLst>
          </p:cNvPr>
          <p:cNvCxnSpPr>
            <a:cxnSpLocks/>
          </p:cNvCxnSpPr>
          <p:nvPr/>
        </p:nvCxnSpPr>
        <p:spPr>
          <a:xfrm flipV="1">
            <a:off x="7827301" y="6325791"/>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Conector Reto 31">
            <a:extLst>
              <a:ext uri="{FF2B5EF4-FFF2-40B4-BE49-F238E27FC236}">
                <a16:creationId xmlns:a16="http://schemas.microsoft.com/office/drawing/2014/main" id="{97936B32-618C-B8C6-B246-F38147517CCE}"/>
              </a:ext>
            </a:extLst>
          </p:cNvPr>
          <p:cNvCxnSpPr>
            <a:cxnSpLocks/>
          </p:cNvCxnSpPr>
          <p:nvPr/>
        </p:nvCxnSpPr>
        <p:spPr>
          <a:xfrm flipV="1">
            <a:off x="8515813"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Conector Reto 78">
            <a:extLst>
              <a:ext uri="{FF2B5EF4-FFF2-40B4-BE49-F238E27FC236}">
                <a16:creationId xmlns:a16="http://schemas.microsoft.com/office/drawing/2014/main" id="{39FA8034-FFC7-EC16-4991-BFF3C9078F01}"/>
              </a:ext>
            </a:extLst>
          </p:cNvPr>
          <p:cNvCxnSpPr>
            <a:cxnSpLocks/>
          </p:cNvCxnSpPr>
          <p:nvPr/>
        </p:nvCxnSpPr>
        <p:spPr>
          <a:xfrm flipV="1">
            <a:off x="9436668"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8" name="Conector Reto 31">
            <a:extLst>
              <a:ext uri="{FF2B5EF4-FFF2-40B4-BE49-F238E27FC236}">
                <a16:creationId xmlns:a16="http://schemas.microsoft.com/office/drawing/2014/main" id="{8195C931-20AB-765F-3A09-4934443A409F}"/>
              </a:ext>
            </a:extLst>
          </p:cNvPr>
          <p:cNvCxnSpPr>
            <a:cxnSpLocks/>
          </p:cNvCxnSpPr>
          <p:nvPr/>
        </p:nvCxnSpPr>
        <p:spPr>
          <a:xfrm flipV="1">
            <a:off x="10203606"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9" name="CaixaDeTexto 80">
            <a:extLst>
              <a:ext uri="{FF2B5EF4-FFF2-40B4-BE49-F238E27FC236}">
                <a16:creationId xmlns:a16="http://schemas.microsoft.com/office/drawing/2014/main" id="{AFAFEADA-1E91-C269-ADD5-A67551E1A8FF}"/>
              </a:ext>
            </a:extLst>
          </p:cNvPr>
          <p:cNvSpPr txBox="1"/>
          <p:nvPr/>
        </p:nvSpPr>
        <p:spPr>
          <a:xfrm>
            <a:off x="7832415" y="6294672"/>
            <a:ext cx="6990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Features</a:t>
            </a:r>
          </a:p>
        </p:txBody>
      </p:sp>
      <p:sp>
        <p:nvSpPr>
          <p:cNvPr id="30" name="CaixaDeTexto 81">
            <a:extLst>
              <a:ext uri="{FF2B5EF4-FFF2-40B4-BE49-F238E27FC236}">
                <a16:creationId xmlns:a16="http://schemas.microsoft.com/office/drawing/2014/main" id="{0C4D5089-B877-FDEB-62D5-5E1D5A2870E0}"/>
              </a:ext>
            </a:extLst>
          </p:cNvPr>
          <p:cNvSpPr txBox="1"/>
          <p:nvPr/>
        </p:nvSpPr>
        <p:spPr>
          <a:xfrm>
            <a:off x="4232844" y="6294672"/>
            <a:ext cx="7466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Overview</a:t>
            </a:r>
          </a:p>
        </p:txBody>
      </p:sp>
      <p:sp>
        <p:nvSpPr>
          <p:cNvPr id="31" name="CaixaDeTexto 82">
            <a:extLst>
              <a:ext uri="{FF2B5EF4-FFF2-40B4-BE49-F238E27FC236}">
                <a16:creationId xmlns:a16="http://schemas.microsoft.com/office/drawing/2014/main" id="{CC2B7262-D9FC-327D-9C3E-A043767CFD20}"/>
              </a:ext>
            </a:extLst>
          </p:cNvPr>
          <p:cNvSpPr txBox="1"/>
          <p:nvPr/>
        </p:nvSpPr>
        <p:spPr>
          <a:xfrm>
            <a:off x="6457787" y="6294672"/>
            <a:ext cx="139885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roduct Comparison</a:t>
            </a:r>
          </a:p>
        </p:txBody>
      </p:sp>
      <p:sp>
        <p:nvSpPr>
          <p:cNvPr id="32" name="CaixaDeTexto 83">
            <a:extLst>
              <a:ext uri="{FF2B5EF4-FFF2-40B4-BE49-F238E27FC236}">
                <a16:creationId xmlns:a16="http://schemas.microsoft.com/office/drawing/2014/main" id="{3A690671-31BB-9372-64E3-D610A6BDBE5C}"/>
              </a:ext>
            </a:extLst>
          </p:cNvPr>
          <p:cNvSpPr txBox="1"/>
          <p:nvPr/>
        </p:nvSpPr>
        <p:spPr>
          <a:xfrm>
            <a:off x="4950538" y="6294672"/>
            <a:ext cx="949881"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Walk-Around</a:t>
            </a:r>
          </a:p>
        </p:txBody>
      </p:sp>
      <p:sp>
        <p:nvSpPr>
          <p:cNvPr id="33" name="CaixaDeTexto 84">
            <a:extLst>
              <a:ext uri="{FF2B5EF4-FFF2-40B4-BE49-F238E27FC236}">
                <a16:creationId xmlns:a16="http://schemas.microsoft.com/office/drawing/2014/main" id="{2597284C-F2CB-3E74-9C7F-FD1E28C049A2}"/>
              </a:ext>
            </a:extLst>
          </p:cNvPr>
          <p:cNvSpPr txBox="1"/>
          <p:nvPr/>
        </p:nvSpPr>
        <p:spPr>
          <a:xfrm>
            <a:off x="8515425" y="6294672"/>
            <a:ext cx="921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Applications</a:t>
            </a:r>
          </a:p>
        </p:txBody>
      </p:sp>
      <p:sp>
        <p:nvSpPr>
          <p:cNvPr id="34" name="CaixaDeTexto 85">
            <a:extLst>
              <a:ext uri="{FF2B5EF4-FFF2-40B4-BE49-F238E27FC236}">
                <a16:creationId xmlns:a16="http://schemas.microsoft.com/office/drawing/2014/main" id="{2C527FF8-59CE-7F61-6C26-E05D49CFC36F}"/>
              </a:ext>
            </a:extLst>
          </p:cNvPr>
          <p:cNvSpPr txBox="1"/>
          <p:nvPr/>
        </p:nvSpPr>
        <p:spPr>
          <a:xfrm>
            <a:off x="9437158" y="6294672"/>
            <a:ext cx="79934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Validation</a:t>
            </a:r>
          </a:p>
        </p:txBody>
      </p:sp>
      <p:sp>
        <p:nvSpPr>
          <p:cNvPr id="35" name="CaixaDeTexto 86">
            <a:extLst>
              <a:ext uri="{FF2B5EF4-FFF2-40B4-BE49-F238E27FC236}">
                <a16:creationId xmlns:a16="http://schemas.microsoft.com/office/drawing/2014/main" id="{74E925DD-DE05-F711-F3FE-1D1BDDE1E62C}"/>
              </a:ext>
            </a:extLst>
          </p:cNvPr>
          <p:cNvSpPr txBox="1"/>
          <p:nvPr/>
        </p:nvSpPr>
        <p:spPr>
          <a:xfrm>
            <a:off x="5829335" y="6294672"/>
            <a:ext cx="699033"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Ratings</a:t>
            </a:r>
          </a:p>
        </p:txBody>
      </p:sp>
      <p:sp>
        <p:nvSpPr>
          <p:cNvPr id="43" name="CaixaDeTexto 87">
            <a:extLst>
              <a:ext uri="{FF2B5EF4-FFF2-40B4-BE49-F238E27FC236}">
                <a16:creationId xmlns:a16="http://schemas.microsoft.com/office/drawing/2014/main" id="{130E2DDA-6B41-EA85-160D-78CCB4DBB8F6}"/>
              </a:ext>
            </a:extLst>
          </p:cNvPr>
          <p:cNvSpPr txBox="1"/>
          <p:nvPr/>
        </p:nvSpPr>
        <p:spPr>
          <a:xfrm>
            <a:off x="10206223" y="6294672"/>
            <a:ext cx="81669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Powertrain</a:t>
            </a:r>
          </a:p>
        </p:txBody>
      </p:sp>
      <p:cxnSp>
        <p:nvCxnSpPr>
          <p:cNvPr id="44" name="Conector Reto 31">
            <a:extLst>
              <a:ext uri="{FF2B5EF4-FFF2-40B4-BE49-F238E27FC236}">
                <a16:creationId xmlns:a16="http://schemas.microsoft.com/office/drawing/2014/main" id="{87A67958-528A-247E-D32D-9F85F0CC5381}"/>
              </a:ext>
            </a:extLst>
          </p:cNvPr>
          <p:cNvCxnSpPr>
            <a:cxnSpLocks/>
          </p:cNvCxnSpPr>
          <p:nvPr/>
        </p:nvCxnSpPr>
        <p:spPr>
          <a:xfrm flipV="1">
            <a:off x="5867474" y="6319735"/>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5" name="Conector Reto 31">
            <a:extLst>
              <a:ext uri="{FF2B5EF4-FFF2-40B4-BE49-F238E27FC236}">
                <a16:creationId xmlns:a16="http://schemas.microsoft.com/office/drawing/2014/main" id="{C082AECC-4B8C-234B-BFFE-F0B19C42E855}"/>
              </a:ext>
            </a:extLst>
          </p:cNvPr>
          <p:cNvCxnSpPr>
            <a:cxnSpLocks/>
          </p:cNvCxnSpPr>
          <p:nvPr/>
        </p:nvCxnSpPr>
        <p:spPr>
          <a:xfrm flipV="1">
            <a:off x="4217515" y="6330367"/>
            <a:ext cx="0" cy="192176"/>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6" name="Conector Reto 17">
            <a:extLst>
              <a:ext uri="{FF2B5EF4-FFF2-40B4-BE49-F238E27FC236}">
                <a16:creationId xmlns:a16="http://schemas.microsoft.com/office/drawing/2014/main" id="{275497F7-77EB-8015-B026-3EB511A1FD4C}"/>
              </a:ext>
            </a:extLst>
          </p:cNvPr>
          <p:cNvCxnSpPr>
            <a:cxnSpLocks/>
          </p:cNvCxnSpPr>
          <p:nvPr/>
        </p:nvCxnSpPr>
        <p:spPr>
          <a:xfrm>
            <a:off x="2392638" y="6257544"/>
            <a:ext cx="0" cy="310896"/>
          </a:xfrm>
          <a:prstGeom prst="line">
            <a:avLst/>
          </a:prstGeom>
          <a:ln w="9525">
            <a:solidFill>
              <a:srgbClr val="84A1AC"/>
            </a:solidFill>
          </a:ln>
        </p:spPr>
        <p:style>
          <a:lnRef idx="2">
            <a:schemeClr val="accent1"/>
          </a:lnRef>
          <a:fillRef idx="0">
            <a:schemeClr val="accent1"/>
          </a:fillRef>
          <a:effectRef idx="1">
            <a:schemeClr val="accent1"/>
          </a:effectRef>
          <a:fontRef idx="minor">
            <a:schemeClr val="tx1"/>
          </a:fontRef>
        </p:style>
      </p:cxnSp>
      <p:sp>
        <p:nvSpPr>
          <p:cNvPr id="47" name="Rounded Rectangle 141">
            <a:extLst>
              <a:ext uri="{FF2B5EF4-FFF2-40B4-BE49-F238E27FC236}">
                <a16:creationId xmlns:a16="http://schemas.microsoft.com/office/drawing/2014/main" id="{7ECDD04C-D4CE-732E-4C51-EE868256AA08}"/>
              </a:ext>
            </a:extLst>
          </p:cNvPr>
          <p:cNvSpPr/>
          <p:nvPr/>
        </p:nvSpPr>
        <p:spPr>
          <a:xfrm>
            <a:off x="2411283" y="6319734"/>
            <a:ext cx="895693" cy="224605"/>
          </a:xfrm>
          <a:prstGeom prst="roundRect">
            <a:avLst>
              <a:gd name="adj" fmla="val 50000"/>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A2A2A"/>
                </a:solidFill>
                <a:effectLst/>
                <a:uLnTx/>
                <a:uFillTx/>
                <a:latin typeface="Aptos" panose="020B0004020202020204" pitchFamily="34" charset="0"/>
                <a:ea typeface="+mn-ea"/>
                <a:cs typeface="Plus Jakarta Sans" pitchFamily="2" charset="77"/>
              </a:rPr>
              <a:t>Product Timeline</a:t>
            </a:r>
          </a:p>
        </p:txBody>
      </p:sp>
      <p:sp>
        <p:nvSpPr>
          <p:cNvPr id="48" name="CaixaDeTexto 89">
            <a:extLst>
              <a:ext uri="{FF2B5EF4-FFF2-40B4-BE49-F238E27FC236}">
                <a16:creationId xmlns:a16="http://schemas.microsoft.com/office/drawing/2014/main" id="{6A00AB8B-92BC-D02D-7132-8305FFD93FC5}"/>
              </a:ext>
            </a:extLst>
          </p:cNvPr>
          <p:cNvSpPr txBox="1"/>
          <p:nvPr/>
        </p:nvSpPr>
        <p:spPr>
          <a:xfrm>
            <a:off x="3380575" y="6294672"/>
            <a:ext cx="821349" cy="246221"/>
          </a:xfrm>
          <a:prstGeom prst="rect">
            <a:avLst/>
          </a:prstGeom>
          <a:noFill/>
        </p:spPr>
        <p:txBody>
          <a:bodyPr wrap="square">
            <a:spAutoFit/>
          </a:bodyPr>
          <a:lstStyle>
            <a:defPPr>
              <a:defRPr lang="pt-BR"/>
            </a:defPPr>
            <a:lvl1pPr lvl="0" algn="ctr">
              <a:defRPr sz="1000">
                <a:solidFill>
                  <a:schemeClr val="tx1">
                    <a:lumMod val="50000"/>
                    <a:lumOff val="50000"/>
                  </a:schemeClr>
                </a:solidFill>
                <a:latin typeface="Aptos" panose="020B00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Highlights</a:t>
            </a:r>
          </a:p>
        </p:txBody>
      </p:sp>
      <p:sp>
        <p:nvSpPr>
          <p:cNvPr id="54" name="Retângulo Arredondado 53">
            <a:extLst>
              <a:ext uri="{FF2B5EF4-FFF2-40B4-BE49-F238E27FC236}">
                <a16:creationId xmlns:a16="http://schemas.microsoft.com/office/drawing/2014/main" id="{F6A63DBD-AABB-1302-C547-EC6BDFF059E7}"/>
              </a:ext>
            </a:extLst>
          </p:cNvPr>
          <p:cNvSpPr/>
          <p:nvPr/>
        </p:nvSpPr>
        <p:spPr>
          <a:xfrm>
            <a:off x="6962342" y="6550290"/>
            <a:ext cx="302578" cy="147817"/>
          </a:xfrm>
          <a:prstGeom prst="roundRect">
            <a:avLst>
              <a:gd name="adj" fmla="val 50000"/>
            </a:avLst>
          </a:prstGeom>
          <a:solidFill>
            <a:srgbClr val="DA29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55" name="TextBox 60">
            <a:extLst>
              <a:ext uri="{FF2B5EF4-FFF2-40B4-BE49-F238E27FC236}">
                <a16:creationId xmlns:a16="http://schemas.microsoft.com/office/drawing/2014/main" id="{B4BF62CB-8CEB-CD56-80A7-40558E283A1A}"/>
              </a:ext>
            </a:extLst>
          </p:cNvPr>
          <p:cNvSpPr txBox="1"/>
          <p:nvPr/>
        </p:nvSpPr>
        <p:spPr>
          <a:xfrm>
            <a:off x="6903202" y="6504828"/>
            <a:ext cx="41162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110004020202020204"/>
                <a:ea typeface="+mn-ea"/>
                <a:cs typeface="Arial" panose="020B0604020202020204" pitchFamily="34" charset="0"/>
              </a:rPr>
              <a:t>3/3</a:t>
            </a:r>
          </a:p>
        </p:txBody>
      </p:sp>
      <p:pic>
        <p:nvPicPr>
          <p:cNvPr id="57" name="Gráfico 56" descr="Acento Circunflexo à Direita com preenchimento sólido">
            <a:extLst>
              <a:ext uri="{FF2B5EF4-FFF2-40B4-BE49-F238E27FC236}">
                <a16:creationId xmlns:a16="http://schemas.microsoft.com/office/drawing/2014/main" id="{35D766CD-99CE-EABF-4C89-5EBE76BB5E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6826387" y="6546689"/>
            <a:ext cx="156462" cy="156462"/>
          </a:xfrm>
          <a:prstGeom prst="rect">
            <a:avLst/>
          </a:prstGeom>
        </p:spPr>
      </p:pic>
    </p:spTree>
    <p:extLst>
      <p:ext uri="{BB962C8B-B14F-4D97-AF65-F5344CB8AC3E}">
        <p14:creationId xmlns:p14="http://schemas.microsoft.com/office/powerpoint/2010/main" val="1417293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V.VV2p.EQkV8R40SH33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iHo_vg3X1j8MxtYVmhN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jcuF9gYmvh5ClDHGuuw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5_O8IbwNxI8NL2BOBcb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4_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 id="{40E371E5-CEFA-4345-B448-45ADE2B04240}" vid="{CD134C25-A97E-4E16-B627-85361B609DC5}"/>
    </a:ext>
  </a:extLst>
</a:theme>
</file>

<file path=ppt/theme/theme10.xml><?xml version="1.0" encoding="utf-8"?>
<a:theme xmlns:a="http://schemas.openxmlformats.org/drawingml/2006/main" name="Tema Cummins">
  <a:themeElements>
    <a:clrScheme name="Personalizar 3">
      <a:dk1>
        <a:srgbClr val="000000"/>
      </a:dk1>
      <a:lt1>
        <a:srgbClr val="FFFFFF"/>
      </a:lt1>
      <a:dk2>
        <a:srgbClr val="0E2841"/>
      </a:dk2>
      <a:lt2>
        <a:srgbClr val="FFFFFF"/>
      </a:lt2>
      <a:accent1>
        <a:srgbClr val="DA281C"/>
      </a:accent1>
      <a:accent2>
        <a:srgbClr val="83A1AB"/>
      </a:accent2>
      <a:accent3>
        <a:srgbClr val="F17659"/>
      </a:accent3>
      <a:accent4>
        <a:srgbClr val="680F14"/>
      </a:accent4>
      <a:accent5>
        <a:srgbClr val="242B4D"/>
      </a:accent5>
      <a:accent6>
        <a:srgbClr val="55A1D3"/>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ema Cummins" id="{868003DD-6365-C946-9BD3-8D2FFF95ECE7}" vid="{3FDD9AAA-2027-2A44-8ECE-4F0AA5AFD7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BU 2" id="{4346C066-EECD-4B75-B00E-A63267F8F10C}" vid="{66B05FDB-3C7C-4BEF-A963-7196E988C585}"/>
    </a:ext>
  </a:extLst>
</a:theme>
</file>

<file path=ppt/theme/theme3.xml><?xml version="1.0" encoding="utf-8"?>
<a:theme xmlns:a="http://schemas.openxmlformats.org/drawingml/2006/main" name="12_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ummins 2018 template" id="{5683F2D6-9C86-4E79-8BEB-4CD4EBE4D11F}" vid="{EDE89313-9287-436E-BEF6-2CC687B10582}"/>
    </a:ext>
  </a:extLst>
</a:theme>
</file>

<file path=ppt/theme/theme4.xml><?xml version="1.0" encoding="utf-8"?>
<a:theme xmlns:a="http://schemas.openxmlformats.org/drawingml/2006/main" name="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ew Power 2" id="{72F72EEF-9C5A-48BE-BB81-2C953B260A85}" vid="{39681673-8619-4372-B844-2D9EA5ADA357}"/>
    </a:ext>
  </a:extLst>
</a:theme>
</file>

<file path=ppt/theme/theme5.xml><?xml version="1.0" encoding="utf-8"?>
<a:theme xmlns:a="http://schemas.openxmlformats.org/drawingml/2006/main" name="2_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BU 2" id="{715B6DAC-D641-401E-B295-EBAB8A4B913B}" vid="{2E46425D-4E06-43AB-84B9-E3AC350B00D1}"/>
    </a:ext>
  </a:extLst>
</a:theme>
</file>

<file path=ppt/theme/theme6.xml><?xml version="1.0" encoding="utf-8"?>
<a:theme xmlns:a="http://schemas.openxmlformats.org/drawingml/2006/main" name="3_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BU 2" id="{4346C066-EECD-4B75-B00E-A63267F8F10C}" vid="{66B05FDB-3C7C-4BEF-A963-7196E988C585}"/>
    </a:ext>
  </a:extLst>
</a:theme>
</file>

<file path=ppt/theme/theme7.xml><?xml version="1.0" encoding="utf-8"?>
<a:theme xmlns:a="http://schemas.openxmlformats.org/drawingml/2006/main" name="Custom Design">
  <a:themeElements>
    <a:clrScheme name="Cummins 2024 color scheme">
      <a:dk1>
        <a:srgbClr val="000000"/>
      </a:dk1>
      <a:lt1>
        <a:srgbClr val="FFFFFF"/>
      </a:lt1>
      <a:dk2>
        <a:srgbClr val="5E5E5E"/>
      </a:dk2>
      <a:lt2>
        <a:srgbClr val="FFFFFF"/>
      </a:lt2>
      <a:accent1>
        <a:srgbClr val="5E5E5E"/>
      </a:accent1>
      <a:accent2>
        <a:srgbClr val="D9281C"/>
      </a:accent2>
      <a:accent3>
        <a:srgbClr val="55A1D3"/>
      </a:accent3>
      <a:accent4>
        <a:srgbClr val="30A566"/>
      </a:accent4>
      <a:accent5>
        <a:srgbClr val="F1C193"/>
      </a:accent5>
      <a:accent6>
        <a:srgbClr val="143C3E"/>
      </a:accent6>
      <a:hlink>
        <a:srgbClr val="0563C1"/>
      </a:hlink>
      <a:folHlink>
        <a:srgbClr val="001F5C"/>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56" id="{8AA4F0DD-2ED7-3946-A65F-A8CD756308CC}" vid="{E55D8462-39C8-484E-9863-72ED49875FFE}"/>
    </a:ext>
  </a:extLst>
</a:theme>
</file>

<file path=ppt/theme/theme8.xml><?xml version="1.0" encoding="utf-8"?>
<a:theme xmlns:a="http://schemas.openxmlformats.org/drawingml/2006/main" name="Cummins 2024">
  <a:themeElements>
    <a:clrScheme name="Cummins 2024 color scheme">
      <a:dk1>
        <a:srgbClr val="000000"/>
      </a:dk1>
      <a:lt1>
        <a:srgbClr val="FFFFFF"/>
      </a:lt1>
      <a:dk2>
        <a:srgbClr val="5E5E5E"/>
      </a:dk2>
      <a:lt2>
        <a:srgbClr val="FFFFFF"/>
      </a:lt2>
      <a:accent1>
        <a:srgbClr val="5E5E5E"/>
      </a:accent1>
      <a:accent2>
        <a:srgbClr val="D9281C"/>
      </a:accent2>
      <a:accent3>
        <a:srgbClr val="55A1D3"/>
      </a:accent3>
      <a:accent4>
        <a:srgbClr val="30A566"/>
      </a:accent4>
      <a:accent5>
        <a:srgbClr val="F1C193"/>
      </a:accent5>
      <a:accent6>
        <a:srgbClr val="143C3E"/>
      </a:accent6>
      <a:hlink>
        <a:srgbClr val="0563C1"/>
      </a:hlink>
      <a:folHlink>
        <a:srgbClr val="001F5C"/>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a:lstStyle>
        <a:defPPr algn="l">
          <a:defRPr dirty="0" smtClean="0"/>
        </a:defPPr>
      </a:lstStyle>
    </a:txDef>
  </a:objectDefaults>
  <a:extraClrSchemeLst/>
  <a:extLst>
    <a:ext uri="{05A4C25C-085E-4340-85A3-A5531E510DB2}">
      <thm15:themeFamily xmlns:thm15="http://schemas.microsoft.com/office/thememl/2012/main" name="Presentation156" id="{8AA4F0DD-2ED7-3946-A65F-A8CD756308CC}" vid="{0AF5158B-78F2-4646-BF94-0376E4E3C163}"/>
    </a:ext>
  </a:extLst>
</a:theme>
</file>

<file path=ppt/theme/theme9.xml><?xml version="1.0" encoding="utf-8"?>
<a:theme xmlns:a="http://schemas.openxmlformats.org/drawingml/2006/main" name="1_Cummins 2024">
  <a:themeElements>
    <a:clrScheme name="Cummins 2024 color scheme">
      <a:dk1>
        <a:srgbClr val="000000"/>
      </a:dk1>
      <a:lt1>
        <a:srgbClr val="FFFFFF"/>
      </a:lt1>
      <a:dk2>
        <a:srgbClr val="5E5E5E"/>
      </a:dk2>
      <a:lt2>
        <a:srgbClr val="FFFFFF"/>
      </a:lt2>
      <a:accent1>
        <a:srgbClr val="5E5E5E"/>
      </a:accent1>
      <a:accent2>
        <a:srgbClr val="D9281C"/>
      </a:accent2>
      <a:accent3>
        <a:srgbClr val="55A1D3"/>
      </a:accent3>
      <a:accent4>
        <a:srgbClr val="30A566"/>
      </a:accent4>
      <a:accent5>
        <a:srgbClr val="F1C193"/>
      </a:accent5>
      <a:accent6>
        <a:srgbClr val="143C3E"/>
      </a:accent6>
      <a:hlink>
        <a:srgbClr val="0563C1"/>
      </a:hlink>
      <a:folHlink>
        <a:srgbClr val="001F5C"/>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a:lstStyle>
        <a:defPPr algn="l">
          <a:defRPr dirty="0" smtClean="0"/>
        </a:defPPr>
      </a:lstStyle>
    </a:txDef>
  </a:objectDefaults>
  <a:extraClrSchemeLst/>
  <a:extLst>
    <a:ext uri="{05A4C25C-085E-4340-85A3-A5531E510DB2}">
      <thm15:themeFamily xmlns:thm15="http://schemas.microsoft.com/office/thememl/2012/main" name="Presentation_TransitBus (002)  -  Read-Only" id="{C2295E97-4A33-4CFC-8ACF-13A758DBC5E2}" vid="{E0BCBADD-0937-4CC8-88EB-8CBAE31A111C}"/>
    </a:ext>
  </a:extLst>
</a:theme>
</file>

<file path=docProps/app.xml><?xml version="1.0" encoding="utf-8"?>
<Properties xmlns="http://schemas.openxmlformats.org/officeDocument/2006/extended-properties" xmlns:vt="http://schemas.openxmlformats.org/officeDocument/2006/docPropsVTypes">
  <TotalTime>1733</TotalTime>
  <Words>4732</Words>
  <Application>Microsoft Office PowerPoint</Application>
  <PresentationFormat>Widescreen</PresentationFormat>
  <Paragraphs>1038</Paragraphs>
  <Slides>49</Slides>
  <Notes>21</Notes>
  <HiddenSlides>17</HiddenSlides>
  <MMClips>0</MMClips>
  <ScaleCrop>false</ScaleCrop>
  <HeadingPairs>
    <vt:vector size="8" baseType="variant">
      <vt:variant>
        <vt:lpstr>Fonts Used</vt:lpstr>
      </vt:variant>
      <vt:variant>
        <vt:i4>15</vt:i4>
      </vt:variant>
      <vt:variant>
        <vt:lpstr>Theme</vt:lpstr>
      </vt:variant>
      <vt:variant>
        <vt:i4>10</vt:i4>
      </vt:variant>
      <vt:variant>
        <vt:lpstr>Embedded OLE Servers</vt:lpstr>
      </vt:variant>
      <vt:variant>
        <vt:i4>1</vt:i4>
      </vt:variant>
      <vt:variant>
        <vt:lpstr>Slide Titles</vt:lpstr>
      </vt:variant>
      <vt:variant>
        <vt:i4>49</vt:i4>
      </vt:variant>
    </vt:vector>
  </HeadingPairs>
  <TitlesOfParts>
    <vt:vector size="75" baseType="lpstr">
      <vt:lpstr>Aptos</vt:lpstr>
      <vt:lpstr>Aptos Narrow</vt:lpstr>
      <vt:lpstr>Arial</vt:lpstr>
      <vt:lpstr>Arial Black</vt:lpstr>
      <vt:lpstr>Calibri</vt:lpstr>
      <vt:lpstr>Courier New</vt:lpstr>
      <vt:lpstr>Cummins Innova Display</vt:lpstr>
      <vt:lpstr>HelveticaNeueLT Com 95 Blk</vt:lpstr>
      <vt:lpstr>LucidaGrande</vt:lpstr>
      <vt:lpstr>Neue Helvetica W05</vt:lpstr>
      <vt:lpstr>Roboto</vt:lpstr>
      <vt:lpstr>Source Sans Pro</vt:lpstr>
      <vt:lpstr>System Font Regular</vt:lpstr>
      <vt:lpstr>Times New Roman</vt:lpstr>
      <vt:lpstr>Wingdings</vt:lpstr>
      <vt:lpstr>14_Cummins 2018</vt:lpstr>
      <vt:lpstr>1_Cummins 2018</vt:lpstr>
      <vt:lpstr>12_Cummins 2018</vt:lpstr>
      <vt:lpstr>Cummins 2018</vt:lpstr>
      <vt:lpstr>2_Cummins 2018</vt:lpstr>
      <vt:lpstr>3_Cummins 2018</vt:lpstr>
      <vt:lpstr>Custom Design</vt:lpstr>
      <vt:lpstr>Cummins 2024</vt:lpstr>
      <vt:lpstr>1_Cummins 2024</vt:lpstr>
      <vt:lpstr>Tema Cummins</vt:lpstr>
      <vt:lpstr>think-cell Slide</vt:lpstr>
      <vt:lpstr> Cummins Upd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ITE™ ENGINE DIAGNOSTICS – Yearly subscription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Craig</dc:creator>
  <cp:lastModifiedBy>Robert Craig</cp:lastModifiedBy>
  <cp:revision>124</cp:revision>
  <dcterms:created xsi:type="dcterms:W3CDTF">2024-02-16T16:18:28Z</dcterms:created>
  <dcterms:modified xsi:type="dcterms:W3CDTF">2025-12-10T15:45:16Z</dcterms:modified>
</cp:coreProperties>
</file>